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notesSlides/notesSlide1.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3.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4.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5.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6.xml" ContentType="application/vnd.openxmlformats-officedocument.presentationml.notesSlide+xml"/>
  <Override PartName="/ppt/tags/tag116.xml" ContentType="application/vnd.openxmlformats-officedocument.presentationml.tags+xml"/>
  <Override PartName="/ppt/notesSlides/notesSlide7.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8.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10.xml" ContentType="application/vnd.openxmlformats-officedocument.presentationml.notesSlide+xml"/>
  <Override PartName="/ppt/tags/tag123.xml" ContentType="application/vnd.openxmlformats-officedocument.presentationml.tags+xml"/>
  <Override PartName="/ppt/notesSlides/notesSlide11.xml" ContentType="application/vnd.openxmlformats-officedocument.presentationml.notesSlide+xml"/>
  <Override PartName="/ppt/tags/tag124.xml" ContentType="application/vnd.openxmlformats-officedocument.presentationml.tags+xml"/>
  <Override PartName="/ppt/notesSlides/notesSlide12.xml" ContentType="application/vnd.openxmlformats-officedocument.presentationml.notesSlide+xml"/>
  <Override PartName="/ppt/tags/tag125.xml" ContentType="application/vnd.openxmlformats-officedocument.presentationml.tags+xml"/>
  <Override PartName="/ppt/notesSlides/notesSlide13.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14.xml" ContentType="application/vnd.openxmlformats-officedocument.presentationml.notesSlide+xml"/>
  <Override PartName="/ppt/tags/tag128.xml" ContentType="application/vnd.openxmlformats-officedocument.presentationml.tags+xml"/>
  <Override PartName="/ppt/notesSlides/notesSlide15.xml" ContentType="application/vnd.openxmlformats-officedocument.presentationml.notesSlide+xml"/>
  <Override PartName="/ppt/tags/tag129.xml" ContentType="application/vnd.openxmlformats-officedocument.presentationml.tags+xml"/>
  <Override PartName="/ppt/notesSlides/notesSlide16.xml" ContentType="application/vnd.openxmlformats-officedocument.presentationml.notesSlide+xml"/>
  <Override PartName="/ppt/tags/tag130.xml" ContentType="application/vnd.openxmlformats-officedocument.presentationml.tags+xml"/>
  <Override PartName="/ppt/notesSlides/notesSlide17.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1" r:id="rId4"/>
    <p:sldMasterId id="2147484001" r:id="rId5"/>
    <p:sldMasterId id="2147484010" r:id="rId6"/>
    <p:sldMasterId id="2147484019" r:id="rId7"/>
    <p:sldMasterId id="2147484028" r:id="rId8"/>
    <p:sldMasterId id="2147484037" r:id="rId9"/>
    <p:sldMasterId id="2147484046" r:id="rId10"/>
    <p:sldMasterId id="2147484055" r:id="rId11"/>
    <p:sldMasterId id="2147484064" r:id="rId12"/>
  </p:sldMasterIdLst>
  <p:notesMasterIdLst>
    <p:notesMasterId r:id="rId42"/>
  </p:notesMasterIdLst>
  <p:handoutMasterIdLst>
    <p:handoutMasterId r:id="rId43"/>
  </p:handoutMasterIdLst>
  <p:sldIdLst>
    <p:sldId id="256" r:id="rId13"/>
    <p:sldId id="1961" r:id="rId14"/>
    <p:sldId id="2153" r:id="rId15"/>
    <p:sldId id="2251" r:id="rId16"/>
    <p:sldId id="2233" r:id="rId17"/>
    <p:sldId id="2034" r:id="rId18"/>
    <p:sldId id="2147" r:id="rId19"/>
    <p:sldId id="1711" r:id="rId20"/>
    <p:sldId id="1598" r:id="rId21"/>
    <p:sldId id="2240" r:id="rId22"/>
    <p:sldId id="2243" r:id="rId23"/>
    <p:sldId id="2161" r:id="rId24"/>
    <p:sldId id="2005" r:id="rId25"/>
    <p:sldId id="2006" r:id="rId26"/>
    <p:sldId id="2244" r:id="rId27"/>
    <p:sldId id="2246" r:id="rId28"/>
    <p:sldId id="2247" r:id="rId29"/>
    <p:sldId id="2249" r:id="rId30"/>
    <p:sldId id="2250" r:id="rId31"/>
    <p:sldId id="2248" r:id="rId32"/>
    <p:sldId id="258" r:id="rId33"/>
    <p:sldId id="265" r:id="rId34"/>
    <p:sldId id="266" r:id="rId35"/>
    <p:sldId id="267" r:id="rId36"/>
    <p:sldId id="259" r:id="rId37"/>
    <p:sldId id="261" r:id="rId38"/>
    <p:sldId id="262" r:id="rId39"/>
    <p:sldId id="263" r:id="rId40"/>
    <p:sldId id="1600" r:id="rId41"/>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E6E6E6"/>
    <a:srgbClr val="EBF1FF"/>
    <a:srgbClr val="E1EAFF"/>
    <a:srgbClr val="D3EFCE"/>
    <a:srgbClr val="EBF6DE"/>
    <a:srgbClr val="F3D26A"/>
    <a:srgbClr val="FFEAA5"/>
    <a:srgbClr val="FFE9A0"/>
    <a:srgbClr val="FFABA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CB8D7B-D02E-4687-8CA4-C8B5B52CB8AB}" v="90" dt="2023-07-21T04:46:48.1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34" autoAdjust="0"/>
    <p:restoredTop sz="94987" autoAdjust="0"/>
  </p:normalViewPr>
  <p:slideViewPr>
    <p:cSldViewPr snapToGrid="0">
      <p:cViewPr varScale="1">
        <p:scale>
          <a:sx n="56" d="100"/>
          <a:sy n="56" d="100"/>
        </p:scale>
        <p:origin x="1232" y="52"/>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4112"/>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presProps" Target="presProps.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F5CB8D7B-D02E-4687-8CA4-C8B5B52CB8AB}"/>
    <pc:docChg chg="undo redo custSel addSld delSld modSld sldOrd modMainMaster">
      <pc:chgData name="Aurelien Domont" userId="6da7715ce44349b3" providerId="LiveId" clId="{F5CB8D7B-D02E-4687-8CA4-C8B5B52CB8AB}" dt="2023-07-21T04:47:21.388" v="3555" actId="20577"/>
      <pc:docMkLst>
        <pc:docMk/>
      </pc:docMkLst>
      <pc:sldChg chg="addSp delSp modSp mod">
        <pc:chgData name="Aurelien Domont" userId="6da7715ce44349b3" providerId="LiveId" clId="{F5CB8D7B-D02E-4687-8CA4-C8B5B52CB8AB}" dt="2023-02-09T05:55:08.654" v="1400" actId="11529"/>
        <pc:sldMkLst>
          <pc:docMk/>
          <pc:sldMk cId="3131901387" sldId="256"/>
        </pc:sldMkLst>
        <pc:spChg chg="mod">
          <ac:chgData name="Aurelien Domont" userId="6da7715ce44349b3" providerId="LiveId" clId="{F5CB8D7B-D02E-4687-8CA4-C8B5B52CB8AB}" dt="2023-02-09T04:56:03.238" v="33" actId="403"/>
          <ac:spMkLst>
            <pc:docMk/>
            <pc:sldMk cId="3131901387" sldId="256"/>
            <ac:spMk id="2" creationId="{5261080C-C60C-4746-B6B1-A9A4FFA86785}"/>
          </ac:spMkLst>
        </pc:spChg>
        <pc:spChg chg="add del mod">
          <ac:chgData name="Aurelien Domont" userId="6da7715ce44349b3" providerId="LiveId" clId="{F5CB8D7B-D02E-4687-8CA4-C8B5B52CB8AB}" dt="2023-02-09T05:55:08.654" v="1400" actId="11529"/>
          <ac:spMkLst>
            <pc:docMk/>
            <pc:sldMk cId="3131901387" sldId="256"/>
            <ac:spMk id="17" creationId="{8BFE2806-328F-1A51-7F6F-AE210CD1E6E2}"/>
          </ac:spMkLst>
        </pc:spChg>
        <pc:picChg chg="del">
          <ac:chgData name="Aurelien Domont" userId="6da7715ce44349b3" providerId="LiveId" clId="{F5CB8D7B-D02E-4687-8CA4-C8B5B52CB8AB}" dt="2023-02-09T04:42:35.656" v="19" actId="478"/>
          <ac:picMkLst>
            <pc:docMk/>
            <pc:sldMk cId="3131901387" sldId="256"/>
            <ac:picMk id="4" creationId="{69C2B395-D309-3B1E-76E1-421DE876ED58}"/>
          </ac:picMkLst>
        </pc:picChg>
        <pc:picChg chg="add mod">
          <ac:chgData name="Aurelien Domont" userId="6da7715ce44349b3" providerId="LiveId" clId="{F5CB8D7B-D02E-4687-8CA4-C8B5B52CB8AB}" dt="2023-02-09T04:46:07.604" v="25" actId="14100"/>
          <ac:picMkLst>
            <pc:docMk/>
            <pc:sldMk cId="3131901387" sldId="256"/>
            <ac:picMk id="13" creationId="{4076F205-A1A5-F467-771D-4A01CA4FD381}"/>
          </ac:picMkLst>
        </pc:picChg>
        <pc:picChg chg="add del mod">
          <ac:chgData name="Aurelien Domont" userId="6da7715ce44349b3" providerId="LiveId" clId="{F5CB8D7B-D02E-4687-8CA4-C8B5B52CB8AB}" dt="2023-02-09T04:45:52.586" v="21" actId="478"/>
          <ac:picMkLst>
            <pc:docMk/>
            <pc:sldMk cId="3131901387" sldId="256"/>
            <ac:picMk id="15" creationId="{F15419BD-D574-5871-C26C-B787AA53BC15}"/>
          </ac:picMkLst>
        </pc:picChg>
      </pc:sldChg>
      <pc:sldChg chg="modSp add mod ord">
        <pc:chgData name="Aurelien Domont" userId="6da7715ce44349b3" providerId="LiveId" clId="{F5CB8D7B-D02E-4687-8CA4-C8B5B52CB8AB}" dt="2023-02-10T03:11:55.557" v="2696"/>
        <pc:sldMkLst>
          <pc:docMk/>
          <pc:sldMk cId="10260494" sldId="258"/>
        </pc:sldMkLst>
        <pc:spChg chg="mod">
          <ac:chgData name="Aurelien Domont" userId="6da7715ce44349b3" providerId="LiveId" clId="{F5CB8D7B-D02E-4687-8CA4-C8B5B52CB8AB}" dt="2023-02-10T02:40:26.360" v="2004" actId="113"/>
          <ac:spMkLst>
            <pc:docMk/>
            <pc:sldMk cId="10260494" sldId="258"/>
            <ac:spMk id="2" creationId="{550EA912-5794-4374-ADB3-D69109D062BF}"/>
          </ac:spMkLst>
        </pc:spChg>
        <pc:spChg chg="mod">
          <ac:chgData name="Aurelien Domont" userId="6da7715ce44349b3" providerId="LiveId" clId="{F5CB8D7B-D02E-4687-8CA4-C8B5B52CB8AB}" dt="2023-02-10T01:16:48.360" v="1504" actId="207"/>
          <ac:spMkLst>
            <pc:docMk/>
            <pc:sldMk cId="10260494" sldId="258"/>
            <ac:spMk id="16" creationId="{0EBAB4F3-DDCF-4CB3-8262-4A3A9D8DB291}"/>
          </ac:spMkLst>
        </pc:spChg>
        <pc:spChg chg="mod">
          <ac:chgData name="Aurelien Domont" userId="6da7715ce44349b3" providerId="LiveId" clId="{F5CB8D7B-D02E-4687-8CA4-C8B5B52CB8AB}" dt="2023-02-10T02:37:11.646" v="1905" actId="207"/>
          <ac:spMkLst>
            <pc:docMk/>
            <pc:sldMk cId="10260494" sldId="258"/>
            <ac:spMk id="23" creationId="{2198A473-3C98-4985-AF25-5E2DA842409E}"/>
          </ac:spMkLst>
        </pc:spChg>
      </pc:sldChg>
      <pc:sldChg chg="modSp add mod ord">
        <pc:chgData name="Aurelien Domont" userId="6da7715ce44349b3" providerId="LiveId" clId="{F5CB8D7B-D02E-4687-8CA4-C8B5B52CB8AB}" dt="2023-02-10T03:11:55.557" v="2696"/>
        <pc:sldMkLst>
          <pc:docMk/>
          <pc:sldMk cId="2503632139" sldId="259"/>
        </pc:sldMkLst>
        <pc:spChg chg="mod">
          <ac:chgData name="Aurelien Domont" userId="6da7715ce44349b3" providerId="LiveId" clId="{F5CB8D7B-D02E-4687-8CA4-C8B5B52CB8AB}" dt="2023-02-10T02:41:09.195" v="2021" actId="403"/>
          <ac:spMkLst>
            <pc:docMk/>
            <pc:sldMk cId="2503632139" sldId="259"/>
            <ac:spMk id="2" creationId="{550EA912-5794-4374-ADB3-D69109D062BF}"/>
          </ac:spMkLst>
        </pc:spChg>
        <pc:spChg chg="mod">
          <ac:chgData name="Aurelien Domont" userId="6da7715ce44349b3" providerId="LiveId" clId="{F5CB8D7B-D02E-4687-8CA4-C8B5B52CB8AB}" dt="2023-02-10T01:17:00.700" v="1508" actId="108"/>
          <ac:spMkLst>
            <pc:docMk/>
            <pc:sldMk cId="2503632139" sldId="259"/>
            <ac:spMk id="6" creationId="{5FECC6B4-E969-4DB6-9711-7AA1E2330030}"/>
          </ac:spMkLst>
        </pc:spChg>
        <pc:spChg chg="mod">
          <ac:chgData name="Aurelien Domont" userId="6da7715ce44349b3" providerId="LiveId" clId="{F5CB8D7B-D02E-4687-8CA4-C8B5B52CB8AB}" dt="2023-02-10T02:37:26.044" v="1909" actId="108"/>
          <ac:spMkLst>
            <pc:docMk/>
            <pc:sldMk cId="2503632139" sldId="259"/>
            <ac:spMk id="23" creationId="{10EFE820-1529-41E9-881D-48B266EA4EAF}"/>
          </ac:spMkLst>
        </pc:spChg>
      </pc:sldChg>
      <pc:sldChg chg="modSp add mod ord">
        <pc:chgData name="Aurelien Domont" userId="6da7715ce44349b3" providerId="LiveId" clId="{F5CB8D7B-D02E-4687-8CA4-C8B5B52CB8AB}" dt="2023-02-10T03:11:55.557" v="2696"/>
        <pc:sldMkLst>
          <pc:docMk/>
          <pc:sldMk cId="1440566613" sldId="261"/>
        </pc:sldMkLst>
        <pc:spChg chg="mod">
          <ac:chgData name="Aurelien Domont" userId="6da7715ce44349b3" providerId="LiveId" clId="{F5CB8D7B-D02E-4687-8CA4-C8B5B52CB8AB}" dt="2023-02-10T02:41:16.985" v="2025" actId="403"/>
          <ac:spMkLst>
            <pc:docMk/>
            <pc:sldMk cId="1440566613" sldId="261"/>
            <ac:spMk id="2" creationId="{550EA912-5794-4374-ADB3-D69109D062BF}"/>
          </ac:spMkLst>
        </pc:spChg>
        <pc:spChg chg="mod">
          <ac:chgData name="Aurelien Domont" userId="6da7715ce44349b3" providerId="LiveId" clId="{F5CB8D7B-D02E-4687-8CA4-C8B5B52CB8AB}" dt="2023-02-10T01:17:03.699" v="1509" actId="108"/>
          <ac:spMkLst>
            <pc:docMk/>
            <pc:sldMk cId="1440566613" sldId="261"/>
            <ac:spMk id="6" creationId="{5FECC6B4-E969-4DB6-9711-7AA1E2330030}"/>
          </ac:spMkLst>
        </pc:spChg>
        <pc:spChg chg="mod">
          <ac:chgData name="Aurelien Domont" userId="6da7715ce44349b3" providerId="LiveId" clId="{F5CB8D7B-D02E-4687-8CA4-C8B5B52CB8AB}" dt="2023-02-10T02:37:28.617" v="1910" actId="108"/>
          <ac:spMkLst>
            <pc:docMk/>
            <pc:sldMk cId="1440566613" sldId="261"/>
            <ac:spMk id="23" creationId="{10EFE820-1529-41E9-881D-48B266EA4EAF}"/>
          </ac:spMkLst>
        </pc:spChg>
      </pc:sldChg>
      <pc:sldChg chg="modSp add mod ord">
        <pc:chgData name="Aurelien Domont" userId="6da7715ce44349b3" providerId="LiveId" clId="{F5CB8D7B-D02E-4687-8CA4-C8B5B52CB8AB}" dt="2023-02-10T03:11:55.557" v="2696"/>
        <pc:sldMkLst>
          <pc:docMk/>
          <pc:sldMk cId="3423054159" sldId="262"/>
        </pc:sldMkLst>
        <pc:spChg chg="mod">
          <ac:chgData name="Aurelien Domont" userId="6da7715ce44349b3" providerId="LiveId" clId="{F5CB8D7B-D02E-4687-8CA4-C8B5B52CB8AB}" dt="2023-02-10T02:41:24.346" v="2029" actId="403"/>
          <ac:spMkLst>
            <pc:docMk/>
            <pc:sldMk cId="3423054159" sldId="262"/>
            <ac:spMk id="2" creationId="{550EA912-5794-4374-ADB3-D69109D062BF}"/>
          </ac:spMkLst>
        </pc:spChg>
        <pc:spChg chg="mod">
          <ac:chgData name="Aurelien Domont" userId="6da7715ce44349b3" providerId="LiveId" clId="{F5CB8D7B-D02E-4687-8CA4-C8B5B52CB8AB}" dt="2023-02-10T01:17:05.993" v="1510" actId="108"/>
          <ac:spMkLst>
            <pc:docMk/>
            <pc:sldMk cId="3423054159" sldId="262"/>
            <ac:spMk id="6" creationId="{5FECC6B4-E969-4DB6-9711-7AA1E2330030}"/>
          </ac:spMkLst>
        </pc:spChg>
        <pc:spChg chg="mod">
          <ac:chgData name="Aurelien Domont" userId="6da7715ce44349b3" providerId="LiveId" clId="{F5CB8D7B-D02E-4687-8CA4-C8B5B52CB8AB}" dt="2023-02-10T02:37:31.795" v="1911" actId="108"/>
          <ac:spMkLst>
            <pc:docMk/>
            <pc:sldMk cId="3423054159" sldId="262"/>
            <ac:spMk id="23" creationId="{10EFE820-1529-41E9-881D-48B266EA4EAF}"/>
          </ac:spMkLst>
        </pc:spChg>
      </pc:sldChg>
      <pc:sldChg chg="modSp add mod ord">
        <pc:chgData name="Aurelien Domont" userId="6da7715ce44349b3" providerId="LiveId" clId="{F5CB8D7B-D02E-4687-8CA4-C8B5B52CB8AB}" dt="2023-02-10T03:11:55.557" v="2696"/>
        <pc:sldMkLst>
          <pc:docMk/>
          <pc:sldMk cId="3314435846" sldId="263"/>
        </pc:sldMkLst>
        <pc:spChg chg="mod">
          <ac:chgData name="Aurelien Domont" userId="6da7715ce44349b3" providerId="LiveId" clId="{F5CB8D7B-D02E-4687-8CA4-C8B5B52CB8AB}" dt="2023-02-10T02:41:34.330" v="2033" actId="403"/>
          <ac:spMkLst>
            <pc:docMk/>
            <pc:sldMk cId="3314435846" sldId="263"/>
            <ac:spMk id="2" creationId="{550EA912-5794-4374-ADB3-D69109D062BF}"/>
          </ac:spMkLst>
        </pc:spChg>
        <pc:spChg chg="mod">
          <ac:chgData name="Aurelien Domont" userId="6da7715ce44349b3" providerId="LiveId" clId="{F5CB8D7B-D02E-4687-8CA4-C8B5B52CB8AB}" dt="2023-02-10T01:17:08.282" v="1511" actId="108"/>
          <ac:spMkLst>
            <pc:docMk/>
            <pc:sldMk cId="3314435846" sldId="263"/>
            <ac:spMk id="6" creationId="{5FECC6B4-E969-4DB6-9711-7AA1E2330030}"/>
          </ac:spMkLst>
        </pc:spChg>
        <pc:spChg chg="mod">
          <ac:chgData name="Aurelien Domont" userId="6da7715ce44349b3" providerId="LiveId" clId="{F5CB8D7B-D02E-4687-8CA4-C8B5B52CB8AB}" dt="2023-02-10T02:37:35.679" v="1912" actId="108"/>
          <ac:spMkLst>
            <pc:docMk/>
            <pc:sldMk cId="3314435846" sldId="263"/>
            <ac:spMk id="23" creationId="{10EFE820-1529-41E9-881D-48B266EA4EAF}"/>
          </ac:spMkLst>
        </pc:spChg>
      </pc:sldChg>
      <pc:sldChg chg="modSp add mod ord">
        <pc:chgData name="Aurelien Domont" userId="6da7715ce44349b3" providerId="LiveId" clId="{F5CB8D7B-D02E-4687-8CA4-C8B5B52CB8AB}" dt="2023-02-10T03:11:55.557" v="2696"/>
        <pc:sldMkLst>
          <pc:docMk/>
          <pc:sldMk cId="2604668811" sldId="265"/>
        </pc:sldMkLst>
        <pc:spChg chg="mod">
          <ac:chgData name="Aurelien Domont" userId="6da7715ce44349b3" providerId="LiveId" clId="{F5CB8D7B-D02E-4687-8CA4-C8B5B52CB8AB}" dt="2023-02-10T02:40:42.043" v="2008" actId="20577"/>
          <ac:spMkLst>
            <pc:docMk/>
            <pc:sldMk cId="2604668811" sldId="265"/>
            <ac:spMk id="2" creationId="{550EA912-5794-4374-ADB3-D69109D062BF}"/>
          </ac:spMkLst>
        </pc:spChg>
        <pc:spChg chg="mod">
          <ac:chgData name="Aurelien Domont" userId="6da7715ce44349b3" providerId="LiveId" clId="{F5CB8D7B-D02E-4687-8CA4-C8B5B52CB8AB}" dt="2023-02-10T01:16:52.367" v="1505" actId="108"/>
          <ac:spMkLst>
            <pc:docMk/>
            <pc:sldMk cId="2604668811" sldId="265"/>
            <ac:spMk id="16" creationId="{0EBAB4F3-DDCF-4CB3-8262-4A3A9D8DB291}"/>
          </ac:spMkLst>
        </pc:spChg>
        <pc:spChg chg="mod">
          <ac:chgData name="Aurelien Domont" userId="6da7715ce44349b3" providerId="LiveId" clId="{F5CB8D7B-D02E-4687-8CA4-C8B5B52CB8AB}" dt="2023-02-10T02:37:18.948" v="1906" actId="108"/>
          <ac:spMkLst>
            <pc:docMk/>
            <pc:sldMk cId="2604668811" sldId="265"/>
            <ac:spMk id="23" creationId="{2198A473-3C98-4985-AF25-5E2DA842409E}"/>
          </ac:spMkLst>
        </pc:spChg>
      </pc:sldChg>
      <pc:sldChg chg="modSp add mod ord">
        <pc:chgData name="Aurelien Domont" userId="6da7715ce44349b3" providerId="LiveId" clId="{F5CB8D7B-D02E-4687-8CA4-C8B5B52CB8AB}" dt="2023-02-10T03:11:55.557" v="2696"/>
        <pc:sldMkLst>
          <pc:docMk/>
          <pc:sldMk cId="3673050482" sldId="266"/>
        </pc:sldMkLst>
        <pc:spChg chg="mod">
          <ac:chgData name="Aurelien Domont" userId="6da7715ce44349b3" providerId="LiveId" clId="{F5CB8D7B-D02E-4687-8CA4-C8B5B52CB8AB}" dt="2023-02-10T02:40:49.143" v="2011" actId="20577"/>
          <ac:spMkLst>
            <pc:docMk/>
            <pc:sldMk cId="3673050482" sldId="266"/>
            <ac:spMk id="2" creationId="{550EA912-5794-4374-ADB3-D69109D062BF}"/>
          </ac:spMkLst>
        </pc:spChg>
        <pc:spChg chg="mod">
          <ac:chgData name="Aurelien Domont" userId="6da7715ce44349b3" providerId="LiveId" clId="{F5CB8D7B-D02E-4687-8CA4-C8B5B52CB8AB}" dt="2023-02-10T01:16:54.244" v="1506" actId="108"/>
          <ac:spMkLst>
            <pc:docMk/>
            <pc:sldMk cId="3673050482" sldId="266"/>
            <ac:spMk id="16" creationId="{0EBAB4F3-DDCF-4CB3-8262-4A3A9D8DB291}"/>
          </ac:spMkLst>
        </pc:spChg>
        <pc:spChg chg="mod">
          <ac:chgData name="Aurelien Domont" userId="6da7715ce44349b3" providerId="LiveId" clId="{F5CB8D7B-D02E-4687-8CA4-C8B5B52CB8AB}" dt="2023-02-10T02:37:21.141" v="1907" actId="108"/>
          <ac:spMkLst>
            <pc:docMk/>
            <pc:sldMk cId="3673050482" sldId="266"/>
            <ac:spMk id="23" creationId="{2198A473-3C98-4985-AF25-5E2DA842409E}"/>
          </ac:spMkLst>
        </pc:spChg>
      </pc:sldChg>
      <pc:sldChg chg="modSp add mod ord">
        <pc:chgData name="Aurelien Domont" userId="6da7715ce44349b3" providerId="LiveId" clId="{F5CB8D7B-D02E-4687-8CA4-C8B5B52CB8AB}" dt="2023-02-10T03:11:55.557" v="2696"/>
        <pc:sldMkLst>
          <pc:docMk/>
          <pc:sldMk cId="3626122367" sldId="267"/>
        </pc:sldMkLst>
        <pc:spChg chg="mod">
          <ac:chgData name="Aurelien Domont" userId="6da7715ce44349b3" providerId="LiveId" clId="{F5CB8D7B-D02E-4687-8CA4-C8B5B52CB8AB}" dt="2023-02-10T02:40:53.207" v="2012"/>
          <ac:spMkLst>
            <pc:docMk/>
            <pc:sldMk cId="3626122367" sldId="267"/>
            <ac:spMk id="2" creationId="{550EA912-5794-4374-ADB3-D69109D062BF}"/>
          </ac:spMkLst>
        </pc:spChg>
        <pc:spChg chg="mod">
          <ac:chgData name="Aurelien Domont" userId="6da7715ce44349b3" providerId="LiveId" clId="{F5CB8D7B-D02E-4687-8CA4-C8B5B52CB8AB}" dt="2023-02-10T01:16:56.464" v="1507" actId="108"/>
          <ac:spMkLst>
            <pc:docMk/>
            <pc:sldMk cId="3626122367" sldId="267"/>
            <ac:spMk id="16" creationId="{0EBAB4F3-DDCF-4CB3-8262-4A3A9D8DB291}"/>
          </ac:spMkLst>
        </pc:spChg>
        <pc:spChg chg="mod">
          <ac:chgData name="Aurelien Domont" userId="6da7715ce44349b3" providerId="LiveId" clId="{F5CB8D7B-D02E-4687-8CA4-C8B5B52CB8AB}" dt="2023-02-10T02:37:23.534" v="1908" actId="108"/>
          <ac:spMkLst>
            <pc:docMk/>
            <pc:sldMk cId="3626122367" sldId="267"/>
            <ac:spMk id="23" creationId="{2198A473-3C98-4985-AF25-5E2DA842409E}"/>
          </ac:spMkLst>
        </pc:spChg>
      </pc:sldChg>
      <pc:sldChg chg="add del">
        <pc:chgData name="Aurelien Domont" userId="6da7715ce44349b3" providerId="LiveId" clId="{F5CB8D7B-D02E-4687-8CA4-C8B5B52CB8AB}" dt="2023-02-10T02:36:33.795" v="1881" actId="47"/>
        <pc:sldMkLst>
          <pc:docMk/>
          <pc:sldMk cId="2783034161" sldId="268"/>
        </pc:sldMkLst>
      </pc:sldChg>
      <pc:sldChg chg="addSp delSp modSp add del mod">
        <pc:chgData name="Aurelien Domont" userId="6da7715ce44349b3" providerId="LiveId" clId="{F5CB8D7B-D02E-4687-8CA4-C8B5B52CB8AB}" dt="2023-06-07T05:03:47.042" v="3267" actId="47"/>
        <pc:sldMkLst>
          <pc:docMk/>
          <pc:sldMk cId="3692499981" sldId="1597"/>
        </pc:sldMkLst>
        <pc:spChg chg="mod">
          <ac:chgData name="Aurelien Domont" userId="6da7715ce44349b3" providerId="LiveId" clId="{F5CB8D7B-D02E-4687-8CA4-C8B5B52CB8AB}" dt="2023-03-10T01:37:07.907" v="3263" actId="20577"/>
          <ac:spMkLst>
            <pc:docMk/>
            <pc:sldMk cId="3692499981" sldId="1597"/>
            <ac:spMk id="2" creationId="{406113FD-AA7D-4249-90D7-70AF85BE48E1}"/>
          </ac:spMkLst>
        </pc:spChg>
        <pc:spChg chg="add del mod">
          <ac:chgData name="Aurelien Domont" userId="6da7715ce44349b3" providerId="LiveId" clId="{F5CB8D7B-D02E-4687-8CA4-C8B5B52CB8AB}" dt="2023-03-09T04:02:19.060" v="2962" actId="571"/>
          <ac:spMkLst>
            <pc:docMk/>
            <pc:sldMk cId="3692499981" sldId="1597"/>
            <ac:spMk id="4" creationId="{38A93DBC-8590-BF61-EEFB-B07A4420D140}"/>
          </ac:spMkLst>
        </pc:spChg>
        <pc:spChg chg="add mod">
          <ac:chgData name="Aurelien Domont" userId="6da7715ce44349b3" providerId="LiveId" clId="{F5CB8D7B-D02E-4687-8CA4-C8B5B52CB8AB}" dt="2023-04-03T04:25:30.172" v="3265"/>
          <ac:spMkLst>
            <pc:docMk/>
            <pc:sldMk cId="3692499981" sldId="1597"/>
            <ac:spMk id="4" creationId="{E69EEF92-5A25-EADF-52E9-58F4F4553535}"/>
          </ac:spMkLst>
        </pc:spChg>
        <pc:spChg chg="add del mod">
          <ac:chgData name="Aurelien Domont" userId="6da7715ce44349b3" providerId="LiveId" clId="{F5CB8D7B-D02E-4687-8CA4-C8B5B52CB8AB}" dt="2023-03-09T04:02:19.060" v="2962" actId="571"/>
          <ac:spMkLst>
            <pc:docMk/>
            <pc:sldMk cId="3692499981" sldId="1597"/>
            <ac:spMk id="6" creationId="{6CED7C9C-2A6C-9B9D-862E-A4883D5B6AFE}"/>
          </ac:spMkLst>
        </pc:spChg>
        <pc:spChg chg="add del mod">
          <ac:chgData name="Aurelien Domont" userId="6da7715ce44349b3" providerId="LiveId" clId="{F5CB8D7B-D02E-4687-8CA4-C8B5B52CB8AB}" dt="2023-03-09T04:02:19.060" v="2962" actId="571"/>
          <ac:spMkLst>
            <pc:docMk/>
            <pc:sldMk cId="3692499981" sldId="1597"/>
            <ac:spMk id="7" creationId="{707AEACB-5347-97BF-988F-378653427E20}"/>
          </ac:spMkLst>
        </pc:spChg>
        <pc:spChg chg="add mod">
          <ac:chgData name="Aurelien Domont" userId="6da7715ce44349b3" providerId="LiveId" clId="{F5CB8D7B-D02E-4687-8CA4-C8B5B52CB8AB}" dt="2023-03-09T04:04:28.936" v="3052" actId="571"/>
          <ac:spMkLst>
            <pc:docMk/>
            <pc:sldMk cId="3692499981" sldId="1597"/>
            <ac:spMk id="12" creationId="{DF45FB9B-DB61-9B13-2448-8E4B6ECADDF5}"/>
          </ac:spMkLst>
        </pc:spChg>
        <pc:spChg chg="add mod">
          <ac:chgData name="Aurelien Domont" userId="6da7715ce44349b3" providerId="LiveId" clId="{F5CB8D7B-D02E-4687-8CA4-C8B5B52CB8AB}" dt="2023-03-09T04:05:56.205" v="3083"/>
          <ac:spMkLst>
            <pc:docMk/>
            <pc:sldMk cId="3692499981" sldId="1597"/>
            <ac:spMk id="13" creationId="{88E96255-B934-9495-47FE-F99E1C0DB679}"/>
          </ac:spMkLst>
        </pc:spChg>
        <pc:spChg chg="add mod">
          <ac:chgData name="Aurelien Domont" userId="6da7715ce44349b3" providerId="LiveId" clId="{F5CB8D7B-D02E-4687-8CA4-C8B5B52CB8AB}" dt="2023-03-09T04:07:19.437" v="3097"/>
          <ac:spMkLst>
            <pc:docMk/>
            <pc:sldMk cId="3692499981" sldId="1597"/>
            <ac:spMk id="14" creationId="{024F2308-2D86-111F-2A8A-E2A5D4944ED0}"/>
          </ac:spMkLst>
        </pc:spChg>
        <pc:spChg chg="add mod">
          <ac:chgData name="Aurelien Domont" userId="6da7715ce44349b3" providerId="LiveId" clId="{F5CB8D7B-D02E-4687-8CA4-C8B5B52CB8AB}" dt="2023-03-09T04:07:23.297" v="3098"/>
          <ac:spMkLst>
            <pc:docMk/>
            <pc:sldMk cId="3692499981" sldId="1597"/>
            <ac:spMk id="15" creationId="{9CA76086-C883-C378-491C-0A9B2020B217}"/>
          </ac:spMkLst>
        </pc:spChg>
        <pc:spChg chg="add mod">
          <ac:chgData name="Aurelien Domont" userId="6da7715ce44349b3" providerId="LiveId" clId="{F5CB8D7B-D02E-4687-8CA4-C8B5B52CB8AB}" dt="2023-03-09T04:07:26.955" v="3099"/>
          <ac:spMkLst>
            <pc:docMk/>
            <pc:sldMk cId="3692499981" sldId="1597"/>
            <ac:spMk id="16" creationId="{36A27C3A-D10C-F14C-7241-C782A1F707E1}"/>
          </ac:spMkLst>
        </pc:spChg>
        <pc:spChg chg="add mod">
          <ac:chgData name="Aurelien Domont" userId="6da7715ce44349b3" providerId="LiveId" clId="{F5CB8D7B-D02E-4687-8CA4-C8B5B52CB8AB}" dt="2023-03-09T04:07:32.315" v="3100"/>
          <ac:spMkLst>
            <pc:docMk/>
            <pc:sldMk cId="3692499981" sldId="1597"/>
            <ac:spMk id="17" creationId="{5437DA2C-DA27-7C4A-2AD2-D9BC6FDB33CD}"/>
          </ac:spMkLst>
        </pc:spChg>
        <pc:spChg chg="add mod">
          <ac:chgData name="Aurelien Domont" userId="6da7715ce44349b3" providerId="LiveId" clId="{F5CB8D7B-D02E-4687-8CA4-C8B5B52CB8AB}" dt="2023-03-09T04:08:45.655" v="3109"/>
          <ac:spMkLst>
            <pc:docMk/>
            <pc:sldMk cId="3692499981" sldId="1597"/>
            <ac:spMk id="18" creationId="{32FC2E31-FEF6-4DDD-06F4-22D4417FC562}"/>
          </ac:spMkLst>
        </pc:spChg>
        <pc:spChg chg="add del mod">
          <ac:chgData name="Aurelien Domont" userId="6da7715ce44349b3" providerId="LiveId" clId="{F5CB8D7B-D02E-4687-8CA4-C8B5B52CB8AB}" dt="2023-04-03T04:25:29.896" v="3264" actId="478"/>
          <ac:spMkLst>
            <pc:docMk/>
            <pc:sldMk cId="3692499981" sldId="1597"/>
            <ac:spMk id="24" creationId="{7C3848FA-DEEB-FA99-5F24-51ECCDA19D02}"/>
          </ac:spMkLst>
        </pc:spChg>
        <pc:spChg chg="add mod">
          <ac:chgData name="Aurelien Domont" userId="6da7715ce44349b3" providerId="LiveId" clId="{F5CB8D7B-D02E-4687-8CA4-C8B5B52CB8AB}" dt="2023-03-09T04:14:06.804" v="3227" actId="20577"/>
          <ac:spMkLst>
            <pc:docMk/>
            <pc:sldMk cId="3692499981" sldId="1597"/>
            <ac:spMk id="26" creationId="{02C3BD3B-9C0D-016C-E74B-2607AB684B0E}"/>
          </ac:spMkLst>
        </pc:spChg>
        <pc:spChg chg="add mod">
          <ac:chgData name="Aurelien Domont" userId="6da7715ce44349b3" providerId="LiveId" clId="{F5CB8D7B-D02E-4687-8CA4-C8B5B52CB8AB}" dt="2023-03-09T04:09:23.264" v="3137" actId="20577"/>
          <ac:spMkLst>
            <pc:docMk/>
            <pc:sldMk cId="3692499981" sldId="1597"/>
            <ac:spMk id="27" creationId="{8E685ECB-3ADD-8517-6FE6-0AD76982841B}"/>
          </ac:spMkLst>
        </pc:spChg>
        <pc:spChg chg="add mod">
          <ac:chgData name="Aurelien Domont" userId="6da7715ce44349b3" providerId="LiveId" clId="{F5CB8D7B-D02E-4687-8CA4-C8B5B52CB8AB}" dt="2023-03-09T04:09:39.016" v="3152" actId="20577"/>
          <ac:spMkLst>
            <pc:docMk/>
            <pc:sldMk cId="3692499981" sldId="1597"/>
            <ac:spMk id="28" creationId="{EF4F8A7A-3312-F515-EDA5-FCC93B2D0F6C}"/>
          </ac:spMkLst>
        </pc:spChg>
        <pc:spChg chg="add mod">
          <ac:chgData name="Aurelien Domont" userId="6da7715ce44349b3" providerId="LiveId" clId="{F5CB8D7B-D02E-4687-8CA4-C8B5B52CB8AB}" dt="2023-03-09T04:09:56.877" v="3155" actId="20577"/>
          <ac:spMkLst>
            <pc:docMk/>
            <pc:sldMk cId="3692499981" sldId="1597"/>
            <ac:spMk id="29" creationId="{36C0C54C-58BC-1787-E58F-A5B66444E9BF}"/>
          </ac:spMkLst>
        </pc:spChg>
        <pc:spChg chg="add mod">
          <ac:chgData name="Aurelien Domont" userId="6da7715ce44349b3" providerId="LiveId" clId="{F5CB8D7B-D02E-4687-8CA4-C8B5B52CB8AB}" dt="2023-03-09T04:10:07.274" v="3182" actId="20577"/>
          <ac:spMkLst>
            <pc:docMk/>
            <pc:sldMk cId="3692499981" sldId="1597"/>
            <ac:spMk id="30" creationId="{9E70AC32-6962-0E64-770D-D8C23699FA0F}"/>
          </ac:spMkLst>
        </pc:spChg>
        <pc:spChg chg="add mod">
          <ac:chgData name="Aurelien Domont" userId="6da7715ce44349b3" providerId="LiveId" clId="{F5CB8D7B-D02E-4687-8CA4-C8B5B52CB8AB}" dt="2023-03-09T04:14:47.980" v="3256" actId="20577"/>
          <ac:spMkLst>
            <pc:docMk/>
            <pc:sldMk cId="3692499981" sldId="1597"/>
            <ac:spMk id="36" creationId="{33F059CA-4433-B4C3-FB11-693BF91C4C18}"/>
          </ac:spMkLst>
        </pc:spChg>
        <pc:spChg chg="del">
          <ac:chgData name="Aurelien Domont" userId="6da7715ce44349b3" providerId="LiveId" clId="{F5CB8D7B-D02E-4687-8CA4-C8B5B52CB8AB}" dt="2023-03-09T04:10:48.771" v="3189" actId="478"/>
          <ac:spMkLst>
            <pc:docMk/>
            <pc:sldMk cId="3692499981" sldId="1597"/>
            <ac:spMk id="38" creationId="{006515F0-1B5B-4D80-A7F0-CB4C67DD3D01}"/>
          </ac:spMkLst>
        </pc:spChg>
        <pc:spChg chg="mod">
          <ac:chgData name="Aurelien Domont" userId="6da7715ce44349b3" providerId="LiveId" clId="{F5CB8D7B-D02E-4687-8CA4-C8B5B52CB8AB}" dt="2023-03-09T04:05:28.175" v="3075" actId="14100"/>
          <ac:spMkLst>
            <pc:docMk/>
            <pc:sldMk cId="3692499981" sldId="1597"/>
            <ac:spMk id="39" creationId="{CEE557A1-409F-42D8-8E06-8F587DD34696}"/>
          </ac:spMkLst>
        </pc:spChg>
        <pc:spChg chg="mod">
          <ac:chgData name="Aurelien Domont" userId="6da7715ce44349b3" providerId="LiveId" clId="{F5CB8D7B-D02E-4687-8CA4-C8B5B52CB8AB}" dt="2023-03-09T04:05:40.391" v="3082" actId="408"/>
          <ac:spMkLst>
            <pc:docMk/>
            <pc:sldMk cId="3692499981" sldId="1597"/>
            <ac:spMk id="40" creationId="{D0EA9894-FF9D-49C6-93AB-48137D87D069}"/>
          </ac:spMkLst>
        </pc:spChg>
        <pc:spChg chg="mod">
          <ac:chgData name="Aurelien Domont" userId="6da7715ce44349b3" providerId="LiveId" clId="{F5CB8D7B-D02E-4687-8CA4-C8B5B52CB8AB}" dt="2023-03-09T04:05:40.391" v="3082" actId="408"/>
          <ac:spMkLst>
            <pc:docMk/>
            <pc:sldMk cId="3692499981" sldId="1597"/>
            <ac:spMk id="41" creationId="{AAE39675-AC2C-4745-9218-A98505350E62}"/>
          </ac:spMkLst>
        </pc:spChg>
        <pc:spChg chg="mod">
          <ac:chgData name="Aurelien Domont" userId="6da7715ce44349b3" providerId="LiveId" clId="{F5CB8D7B-D02E-4687-8CA4-C8B5B52CB8AB}" dt="2023-03-09T04:05:40.391" v="3082" actId="408"/>
          <ac:spMkLst>
            <pc:docMk/>
            <pc:sldMk cId="3692499981" sldId="1597"/>
            <ac:spMk id="42" creationId="{B8E1E253-DFE7-4D92-8527-A06E28077232}"/>
          </ac:spMkLst>
        </pc:spChg>
        <pc:spChg chg="add del mod">
          <ac:chgData name="Aurelien Domont" userId="6da7715ce44349b3" providerId="LiveId" clId="{F5CB8D7B-D02E-4687-8CA4-C8B5B52CB8AB}" dt="2023-03-09T04:08:21.308" v="3106" actId="478"/>
          <ac:spMkLst>
            <pc:docMk/>
            <pc:sldMk cId="3692499981" sldId="1597"/>
            <ac:spMk id="43" creationId="{20D01066-9C88-9A8C-CE07-C15BAFEBD33B}"/>
          </ac:spMkLst>
        </pc:spChg>
        <pc:spChg chg="mod">
          <ac:chgData name="Aurelien Domont" userId="6da7715ce44349b3" providerId="LiveId" clId="{F5CB8D7B-D02E-4687-8CA4-C8B5B52CB8AB}" dt="2023-03-09T04:05:40.391" v="3082" actId="408"/>
          <ac:spMkLst>
            <pc:docMk/>
            <pc:sldMk cId="3692499981" sldId="1597"/>
            <ac:spMk id="44" creationId="{84CBE3D6-ECDA-402F-A5E8-85E5D393D014}"/>
          </ac:spMkLst>
        </pc:spChg>
        <pc:spChg chg="del mod">
          <ac:chgData name="Aurelien Domont" userId="6da7715ce44349b3" providerId="LiveId" clId="{F5CB8D7B-D02E-4687-8CA4-C8B5B52CB8AB}" dt="2023-03-09T04:06:28.514" v="3090" actId="478"/>
          <ac:spMkLst>
            <pc:docMk/>
            <pc:sldMk cId="3692499981" sldId="1597"/>
            <ac:spMk id="49" creationId="{6E3F0CDC-465E-40A1-8443-988098AD498B}"/>
          </ac:spMkLst>
        </pc:spChg>
        <pc:spChg chg="del mod">
          <ac:chgData name="Aurelien Domont" userId="6da7715ce44349b3" providerId="LiveId" clId="{F5CB8D7B-D02E-4687-8CA4-C8B5B52CB8AB}" dt="2023-03-09T04:06:28.514" v="3090" actId="478"/>
          <ac:spMkLst>
            <pc:docMk/>
            <pc:sldMk cId="3692499981" sldId="1597"/>
            <ac:spMk id="50" creationId="{6035EC55-C1FD-472D-8B82-D961C0659A49}"/>
          </ac:spMkLst>
        </pc:spChg>
        <pc:spChg chg="del mod">
          <ac:chgData name="Aurelien Domont" userId="6da7715ce44349b3" providerId="LiveId" clId="{F5CB8D7B-D02E-4687-8CA4-C8B5B52CB8AB}" dt="2023-03-09T04:06:28.514" v="3090" actId="478"/>
          <ac:spMkLst>
            <pc:docMk/>
            <pc:sldMk cId="3692499981" sldId="1597"/>
            <ac:spMk id="51" creationId="{F04EE4F3-1AA9-4EC6-92F6-A719AD80C9B6}"/>
          </ac:spMkLst>
        </pc:spChg>
        <pc:spChg chg="del mod">
          <ac:chgData name="Aurelien Domont" userId="6da7715ce44349b3" providerId="LiveId" clId="{F5CB8D7B-D02E-4687-8CA4-C8B5B52CB8AB}" dt="2023-03-09T04:06:28.514" v="3090" actId="478"/>
          <ac:spMkLst>
            <pc:docMk/>
            <pc:sldMk cId="3692499981" sldId="1597"/>
            <ac:spMk id="52" creationId="{14514312-9CE8-40D6-A714-9CA34E42E004}"/>
          </ac:spMkLst>
        </pc:spChg>
        <pc:spChg chg="del mod">
          <ac:chgData name="Aurelien Domont" userId="6da7715ce44349b3" providerId="LiveId" clId="{F5CB8D7B-D02E-4687-8CA4-C8B5B52CB8AB}" dt="2023-03-09T04:06:28.514" v="3090" actId="478"/>
          <ac:spMkLst>
            <pc:docMk/>
            <pc:sldMk cId="3692499981" sldId="1597"/>
            <ac:spMk id="53" creationId="{5FEAEE0A-2719-4A7E-9EC4-8CE133B5BC9E}"/>
          </ac:spMkLst>
        </pc:spChg>
        <pc:spChg chg="del mod">
          <ac:chgData name="Aurelien Domont" userId="6da7715ce44349b3" providerId="LiveId" clId="{F5CB8D7B-D02E-4687-8CA4-C8B5B52CB8AB}" dt="2023-03-09T04:06:28.514" v="3090" actId="478"/>
          <ac:spMkLst>
            <pc:docMk/>
            <pc:sldMk cId="3692499981" sldId="1597"/>
            <ac:spMk id="54" creationId="{24361A01-D092-405F-9CB4-B53B904539E6}"/>
          </ac:spMkLst>
        </pc:spChg>
        <pc:spChg chg="add del mod">
          <ac:chgData name="Aurelien Domont" userId="6da7715ce44349b3" providerId="LiveId" clId="{F5CB8D7B-D02E-4687-8CA4-C8B5B52CB8AB}" dt="2023-03-09T04:08:21.308" v="3106" actId="478"/>
          <ac:spMkLst>
            <pc:docMk/>
            <pc:sldMk cId="3692499981" sldId="1597"/>
            <ac:spMk id="55" creationId="{95A8EBEA-C7D7-95F4-7941-C73794763CB6}"/>
          </ac:spMkLst>
        </pc:spChg>
        <pc:spChg chg="add del mod">
          <ac:chgData name="Aurelien Domont" userId="6da7715ce44349b3" providerId="LiveId" clId="{F5CB8D7B-D02E-4687-8CA4-C8B5B52CB8AB}" dt="2023-03-09T04:08:21.308" v="3106" actId="478"/>
          <ac:spMkLst>
            <pc:docMk/>
            <pc:sldMk cId="3692499981" sldId="1597"/>
            <ac:spMk id="56" creationId="{6A711223-C77C-04D1-28B0-01B3B9C5BA93}"/>
          </ac:spMkLst>
        </pc:spChg>
        <pc:spChg chg="del mod">
          <ac:chgData name="Aurelien Domont" userId="6da7715ce44349b3" providerId="LiveId" clId="{F5CB8D7B-D02E-4687-8CA4-C8B5B52CB8AB}" dt="2023-03-09T04:06:28.514" v="3090" actId="478"/>
          <ac:spMkLst>
            <pc:docMk/>
            <pc:sldMk cId="3692499981" sldId="1597"/>
            <ac:spMk id="57" creationId="{2CF5DD89-FD89-4C9A-A3BA-8C2B933396A5}"/>
          </ac:spMkLst>
        </pc:spChg>
        <pc:spChg chg="del mod">
          <ac:chgData name="Aurelien Domont" userId="6da7715ce44349b3" providerId="LiveId" clId="{F5CB8D7B-D02E-4687-8CA4-C8B5B52CB8AB}" dt="2023-03-09T04:06:28.514" v="3090" actId="478"/>
          <ac:spMkLst>
            <pc:docMk/>
            <pc:sldMk cId="3692499981" sldId="1597"/>
            <ac:spMk id="58" creationId="{962B393D-7923-48A4-A7D3-E55E86A68049}"/>
          </ac:spMkLst>
        </pc:spChg>
        <pc:spChg chg="del mod">
          <ac:chgData name="Aurelien Domont" userId="6da7715ce44349b3" providerId="LiveId" clId="{F5CB8D7B-D02E-4687-8CA4-C8B5B52CB8AB}" dt="2023-03-09T04:06:28.514" v="3090" actId="478"/>
          <ac:spMkLst>
            <pc:docMk/>
            <pc:sldMk cId="3692499981" sldId="1597"/>
            <ac:spMk id="59" creationId="{601072B2-BF67-45D3-AAD0-D7072F988D63}"/>
          </ac:spMkLst>
        </pc:spChg>
        <pc:spChg chg="add del mod">
          <ac:chgData name="Aurelien Domont" userId="6da7715ce44349b3" providerId="LiveId" clId="{F5CB8D7B-D02E-4687-8CA4-C8B5B52CB8AB}" dt="2023-03-09T04:08:21.308" v="3106" actId="478"/>
          <ac:spMkLst>
            <pc:docMk/>
            <pc:sldMk cId="3692499981" sldId="1597"/>
            <ac:spMk id="60" creationId="{CB1A3DD5-615F-23D9-5E99-0B58DE6542EC}"/>
          </ac:spMkLst>
        </pc:spChg>
        <pc:spChg chg="add del mod">
          <ac:chgData name="Aurelien Domont" userId="6da7715ce44349b3" providerId="LiveId" clId="{F5CB8D7B-D02E-4687-8CA4-C8B5B52CB8AB}" dt="2023-03-09T04:11:31.399" v="3203" actId="478"/>
          <ac:spMkLst>
            <pc:docMk/>
            <pc:sldMk cId="3692499981" sldId="1597"/>
            <ac:spMk id="65" creationId="{C05E88B3-0F8A-DD25-E84C-C09BAD899809}"/>
          </ac:spMkLst>
        </pc:spChg>
        <pc:spChg chg="add del mod">
          <ac:chgData name="Aurelien Domont" userId="6da7715ce44349b3" providerId="LiveId" clId="{F5CB8D7B-D02E-4687-8CA4-C8B5B52CB8AB}" dt="2023-03-09T04:11:31.399" v="3203" actId="478"/>
          <ac:spMkLst>
            <pc:docMk/>
            <pc:sldMk cId="3692499981" sldId="1597"/>
            <ac:spMk id="66" creationId="{937C8D04-15B7-2056-5AAF-318CA13A6FB5}"/>
          </ac:spMkLst>
        </pc:spChg>
        <pc:spChg chg="add del mod">
          <ac:chgData name="Aurelien Domont" userId="6da7715ce44349b3" providerId="LiveId" clId="{F5CB8D7B-D02E-4687-8CA4-C8B5B52CB8AB}" dt="2023-03-09T04:11:31.399" v="3203" actId="478"/>
          <ac:spMkLst>
            <pc:docMk/>
            <pc:sldMk cId="3692499981" sldId="1597"/>
            <ac:spMk id="67" creationId="{8E84C538-D83A-0F0E-DDE7-3277C1D8C571}"/>
          </ac:spMkLst>
        </pc:spChg>
        <pc:spChg chg="del mod">
          <ac:chgData name="Aurelien Domont" userId="6da7715ce44349b3" providerId="LiveId" clId="{F5CB8D7B-D02E-4687-8CA4-C8B5B52CB8AB}" dt="2023-03-09T04:06:28.514" v="3090" actId="478"/>
          <ac:spMkLst>
            <pc:docMk/>
            <pc:sldMk cId="3692499981" sldId="1597"/>
            <ac:spMk id="68" creationId="{9B19D1C6-790E-48B8-88C5-804F3C4CA539}"/>
          </ac:spMkLst>
        </pc:spChg>
        <pc:spChg chg="add del mod">
          <ac:chgData name="Aurelien Domont" userId="6da7715ce44349b3" providerId="LiveId" clId="{F5CB8D7B-D02E-4687-8CA4-C8B5B52CB8AB}" dt="2023-03-09T04:11:31.399" v="3203" actId="478"/>
          <ac:spMkLst>
            <pc:docMk/>
            <pc:sldMk cId="3692499981" sldId="1597"/>
            <ac:spMk id="75" creationId="{6CDDF810-1303-4C18-A453-181043EEF098}"/>
          </ac:spMkLst>
        </pc:spChg>
        <pc:spChg chg="add del mod">
          <ac:chgData name="Aurelien Domont" userId="6da7715ce44349b3" providerId="LiveId" clId="{F5CB8D7B-D02E-4687-8CA4-C8B5B52CB8AB}" dt="2023-03-09T04:11:31.399" v="3203" actId="478"/>
          <ac:spMkLst>
            <pc:docMk/>
            <pc:sldMk cId="3692499981" sldId="1597"/>
            <ac:spMk id="76" creationId="{2A31207C-9060-2F4D-A63E-4C68DA9A39F9}"/>
          </ac:spMkLst>
        </pc:spChg>
        <pc:spChg chg="mod">
          <ac:chgData name="Aurelien Domont" userId="6da7715ce44349b3" providerId="LiveId" clId="{F5CB8D7B-D02E-4687-8CA4-C8B5B52CB8AB}" dt="2023-03-09T04:08:36.226" v="3107"/>
          <ac:spMkLst>
            <pc:docMk/>
            <pc:sldMk cId="3692499981" sldId="1597"/>
            <ac:spMk id="82" creationId="{CE643018-345C-6A96-EFA8-0388C27941A9}"/>
          </ac:spMkLst>
        </pc:spChg>
        <pc:spChg chg="mod">
          <ac:chgData name="Aurelien Domont" userId="6da7715ce44349b3" providerId="LiveId" clId="{F5CB8D7B-D02E-4687-8CA4-C8B5B52CB8AB}" dt="2023-03-09T04:08:36.226" v="3107"/>
          <ac:spMkLst>
            <pc:docMk/>
            <pc:sldMk cId="3692499981" sldId="1597"/>
            <ac:spMk id="83" creationId="{B971D38B-B001-5F20-9F1B-9B3A7BDC9B01}"/>
          </ac:spMkLst>
        </pc:spChg>
        <pc:spChg chg="mod">
          <ac:chgData name="Aurelien Domont" userId="6da7715ce44349b3" providerId="LiveId" clId="{F5CB8D7B-D02E-4687-8CA4-C8B5B52CB8AB}" dt="2023-03-09T04:08:36.226" v="3107"/>
          <ac:spMkLst>
            <pc:docMk/>
            <pc:sldMk cId="3692499981" sldId="1597"/>
            <ac:spMk id="84" creationId="{93B9FEA4-A1E8-F41F-3C35-C1F892E48DD8}"/>
          </ac:spMkLst>
        </pc:spChg>
        <pc:grpChg chg="add del mod">
          <ac:chgData name="Aurelien Domont" userId="6da7715ce44349b3" providerId="LiveId" clId="{F5CB8D7B-D02E-4687-8CA4-C8B5B52CB8AB}" dt="2023-04-03T04:25:29.896" v="3264" actId="478"/>
          <ac:grpSpMkLst>
            <pc:docMk/>
            <pc:sldMk cId="3692499981" sldId="1597"/>
            <ac:grpSpMk id="81" creationId="{25FA0FA3-766E-D22F-CA36-71FC2D1FA087}"/>
          </ac:grpSpMkLst>
        </pc:grpChg>
        <pc:grpChg chg="del">
          <ac:chgData name="Aurelien Domont" userId="6da7715ce44349b3" providerId="LiveId" clId="{F5CB8D7B-D02E-4687-8CA4-C8B5B52CB8AB}" dt="2023-03-09T04:06:28.514" v="3090" actId="478"/>
          <ac:grpSpMkLst>
            <pc:docMk/>
            <pc:sldMk cId="3692499981" sldId="1597"/>
            <ac:grpSpMk id="89" creationId="{FED921B1-ABB2-411E-BD9D-FC49DA98123B}"/>
          </ac:grpSpMkLst>
        </pc:grpChg>
        <pc:picChg chg="add mod">
          <ac:chgData name="Aurelien Domont" userId="6da7715ce44349b3" providerId="LiveId" clId="{F5CB8D7B-D02E-4687-8CA4-C8B5B52CB8AB}" dt="2023-04-03T04:25:30.172" v="3265"/>
          <ac:picMkLst>
            <pc:docMk/>
            <pc:sldMk cId="3692499981" sldId="1597"/>
            <ac:picMk id="6" creationId="{8192D414-817D-5DA4-64CC-B6BEF8CD10C3}"/>
          </ac:picMkLst>
        </pc:picChg>
        <pc:picChg chg="add del mod">
          <ac:chgData name="Aurelien Domont" userId="6da7715ce44349b3" providerId="LiveId" clId="{F5CB8D7B-D02E-4687-8CA4-C8B5B52CB8AB}" dt="2023-03-09T04:02:19.060" v="2962" actId="571"/>
          <ac:picMkLst>
            <pc:docMk/>
            <pc:sldMk cId="3692499981" sldId="1597"/>
            <ac:picMk id="8" creationId="{1EAF00EF-20C1-1903-33A1-371CCC6A7987}"/>
          </ac:picMkLst>
        </pc:picChg>
        <pc:picChg chg="add del mod">
          <ac:chgData name="Aurelien Domont" userId="6da7715ce44349b3" providerId="LiveId" clId="{F5CB8D7B-D02E-4687-8CA4-C8B5B52CB8AB}" dt="2023-03-09T04:02:19.060" v="2962" actId="571"/>
          <ac:picMkLst>
            <pc:docMk/>
            <pc:sldMk cId="3692499981" sldId="1597"/>
            <ac:picMk id="9" creationId="{68996984-DEB5-D9F9-8A0C-F458FFD92DF6}"/>
          </ac:picMkLst>
        </pc:picChg>
        <pc:picChg chg="add del mod">
          <ac:chgData name="Aurelien Domont" userId="6da7715ce44349b3" providerId="LiveId" clId="{F5CB8D7B-D02E-4687-8CA4-C8B5B52CB8AB}" dt="2023-03-09T04:02:19.060" v="2962" actId="571"/>
          <ac:picMkLst>
            <pc:docMk/>
            <pc:sldMk cId="3692499981" sldId="1597"/>
            <ac:picMk id="10" creationId="{1537DDF9-BD53-C62D-E602-E30560B49C3D}"/>
          </ac:picMkLst>
        </pc:picChg>
        <pc:picChg chg="mod">
          <ac:chgData name="Aurelien Domont" userId="6da7715ce44349b3" providerId="LiveId" clId="{F5CB8D7B-D02E-4687-8CA4-C8B5B52CB8AB}" dt="2023-03-09T04:06:04.982" v="3086" actId="1076"/>
          <ac:picMkLst>
            <pc:docMk/>
            <pc:sldMk cId="3692499981" sldId="1597"/>
            <ac:picMk id="11" creationId="{A23F79A6-49F6-45E7-AE6C-EDDF1D407863}"/>
          </ac:picMkLst>
        </pc:picChg>
        <pc:picChg chg="add del mod">
          <ac:chgData name="Aurelien Domont" userId="6da7715ce44349b3" providerId="LiveId" clId="{F5CB8D7B-D02E-4687-8CA4-C8B5B52CB8AB}" dt="2023-03-09T04:07:56.640" v="3101" actId="478"/>
          <ac:picMkLst>
            <pc:docMk/>
            <pc:sldMk cId="3692499981" sldId="1597"/>
            <ac:picMk id="19" creationId="{5EAA8F4A-3D33-E031-2BA3-ED0155817194}"/>
          </ac:picMkLst>
        </pc:picChg>
        <pc:picChg chg="add del mod">
          <ac:chgData name="Aurelien Domont" userId="6da7715ce44349b3" providerId="LiveId" clId="{F5CB8D7B-D02E-4687-8CA4-C8B5B52CB8AB}" dt="2023-03-09T04:07:56.640" v="3101" actId="478"/>
          <ac:picMkLst>
            <pc:docMk/>
            <pc:sldMk cId="3692499981" sldId="1597"/>
            <ac:picMk id="20" creationId="{35F49B9C-FFE9-662B-F384-B9BF56FC1B34}"/>
          </ac:picMkLst>
        </pc:picChg>
        <pc:picChg chg="add del mod">
          <ac:chgData name="Aurelien Domont" userId="6da7715ce44349b3" providerId="LiveId" clId="{F5CB8D7B-D02E-4687-8CA4-C8B5B52CB8AB}" dt="2023-03-09T04:07:56.640" v="3101" actId="478"/>
          <ac:picMkLst>
            <pc:docMk/>
            <pc:sldMk cId="3692499981" sldId="1597"/>
            <ac:picMk id="21" creationId="{915EFE31-7B0D-9E3F-3397-05A91AE45C9C}"/>
          </ac:picMkLst>
        </pc:picChg>
        <pc:picChg chg="add del mod">
          <ac:chgData name="Aurelien Domont" userId="6da7715ce44349b3" providerId="LiveId" clId="{F5CB8D7B-D02E-4687-8CA4-C8B5B52CB8AB}" dt="2023-03-09T04:07:56.640" v="3101" actId="478"/>
          <ac:picMkLst>
            <pc:docMk/>
            <pc:sldMk cId="3692499981" sldId="1597"/>
            <ac:picMk id="22" creationId="{33799454-AC47-1316-5BEB-93CD2008F937}"/>
          </ac:picMkLst>
        </pc:picChg>
        <pc:picChg chg="add del mod">
          <ac:chgData name="Aurelien Domont" userId="6da7715ce44349b3" providerId="LiveId" clId="{F5CB8D7B-D02E-4687-8CA4-C8B5B52CB8AB}" dt="2023-03-09T04:10:55.961" v="3190" actId="478"/>
          <ac:picMkLst>
            <pc:docMk/>
            <pc:sldMk cId="3692499981" sldId="1597"/>
            <ac:picMk id="23" creationId="{EC091E60-0199-80C6-CBC3-149A35AAC411}"/>
          </ac:picMkLst>
        </pc:picChg>
        <pc:picChg chg="add del mod">
          <ac:chgData name="Aurelien Domont" userId="6da7715ce44349b3" providerId="LiveId" clId="{F5CB8D7B-D02E-4687-8CA4-C8B5B52CB8AB}" dt="2023-03-09T04:10:56.855" v="3191" actId="478"/>
          <ac:picMkLst>
            <pc:docMk/>
            <pc:sldMk cId="3692499981" sldId="1597"/>
            <ac:picMk id="25" creationId="{C95D11AB-BB7F-8468-8B9D-CD3E09CBF9B5}"/>
          </ac:picMkLst>
        </pc:picChg>
        <pc:picChg chg="add del mod">
          <ac:chgData name="Aurelien Domont" userId="6da7715ce44349b3" providerId="LiveId" clId="{F5CB8D7B-D02E-4687-8CA4-C8B5B52CB8AB}" dt="2023-03-09T04:09:07.330" v="3129" actId="478"/>
          <ac:picMkLst>
            <pc:docMk/>
            <pc:sldMk cId="3692499981" sldId="1597"/>
            <ac:picMk id="31" creationId="{F586B85C-2D81-39F4-CF76-A4312684AA2B}"/>
          </ac:picMkLst>
        </pc:picChg>
        <pc:picChg chg="add del mod">
          <ac:chgData name="Aurelien Domont" userId="6da7715ce44349b3" providerId="LiveId" clId="{F5CB8D7B-D02E-4687-8CA4-C8B5B52CB8AB}" dt="2023-03-09T04:09:08.519" v="3130" actId="478"/>
          <ac:picMkLst>
            <pc:docMk/>
            <pc:sldMk cId="3692499981" sldId="1597"/>
            <ac:picMk id="32" creationId="{B27BAB5C-6F5E-F331-6086-6A01B53A1738}"/>
          </ac:picMkLst>
        </pc:picChg>
        <pc:picChg chg="add del mod">
          <ac:chgData name="Aurelien Domont" userId="6da7715ce44349b3" providerId="LiveId" clId="{F5CB8D7B-D02E-4687-8CA4-C8B5B52CB8AB}" dt="2023-03-09T04:09:09.744" v="3132" actId="478"/>
          <ac:picMkLst>
            <pc:docMk/>
            <pc:sldMk cId="3692499981" sldId="1597"/>
            <ac:picMk id="33" creationId="{518B01A1-B588-F0E2-CD6B-5D00037F9887}"/>
          </ac:picMkLst>
        </pc:picChg>
        <pc:picChg chg="add del mod">
          <ac:chgData name="Aurelien Domont" userId="6da7715ce44349b3" providerId="LiveId" clId="{F5CB8D7B-D02E-4687-8CA4-C8B5B52CB8AB}" dt="2023-03-09T04:09:09.147" v="3131" actId="478"/>
          <ac:picMkLst>
            <pc:docMk/>
            <pc:sldMk cId="3692499981" sldId="1597"/>
            <ac:picMk id="34" creationId="{37E6631C-DA73-C977-5692-61649BD68BC1}"/>
          </ac:picMkLst>
        </pc:picChg>
        <pc:picChg chg="add del mod">
          <ac:chgData name="Aurelien Domont" userId="6da7715ce44349b3" providerId="LiveId" clId="{F5CB8D7B-D02E-4687-8CA4-C8B5B52CB8AB}" dt="2023-03-09T04:09:10.262" v="3133" actId="478"/>
          <ac:picMkLst>
            <pc:docMk/>
            <pc:sldMk cId="3692499981" sldId="1597"/>
            <ac:picMk id="35" creationId="{E0CE03DD-40FF-A463-E6AD-2280E634FD35}"/>
          </ac:picMkLst>
        </pc:picChg>
        <pc:picChg chg="add del mod">
          <ac:chgData name="Aurelien Domont" userId="6da7715ce44349b3" providerId="LiveId" clId="{F5CB8D7B-D02E-4687-8CA4-C8B5B52CB8AB}" dt="2023-03-09T04:09:10.797" v="3134" actId="478"/>
          <ac:picMkLst>
            <pc:docMk/>
            <pc:sldMk cId="3692499981" sldId="1597"/>
            <ac:picMk id="37" creationId="{11C2A914-411A-6674-0E04-600B5C4933D4}"/>
          </ac:picMkLst>
        </pc:picChg>
        <pc:picChg chg="mod">
          <ac:chgData name="Aurelien Domont" userId="6da7715ce44349b3" providerId="LiveId" clId="{F5CB8D7B-D02E-4687-8CA4-C8B5B52CB8AB}" dt="2023-03-09T04:15:32.187" v="3260" actId="1036"/>
          <ac:picMkLst>
            <pc:docMk/>
            <pc:sldMk cId="3692499981" sldId="1597"/>
            <ac:picMk id="45" creationId="{F4DF2276-04CB-494B-A194-6BA8CF9C774E}"/>
          </ac:picMkLst>
        </pc:picChg>
        <pc:picChg chg="del">
          <ac:chgData name="Aurelien Domont" userId="6da7715ce44349b3" providerId="LiveId" clId="{F5CB8D7B-D02E-4687-8CA4-C8B5B52CB8AB}" dt="2023-03-09T04:06:28.514" v="3090" actId="478"/>
          <ac:picMkLst>
            <pc:docMk/>
            <pc:sldMk cId="3692499981" sldId="1597"/>
            <ac:picMk id="46" creationId="{51DB14BB-092C-4828-AFF7-4A4066D59390}"/>
          </ac:picMkLst>
        </pc:picChg>
        <pc:picChg chg="mod">
          <ac:chgData name="Aurelien Domont" userId="6da7715ce44349b3" providerId="LiveId" clId="{F5CB8D7B-D02E-4687-8CA4-C8B5B52CB8AB}" dt="2023-03-09T04:06:14.466" v="3089" actId="1076"/>
          <ac:picMkLst>
            <pc:docMk/>
            <pc:sldMk cId="3692499981" sldId="1597"/>
            <ac:picMk id="48" creationId="{7407281C-C066-48CD-8AC3-24D86CEF7A60}"/>
          </ac:picMkLst>
        </pc:picChg>
        <pc:picChg chg="add mod">
          <ac:chgData name="Aurelien Domont" userId="6da7715ce44349b3" providerId="LiveId" clId="{F5CB8D7B-D02E-4687-8CA4-C8B5B52CB8AB}" dt="2023-03-09T04:08:13.153" v="3104" actId="1076"/>
          <ac:picMkLst>
            <pc:docMk/>
            <pc:sldMk cId="3692499981" sldId="1597"/>
            <ac:picMk id="61" creationId="{C4E24899-33CF-C224-ACF5-6E544CF1EB4C}"/>
          </ac:picMkLst>
        </pc:picChg>
        <pc:picChg chg="add mod">
          <ac:chgData name="Aurelien Domont" userId="6da7715ce44349b3" providerId="LiveId" clId="{F5CB8D7B-D02E-4687-8CA4-C8B5B52CB8AB}" dt="2023-03-09T04:08:08.318" v="3103" actId="1076"/>
          <ac:picMkLst>
            <pc:docMk/>
            <pc:sldMk cId="3692499981" sldId="1597"/>
            <ac:picMk id="62" creationId="{E2BF3B45-D5BC-A264-AFD5-35F8DCA1D6E8}"/>
          </ac:picMkLst>
        </pc:picChg>
        <pc:picChg chg="add mod">
          <ac:chgData name="Aurelien Domont" userId="6da7715ce44349b3" providerId="LiveId" clId="{F5CB8D7B-D02E-4687-8CA4-C8B5B52CB8AB}" dt="2023-03-09T04:08:15.639" v="3105" actId="1076"/>
          <ac:picMkLst>
            <pc:docMk/>
            <pc:sldMk cId="3692499981" sldId="1597"/>
            <ac:picMk id="63" creationId="{C83C91CE-0F29-EF9A-CAC5-18918A0D9D20}"/>
          </ac:picMkLst>
        </pc:picChg>
        <pc:picChg chg="add mod">
          <ac:chgData name="Aurelien Domont" userId="6da7715ce44349b3" providerId="LiveId" clId="{F5CB8D7B-D02E-4687-8CA4-C8B5B52CB8AB}" dt="2023-03-09T04:08:04.421" v="3102" actId="1076"/>
          <ac:picMkLst>
            <pc:docMk/>
            <pc:sldMk cId="3692499981" sldId="1597"/>
            <ac:picMk id="64" creationId="{9758B0C8-6724-006F-9693-2EA5B8BA9B6F}"/>
          </ac:picMkLst>
        </pc:picChg>
        <pc:picChg chg="del">
          <ac:chgData name="Aurelien Domont" userId="6da7715ce44349b3" providerId="LiveId" clId="{F5CB8D7B-D02E-4687-8CA4-C8B5B52CB8AB}" dt="2023-03-09T04:06:28.514" v="3090" actId="478"/>
          <ac:picMkLst>
            <pc:docMk/>
            <pc:sldMk cId="3692499981" sldId="1597"/>
            <ac:picMk id="69" creationId="{E8EE4B25-5F1A-4833-AC13-3E178823DF54}"/>
          </ac:picMkLst>
        </pc:picChg>
        <pc:picChg chg="del">
          <ac:chgData name="Aurelien Domont" userId="6da7715ce44349b3" providerId="LiveId" clId="{F5CB8D7B-D02E-4687-8CA4-C8B5B52CB8AB}" dt="2023-03-09T04:06:28.514" v="3090" actId="478"/>
          <ac:picMkLst>
            <pc:docMk/>
            <pc:sldMk cId="3692499981" sldId="1597"/>
            <ac:picMk id="70" creationId="{4D8D6F12-A28E-417C-B3EA-51104EE156B4}"/>
          </ac:picMkLst>
        </pc:picChg>
        <pc:picChg chg="mod">
          <ac:chgData name="Aurelien Domont" userId="6da7715ce44349b3" providerId="LiveId" clId="{F5CB8D7B-D02E-4687-8CA4-C8B5B52CB8AB}" dt="2023-03-09T04:06:06.843" v="3087" actId="1076"/>
          <ac:picMkLst>
            <pc:docMk/>
            <pc:sldMk cId="3692499981" sldId="1597"/>
            <ac:picMk id="71" creationId="{D13F53A8-CA98-4678-8CEE-E9A9CE0773E9}"/>
          </ac:picMkLst>
        </pc:picChg>
        <pc:picChg chg="del">
          <ac:chgData name="Aurelien Domont" userId="6da7715ce44349b3" providerId="LiveId" clId="{F5CB8D7B-D02E-4687-8CA4-C8B5B52CB8AB}" dt="2023-03-09T04:06:28.514" v="3090" actId="478"/>
          <ac:picMkLst>
            <pc:docMk/>
            <pc:sldMk cId="3692499981" sldId="1597"/>
            <ac:picMk id="72" creationId="{7E2596E0-F4C8-4E3F-B2AE-FBF127C1BCFE}"/>
          </ac:picMkLst>
        </pc:picChg>
        <pc:picChg chg="del">
          <ac:chgData name="Aurelien Domont" userId="6da7715ce44349b3" providerId="LiveId" clId="{F5CB8D7B-D02E-4687-8CA4-C8B5B52CB8AB}" dt="2023-03-09T04:06:28.514" v="3090" actId="478"/>
          <ac:picMkLst>
            <pc:docMk/>
            <pc:sldMk cId="3692499981" sldId="1597"/>
            <ac:picMk id="73" creationId="{89BBEDD7-2647-46C1-96C4-15994DB06877}"/>
          </ac:picMkLst>
        </pc:picChg>
        <pc:picChg chg="del">
          <ac:chgData name="Aurelien Domont" userId="6da7715ce44349b3" providerId="LiveId" clId="{F5CB8D7B-D02E-4687-8CA4-C8B5B52CB8AB}" dt="2023-03-09T04:06:28.514" v="3090" actId="478"/>
          <ac:picMkLst>
            <pc:docMk/>
            <pc:sldMk cId="3692499981" sldId="1597"/>
            <ac:picMk id="74" creationId="{E7477263-1DE0-440F-A64B-0069047A0A2A}"/>
          </ac:picMkLst>
        </pc:picChg>
        <pc:picChg chg="add mod">
          <ac:chgData name="Aurelien Domont" userId="6da7715ce44349b3" providerId="LiveId" clId="{F5CB8D7B-D02E-4687-8CA4-C8B5B52CB8AB}" dt="2023-03-09T04:11:19.303" v="3197" actId="1076"/>
          <ac:picMkLst>
            <pc:docMk/>
            <pc:sldMk cId="3692499981" sldId="1597"/>
            <ac:picMk id="77" creationId="{BFB51FB4-9A2B-F83A-A1F2-94B86A1ACF49}"/>
          </ac:picMkLst>
        </pc:picChg>
        <pc:picChg chg="add mod">
          <ac:chgData name="Aurelien Domont" userId="6da7715ce44349b3" providerId="LiveId" clId="{F5CB8D7B-D02E-4687-8CA4-C8B5B52CB8AB}" dt="2023-03-09T04:12:07.875" v="3208" actId="1036"/>
          <ac:picMkLst>
            <pc:docMk/>
            <pc:sldMk cId="3692499981" sldId="1597"/>
            <ac:picMk id="78" creationId="{4192B2C0-330C-C4F0-C63A-75AE0A301FC0}"/>
          </ac:picMkLst>
        </pc:picChg>
        <pc:picChg chg="add mod">
          <ac:chgData name="Aurelien Domont" userId="6da7715ce44349b3" providerId="LiveId" clId="{F5CB8D7B-D02E-4687-8CA4-C8B5B52CB8AB}" dt="2023-03-09T04:11:02.499" v="3192" actId="1076"/>
          <ac:picMkLst>
            <pc:docMk/>
            <pc:sldMk cId="3692499981" sldId="1597"/>
            <ac:picMk id="79" creationId="{35B34F29-0FA2-E025-819A-AE1B7B450F2D}"/>
          </ac:picMkLst>
        </pc:picChg>
        <pc:picChg chg="add mod">
          <ac:chgData name="Aurelien Domont" userId="6da7715ce44349b3" providerId="LiveId" clId="{F5CB8D7B-D02E-4687-8CA4-C8B5B52CB8AB}" dt="2023-03-09T04:12:05.883" v="3206" actId="1035"/>
          <ac:picMkLst>
            <pc:docMk/>
            <pc:sldMk cId="3692499981" sldId="1597"/>
            <ac:picMk id="80" creationId="{81EFE459-F0E4-F54B-25AD-2630F23A6A23}"/>
          </ac:picMkLst>
        </pc:picChg>
        <pc:picChg chg="mod ord">
          <ac:chgData name="Aurelien Domont" userId="6da7715ce44349b3" providerId="LiveId" clId="{F5CB8D7B-D02E-4687-8CA4-C8B5B52CB8AB}" dt="2023-03-09T04:06:01.596" v="3085" actId="166"/>
          <ac:picMkLst>
            <pc:docMk/>
            <pc:sldMk cId="3692499981" sldId="1597"/>
            <ac:picMk id="85" creationId="{5667EEF1-5C3B-4F43-AC64-B04D03F6248E}"/>
          </ac:picMkLst>
        </pc:picChg>
        <pc:picChg chg="del mod">
          <ac:chgData name="Aurelien Domont" userId="6da7715ce44349b3" providerId="LiveId" clId="{F5CB8D7B-D02E-4687-8CA4-C8B5B52CB8AB}" dt="2023-03-09T04:06:28.514" v="3090" actId="478"/>
          <ac:picMkLst>
            <pc:docMk/>
            <pc:sldMk cId="3692499981" sldId="1597"/>
            <ac:picMk id="87" creationId="{F5C5B9A1-E19D-4D1A-B88D-39B040828019}"/>
          </ac:picMkLst>
        </pc:picChg>
        <pc:picChg chg="del mod">
          <ac:chgData name="Aurelien Domont" userId="6da7715ce44349b3" providerId="LiveId" clId="{F5CB8D7B-D02E-4687-8CA4-C8B5B52CB8AB}" dt="2023-03-09T04:06:28.514" v="3090" actId="478"/>
          <ac:picMkLst>
            <pc:docMk/>
            <pc:sldMk cId="3692499981" sldId="1597"/>
            <ac:picMk id="88" creationId="{902B33E7-0F62-4E54-9FD9-EC793C4D2AF9}"/>
          </ac:picMkLst>
        </pc:picChg>
        <pc:picChg chg="mod">
          <ac:chgData name="Aurelien Domont" userId="6da7715ce44349b3" providerId="LiveId" clId="{F5CB8D7B-D02E-4687-8CA4-C8B5B52CB8AB}" dt="2023-03-09T04:06:08.863" v="3088" actId="1076"/>
          <ac:picMkLst>
            <pc:docMk/>
            <pc:sldMk cId="3692499981" sldId="1597"/>
            <ac:picMk id="93" creationId="{EB5B5C44-EF27-40D8-BA16-9C6ED92CD066}"/>
          </ac:picMkLst>
        </pc:picChg>
        <pc:picChg chg="add mod">
          <ac:chgData name="Aurelien Domont" userId="6da7715ce44349b3" providerId="LiveId" clId="{F5CB8D7B-D02E-4687-8CA4-C8B5B52CB8AB}" dt="2023-03-09T04:13:55.926" v="3219" actId="1037"/>
          <ac:picMkLst>
            <pc:docMk/>
            <pc:sldMk cId="3692499981" sldId="1597"/>
            <ac:picMk id="94" creationId="{A671AA0F-606F-0B58-3D1D-0CEE110358B1}"/>
          </ac:picMkLst>
        </pc:picChg>
        <pc:picChg chg="add mod">
          <ac:chgData name="Aurelien Domont" userId="6da7715ce44349b3" providerId="LiveId" clId="{F5CB8D7B-D02E-4687-8CA4-C8B5B52CB8AB}" dt="2023-03-09T04:14:42.930" v="3255" actId="1036"/>
          <ac:picMkLst>
            <pc:docMk/>
            <pc:sldMk cId="3692499981" sldId="1597"/>
            <ac:picMk id="96" creationId="{7228AB80-3134-EEDA-2FFE-10455BF83747}"/>
          </ac:picMkLst>
        </pc:picChg>
      </pc:sldChg>
      <pc:sldChg chg="add">
        <pc:chgData name="Aurelien Domont" userId="6da7715ce44349b3" providerId="LiveId" clId="{F5CB8D7B-D02E-4687-8CA4-C8B5B52CB8AB}" dt="2023-02-09T04:55:16.525" v="31"/>
        <pc:sldMkLst>
          <pc:docMk/>
          <pc:sldMk cId="1754585881" sldId="1598"/>
        </pc:sldMkLst>
      </pc:sldChg>
      <pc:sldChg chg="add">
        <pc:chgData name="Aurelien Domont" userId="6da7715ce44349b3" providerId="LiveId" clId="{F5CB8D7B-D02E-4687-8CA4-C8B5B52CB8AB}" dt="2023-02-10T01:16:16.979" v="1502"/>
        <pc:sldMkLst>
          <pc:docMk/>
          <pc:sldMk cId="2853806433" sldId="1600"/>
        </pc:sldMkLst>
      </pc:sldChg>
      <pc:sldChg chg="modSp add">
        <pc:chgData name="Aurelien Domont" userId="6da7715ce44349b3" providerId="LiveId" clId="{F5CB8D7B-D02E-4687-8CA4-C8B5B52CB8AB}" dt="2023-02-12T23:16:07.505" v="2924"/>
        <pc:sldMkLst>
          <pc:docMk/>
          <pc:sldMk cId="1252826214" sldId="1711"/>
        </pc:sldMkLst>
        <pc:spChg chg="mod">
          <ac:chgData name="Aurelien Domont" userId="6da7715ce44349b3" providerId="LiveId" clId="{F5CB8D7B-D02E-4687-8CA4-C8B5B52CB8AB}" dt="2023-02-12T23:16:07.505" v="2924"/>
          <ac:spMkLst>
            <pc:docMk/>
            <pc:sldMk cId="1252826214" sldId="1711"/>
            <ac:spMk id="38" creationId="{A222A58B-1B90-4496-A948-F185A3E65D28}"/>
          </ac:spMkLst>
        </pc:spChg>
      </pc:sldChg>
      <pc:sldChg chg="del">
        <pc:chgData name="Aurelien Domont" userId="6da7715ce44349b3" providerId="LiveId" clId="{F5CB8D7B-D02E-4687-8CA4-C8B5B52CB8AB}" dt="2023-02-09T04:42:32.325" v="18" actId="47"/>
        <pc:sldMkLst>
          <pc:docMk/>
          <pc:sldMk cId="1253290912" sldId="1747"/>
        </pc:sldMkLst>
      </pc:sldChg>
      <pc:sldChg chg="del">
        <pc:chgData name="Aurelien Domont" userId="6da7715ce44349b3" providerId="LiveId" clId="{F5CB8D7B-D02E-4687-8CA4-C8B5B52CB8AB}" dt="2023-02-09T04:42:32.325" v="18" actId="47"/>
        <pc:sldMkLst>
          <pc:docMk/>
          <pc:sldMk cId="95140043" sldId="1748"/>
        </pc:sldMkLst>
      </pc:sldChg>
      <pc:sldChg chg="del">
        <pc:chgData name="Aurelien Domont" userId="6da7715ce44349b3" providerId="LiveId" clId="{F5CB8D7B-D02E-4687-8CA4-C8B5B52CB8AB}" dt="2023-02-09T04:42:32.325" v="18" actId="47"/>
        <pc:sldMkLst>
          <pc:docMk/>
          <pc:sldMk cId="317099162" sldId="1749"/>
        </pc:sldMkLst>
      </pc:sldChg>
      <pc:sldChg chg="del">
        <pc:chgData name="Aurelien Domont" userId="6da7715ce44349b3" providerId="LiveId" clId="{F5CB8D7B-D02E-4687-8CA4-C8B5B52CB8AB}" dt="2023-02-09T04:42:32.325" v="18" actId="47"/>
        <pc:sldMkLst>
          <pc:docMk/>
          <pc:sldMk cId="3855801452" sldId="1787"/>
        </pc:sldMkLst>
      </pc:sldChg>
      <pc:sldChg chg="del">
        <pc:chgData name="Aurelien Domont" userId="6da7715ce44349b3" providerId="LiveId" clId="{F5CB8D7B-D02E-4687-8CA4-C8B5B52CB8AB}" dt="2023-02-09T04:42:32.325" v="18" actId="47"/>
        <pc:sldMkLst>
          <pc:docMk/>
          <pc:sldMk cId="4009885783" sldId="1788"/>
        </pc:sldMkLst>
      </pc:sldChg>
      <pc:sldChg chg="del">
        <pc:chgData name="Aurelien Domont" userId="6da7715ce44349b3" providerId="LiveId" clId="{F5CB8D7B-D02E-4687-8CA4-C8B5B52CB8AB}" dt="2023-02-09T04:42:32.325" v="18" actId="47"/>
        <pc:sldMkLst>
          <pc:docMk/>
          <pc:sldMk cId="1714268045" sldId="1789"/>
        </pc:sldMkLst>
      </pc:sldChg>
      <pc:sldChg chg="del">
        <pc:chgData name="Aurelien Domont" userId="6da7715ce44349b3" providerId="LiveId" clId="{F5CB8D7B-D02E-4687-8CA4-C8B5B52CB8AB}" dt="2023-02-09T04:42:32.325" v="18" actId="47"/>
        <pc:sldMkLst>
          <pc:docMk/>
          <pc:sldMk cId="1675062303" sldId="1929"/>
        </pc:sldMkLst>
      </pc:sldChg>
      <pc:sldChg chg="del">
        <pc:chgData name="Aurelien Domont" userId="6da7715ce44349b3" providerId="LiveId" clId="{F5CB8D7B-D02E-4687-8CA4-C8B5B52CB8AB}" dt="2023-02-09T04:42:32.325" v="18" actId="47"/>
        <pc:sldMkLst>
          <pc:docMk/>
          <pc:sldMk cId="471658671" sldId="1930"/>
        </pc:sldMkLst>
      </pc:sldChg>
      <pc:sldChg chg="addSp delSp modSp add mod">
        <pc:chgData name="Aurelien Domont" userId="6da7715ce44349b3" providerId="LiveId" clId="{F5CB8D7B-D02E-4687-8CA4-C8B5B52CB8AB}" dt="2023-02-12T23:16:07.505" v="2924"/>
        <pc:sldMkLst>
          <pc:docMk/>
          <pc:sldMk cId="646967553" sldId="1961"/>
        </pc:sldMkLst>
        <pc:spChg chg="mod topLvl">
          <ac:chgData name="Aurelien Domont" userId="6da7715ce44349b3" providerId="LiveId" clId="{F5CB8D7B-D02E-4687-8CA4-C8B5B52CB8AB}" dt="2023-02-09T05:11:16.565" v="361" actId="164"/>
          <ac:spMkLst>
            <pc:docMk/>
            <pc:sldMk cId="646967553" sldId="1961"/>
            <ac:spMk id="3" creationId="{A3894658-0B2A-4C43-98D7-33AE1B526705}"/>
          </ac:spMkLst>
        </pc:spChg>
        <pc:spChg chg="add mod">
          <ac:chgData name="Aurelien Domont" userId="6da7715ce44349b3" providerId="LiveId" clId="{F5CB8D7B-D02E-4687-8CA4-C8B5B52CB8AB}" dt="2023-02-09T05:11:31.571" v="364" actId="164"/>
          <ac:spMkLst>
            <pc:docMk/>
            <pc:sldMk cId="646967553" sldId="1961"/>
            <ac:spMk id="6" creationId="{72DA8DA4-B9F7-0F90-EACF-3374857A187C}"/>
          </ac:spMkLst>
        </pc:spChg>
        <pc:spChg chg="add mod">
          <ac:chgData name="Aurelien Domont" userId="6da7715ce44349b3" providerId="LiveId" clId="{F5CB8D7B-D02E-4687-8CA4-C8B5B52CB8AB}" dt="2023-02-09T05:11:31.571" v="364" actId="164"/>
          <ac:spMkLst>
            <pc:docMk/>
            <pc:sldMk cId="646967553" sldId="1961"/>
            <ac:spMk id="9" creationId="{A49D592C-AB72-3325-8D99-F505941C9D5D}"/>
          </ac:spMkLst>
        </pc:spChg>
        <pc:spChg chg="add mod">
          <ac:chgData name="Aurelien Domont" userId="6da7715ce44349b3" providerId="LiveId" clId="{F5CB8D7B-D02E-4687-8CA4-C8B5B52CB8AB}" dt="2023-02-09T05:12:56.798" v="422" actId="404"/>
          <ac:spMkLst>
            <pc:docMk/>
            <pc:sldMk cId="646967553" sldId="1961"/>
            <ac:spMk id="10" creationId="{F4168F6E-1DAA-95E5-9CE5-539292F39888}"/>
          </ac:spMkLst>
        </pc:spChg>
        <pc:spChg chg="add mod">
          <ac:chgData name="Aurelien Domont" userId="6da7715ce44349b3" providerId="LiveId" clId="{F5CB8D7B-D02E-4687-8CA4-C8B5B52CB8AB}" dt="2023-02-09T05:11:31.571" v="364" actId="164"/>
          <ac:spMkLst>
            <pc:docMk/>
            <pc:sldMk cId="646967553" sldId="1961"/>
            <ac:spMk id="11" creationId="{C56401F2-9E87-7D92-244F-E7A335B31EDE}"/>
          </ac:spMkLst>
        </pc:spChg>
        <pc:spChg chg="mod topLvl">
          <ac:chgData name="Aurelien Domont" userId="6da7715ce44349b3" providerId="LiveId" clId="{F5CB8D7B-D02E-4687-8CA4-C8B5B52CB8AB}" dt="2023-02-09T05:11:16.565" v="361" actId="164"/>
          <ac:spMkLst>
            <pc:docMk/>
            <pc:sldMk cId="646967553" sldId="1961"/>
            <ac:spMk id="23" creationId="{507AE0B2-DC5E-43C0-AD62-50D4C8DC6B2F}"/>
          </ac:spMkLst>
        </pc:spChg>
        <pc:spChg chg="mod topLvl">
          <ac:chgData name="Aurelien Domont" userId="6da7715ce44349b3" providerId="LiveId" clId="{F5CB8D7B-D02E-4687-8CA4-C8B5B52CB8AB}" dt="2023-02-09T05:12:48.513" v="420" actId="404"/>
          <ac:spMkLst>
            <pc:docMk/>
            <pc:sldMk cId="646967553" sldId="1961"/>
            <ac:spMk id="24" creationId="{0F60E140-553C-42E0-AD0A-AC6C6C13F203}"/>
          </ac:spMkLst>
        </pc:spChg>
        <pc:spChg chg="mod topLvl">
          <ac:chgData name="Aurelien Domont" userId="6da7715ce44349b3" providerId="LiveId" clId="{F5CB8D7B-D02E-4687-8CA4-C8B5B52CB8AB}" dt="2023-02-09T05:11:16.565" v="361" actId="164"/>
          <ac:spMkLst>
            <pc:docMk/>
            <pc:sldMk cId="646967553" sldId="1961"/>
            <ac:spMk id="25" creationId="{4626225F-5D11-4E2D-BF7B-CAB633793896}"/>
          </ac:spMkLst>
        </pc:spChg>
        <pc:spChg chg="mod topLvl">
          <ac:chgData name="Aurelien Domont" userId="6da7715ce44349b3" providerId="LiveId" clId="{F5CB8D7B-D02E-4687-8CA4-C8B5B52CB8AB}" dt="2023-02-09T05:11:21.701" v="362" actId="164"/>
          <ac:spMkLst>
            <pc:docMk/>
            <pc:sldMk cId="646967553" sldId="1961"/>
            <ac:spMk id="26" creationId="{A0729B37-90A2-4A18-A667-E59D9DEF8551}"/>
          </ac:spMkLst>
        </pc:spChg>
        <pc:spChg chg="mod topLvl">
          <ac:chgData name="Aurelien Domont" userId="6da7715ce44349b3" providerId="LiveId" clId="{F5CB8D7B-D02E-4687-8CA4-C8B5B52CB8AB}" dt="2023-02-09T05:16:57.341" v="494" actId="20577"/>
          <ac:spMkLst>
            <pc:docMk/>
            <pc:sldMk cId="646967553" sldId="1961"/>
            <ac:spMk id="27" creationId="{7C1F4CAA-045E-4A7A-969E-9B6A53203C81}"/>
          </ac:spMkLst>
        </pc:spChg>
        <pc:spChg chg="mod topLvl">
          <ac:chgData name="Aurelien Domont" userId="6da7715ce44349b3" providerId="LiveId" clId="{F5CB8D7B-D02E-4687-8CA4-C8B5B52CB8AB}" dt="2023-02-09T05:11:21.701" v="362" actId="164"/>
          <ac:spMkLst>
            <pc:docMk/>
            <pc:sldMk cId="646967553" sldId="1961"/>
            <ac:spMk id="28" creationId="{F48E4D39-0250-47E0-9BFB-40635E773D67}"/>
          </ac:spMkLst>
        </pc:spChg>
        <pc:spChg chg="mod topLvl">
          <ac:chgData name="Aurelien Domont" userId="6da7715ce44349b3" providerId="LiveId" clId="{F5CB8D7B-D02E-4687-8CA4-C8B5B52CB8AB}" dt="2023-02-09T05:11:26.590" v="363" actId="164"/>
          <ac:spMkLst>
            <pc:docMk/>
            <pc:sldMk cId="646967553" sldId="1961"/>
            <ac:spMk id="42" creationId="{88EA3805-A60E-4C8D-88DA-D6A6D2B7DEE6}"/>
          </ac:spMkLst>
        </pc:spChg>
        <pc:spChg chg="mod topLvl">
          <ac:chgData name="Aurelien Domont" userId="6da7715ce44349b3" providerId="LiveId" clId="{F5CB8D7B-D02E-4687-8CA4-C8B5B52CB8AB}" dt="2023-02-12T23:16:07.505" v="2924"/>
          <ac:spMkLst>
            <pc:docMk/>
            <pc:sldMk cId="646967553" sldId="1961"/>
            <ac:spMk id="43" creationId="{8D208B22-9AEE-4BFE-A152-B2636192DAEF}"/>
          </ac:spMkLst>
        </pc:spChg>
        <pc:spChg chg="mod topLvl">
          <ac:chgData name="Aurelien Domont" userId="6da7715ce44349b3" providerId="LiveId" clId="{F5CB8D7B-D02E-4687-8CA4-C8B5B52CB8AB}" dt="2023-02-09T05:11:26.590" v="363" actId="164"/>
          <ac:spMkLst>
            <pc:docMk/>
            <pc:sldMk cId="646967553" sldId="1961"/>
            <ac:spMk id="44" creationId="{4963FFC8-BF5D-4917-8690-F629ED5D181B}"/>
          </ac:spMkLst>
        </pc:spChg>
        <pc:spChg chg="mod topLvl">
          <ac:chgData name="Aurelien Domont" userId="6da7715ce44349b3" providerId="LiveId" clId="{F5CB8D7B-D02E-4687-8CA4-C8B5B52CB8AB}" dt="2023-02-09T05:11:21.701" v="362" actId="164"/>
          <ac:spMkLst>
            <pc:docMk/>
            <pc:sldMk cId="646967553" sldId="1961"/>
            <ac:spMk id="45" creationId="{10BD3E93-8E2C-4C1E-9F14-8EA9D1B80F7B}"/>
          </ac:spMkLst>
        </pc:spChg>
        <pc:spChg chg="mod topLvl">
          <ac:chgData name="Aurelien Domont" userId="6da7715ce44349b3" providerId="LiveId" clId="{F5CB8D7B-D02E-4687-8CA4-C8B5B52CB8AB}" dt="2023-02-09T05:11:26.590" v="363" actId="164"/>
          <ac:spMkLst>
            <pc:docMk/>
            <pc:sldMk cId="646967553" sldId="1961"/>
            <ac:spMk id="46" creationId="{44056CF2-3AA1-43A1-8DBA-7FD28650266C}"/>
          </ac:spMkLst>
        </pc:spChg>
        <pc:grpChg chg="add del mod">
          <ac:chgData name="Aurelien Domont" userId="6da7715ce44349b3" providerId="LiveId" clId="{F5CB8D7B-D02E-4687-8CA4-C8B5B52CB8AB}" dt="2023-02-09T05:01:00.872" v="63" actId="165"/>
          <ac:grpSpMkLst>
            <pc:docMk/>
            <pc:sldMk cId="646967553" sldId="1961"/>
            <ac:grpSpMk id="4" creationId="{887CFE55-5C4A-3F81-273A-36EEFA130CB7}"/>
          </ac:grpSpMkLst>
        </pc:grpChg>
        <pc:grpChg chg="add mod">
          <ac:chgData name="Aurelien Domont" userId="6da7715ce44349b3" providerId="LiveId" clId="{F5CB8D7B-D02E-4687-8CA4-C8B5B52CB8AB}" dt="2023-02-09T05:14:32.435" v="473" actId="1036"/>
          <ac:grpSpMkLst>
            <pc:docMk/>
            <pc:sldMk cId="646967553" sldId="1961"/>
            <ac:grpSpMk id="12" creationId="{B26ADAC7-85DE-9F04-028E-74A34B53B648}"/>
          </ac:grpSpMkLst>
        </pc:grpChg>
        <pc:grpChg chg="add mod">
          <ac:chgData name="Aurelien Domont" userId="6da7715ce44349b3" providerId="LiveId" clId="{F5CB8D7B-D02E-4687-8CA4-C8B5B52CB8AB}" dt="2023-02-09T05:14:32.435" v="473" actId="1036"/>
          <ac:grpSpMkLst>
            <pc:docMk/>
            <pc:sldMk cId="646967553" sldId="1961"/>
            <ac:grpSpMk id="13" creationId="{034C71AC-AB85-856B-5AE7-59AED81F2D18}"/>
          </ac:grpSpMkLst>
        </pc:grpChg>
        <pc:grpChg chg="add mod">
          <ac:chgData name="Aurelien Domont" userId="6da7715ce44349b3" providerId="LiveId" clId="{F5CB8D7B-D02E-4687-8CA4-C8B5B52CB8AB}" dt="2023-02-09T05:14:32.435" v="473" actId="1036"/>
          <ac:grpSpMkLst>
            <pc:docMk/>
            <pc:sldMk cId="646967553" sldId="1961"/>
            <ac:grpSpMk id="14" creationId="{4363AA9A-4B69-BA45-B871-3C28D706C119}"/>
          </ac:grpSpMkLst>
        </pc:grpChg>
        <pc:grpChg chg="add del mod">
          <ac:chgData name="Aurelien Domont" userId="6da7715ce44349b3" providerId="LiveId" clId="{F5CB8D7B-D02E-4687-8CA4-C8B5B52CB8AB}" dt="2023-02-09T05:14:28.336" v="452" actId="478"/>
          <ac:grpSpMkLst>
            <pc:docMk/>
            <pc:sldMk cId="646967553" sldId="1961"/>
            <ac:grpSpMk id="15" creationId="{4140FDBE-FA1C-D044-87C9-FC05ADC6F582}"/>
          </ac:grpSpMkLst>
        </pc:grpChg>
        <pc:picChg chg="mod">
          <ac:chgData name="Aurelien Domont" userId="6da7715ce44349b3" providerId="LiveId" clId="{F5CB8D7B-D02E-4687-8CA4-C8B5B52CB8AB}" dt="2023-02-09T05:00:08.005" v="60" actId="14100"/>
          <ac:picMkLst>
            <pc:docMk/>
            <pc:sldMk cId="646967553" sldId="1961"/>
            <ac:picMk id="5" creationId="{56B1C362-96F1-4BC9-AC8E-F365FD8F8E8A}"/>
          </ac:picMkLst>
        </pc:picChg>
      </pc:sldChg>
      <pc:sldChg chg="modSp add mod">
        <pc:chgData name="Aurelien Domont" userId="6da7715ce44349b3" providerId="LiveId" clId="{F5CB8D7B-D02E-4687-8CA4-C8B5B52CB8AB}" dt="2023-02-09T05:57:28.501" v="1461" actId="20577"/>
        <pc:sldMkLst>
          <pc:docMk/>
          <pc:sldMk cId="2036344484" sldId="2005"/>
        </pc:sldMkLst>
        <pc:spChg chg="mod">
          <ac:chgData name="Aurelien Domont" userId="6da7715ce44349b3" providerId="LiveId" clId="{F5CB8D7B-D02E-4687-8CA4-C8B5B52CB8AB}" dt="2023-02-09T05:57:28.501" v="1461" actId="20577"/>
          <ac:spMkLst>
            <pc:docMk/>
            <pc:sldMk cId="2036344484" sldId="2005"/>
            <ac:spMk id="2" creationId="{5EAD6344-4174-44FD-BAAC-A0521AE4DC7F}"/>
          </ac:spMkLst>
        </pc:spChg>
        <pc:spChg chg="mod">
          <ac:chgData name="Aurelien Domont" userId="6da7715ce44349b3" providerId="LiveId" clId="{F5CB8D7B-D02E-4687-8CA4-C8B5B52CB8AB}" dt="2023-02-09T05:47:03.086" v="1354" actId="207"/>
          <ac:spMkLst>
            <pc:docMk/>
            <pc:sldMk cId="2036344484" sldId="2005"/>
            <ac:spMk id="12" creationId="{F49D001E-8C4E-4558-B938-ADC9B4C7EF7A}"/>
          </ac:spMkLst>
        </pc:spChg>
        <pc:spChg chg="mod">
          <ac:chgData name="Aurelien Domont" userId="6da7715ce44349b3" providerId="LiveId" clId="{F5CB8D7B-D02E-4687-8CA4-C8B5B52CB8AB}" dt="2023-02-09T05:47:39.445" v="1355" actId="208"/>
          <ac:spMkLst>
            <pc:docMk/>
            <pc:sldMk cId="2036344484" sldId="2005"/>
            <ac:spMk id="14" creationId="{2C07905C-FDDF-44CD-A285-7827E3B90798}"/>
          </ac:spMkLst>
        </pc:spChg>
        <pc:spChg chg="mod">
          <ac:chgData name="Aurelien Domont" userId="6da7715ce44349b3" providerId="LiveId" clId="{F5CB8D7B-D02E-4687-8CA4-C8B5B52CB8AB}" dt="2023-02-09T05:47:39.445" v="1355" actId="208"/>
          <ac:spMkLst>
            <pc:docMk/>
            <pc:sldMk cId="2036344484" sldId="2005"/>
            <ac:spMk id="17" creationId="{5B08105B-7536-4439-ACEB-4EA41B41A7C6}"/>
          </ac:spMkLst>
        </pc:spChg>
        <pc:spChg chg="mod">
          <ac:chgData name="Aurelien Domont" userId="6da7715ce44349b3" providerId="LiveId" clId="{F5CB8D7B-D02E-4687-8CA4-C8B5B52CB8AB}" dt="2023-02-09T05:47:39.445" v="1355" actId="208"/>
          <ac:spMkLst>
            <pc:docMk/>
            <pc:sldMk cId="2036344484" sldId="2005"/>
            <ac:spMk id="25" creationId="{EA3E919F-C807-4E8A-ABEE-89C333E99501}"/>
          </ac:spMkLst>
        </pc:spChg>
        <pc:spChg chg="mod">
          <ac:chgData name="Aurelien Domont" userId="6da7715ce44349b3" providerId="LiveId" clId="{F5CB8D7B-D02E-4687-8CA4-C8B5B52CB8AB}" dt="2023-02-09T05:47:03.086" v="1354" actId="207"/>
          <ac:spMkLst>
            <pc:docMk/>
            <pc:sldMk cId="2036344484" sldId="2005"/>
            <ac:spMk id="29" creationId="{31F09CDE-0A75-41F5-A950-8F15D3286231}"/>
          </ac:spMkLst>
        </pc:spChg>
        <pc:spChg chg="mod">
          <ac:chgData name="Aurelien Domont" userId="6da7715ce44349b3" providerId="LiveId" clId="{F5CB8D7B-D02E-4687-8CA4-C8B5B52CB8AB}" dt="2023-02-09T05:47:39.445" v="1355" actId="208"/>
          <ac:spMkLst>
            <pc:docMk/>
            <pc:sldMk cId="2036344484" sldId="2005"/>
            <ac:spMk id="30" creationId="{D662D2BF-C83F-4F12-BCD6-49F80D53A17D}"/>
          </ac:spMkLst>
        </pc:spChg>
        <pc:spChg chg="mod">
          <ac:chgData name="Aurelien Domont" userId="6da7715ce44349b3" providerId="LiveId" clId="{F5CB8D7B-D02E-4687-8CA4-C8B5B52CB8AB}" dt="2023-02-09T05:48:16.785" v="1359" actId="207"/>
          <ac:spMkLst>
            <pc:docMk/>
            <pc:sldMk cId="2036344484" sldId="2005"/>
            <ac:spMk id="37" creationId="{088EFE2E-066A-49BD-9D4C-5FC4EB0F2351}"/>
          </ac:spMkLst>
        </pc:spChg>
        <pc:spChg chg="mod">
          <ac:chgData name="Aurelien Domont" userId="6da7715ce44349b3" providerId="LiveId" clId="{F5CB8D7B-D02E-4687-8CA4-C8B5B52CB8AB}" dt="2023-02-09T05:47:03.086" v="1354" actId="207"/>
          <ac:spMkLst>
            <pc:docMk/>
            <pc:sldMk cId="2036344484" sldId="2005"/>
            <ac:spMk id="38" creationId="{47607DF7-B103-4282-8CF7-7C5E0969CB8A}"/>
          </ac:spMkLst>
        </pc:spChg>
        <pc:spChg chg="mod">
          <ac:chgData name="Aurelien Domont" userId="6da7715ce44349b3" providerId="LiveId" clId="{F5CB8D7B-D02E-4687-8CA4-C8B5B52CB8AB}" dt="2023-02-09T05:47:39.445" v="1355" actId="208"/>
          <ac:spMkLst>
            <pc:docMk/>
            <pc:sldMk cId="2036344484" sldId="2005"/>
            <ac:spMk id="39" creationId="{E42B83FC-EE1B-48A4-AFC3-727B1A0B971D}"/>
          </ac:spMkLst>
        </pc:spChg>
        <pc:spChg chg="mod">
          <ac:chgData name="Aurelien Domont" userId="6da7715ce44349b3" providerId="LiveId" clId="{F5CB8D7B-D02E-4687-8CA4-C8B5B52CB8AB}" dt="2023-02-09T05:47:39.445" v="1355" actId="208"/>
          <ac:spMkLst>
            <pc:docMk/>
            <pc:sldMk cId="2036344484" sldId="2005"/>
            <ac:spMk id="40" creationId="{9D5D099C-F8D2-4282-B31C-EC9F858A6545}"/>
          </ac:spMkLst>
        </pc:spChg>
        <pc:spChg chg="mod">
          <ac:chgData name="Aurelien Domont" userId="6da7715ce44349b3" providerId="LiveId" clId="{F5CB8D7B-D02E-4687-8CA4-C8B5B52CB8AB}" dt="2023-02-09T05:47:39.445" v="1355" actId="208"/>
          <ac:spMkLst>
            <pc:docMk/>
            <pc:sldMk cId="2036344484" sldId="2005"/>
            <ac:spMk id="41" creationId="{1175B203-DC74-4B0B-85F2-AAD0D92B45E5}"/>
          </ac:spMkLst>
        </pc:spChg>
      </pc:sldChg>
      <pc:sldChg chg="modSp add mod">
        <pc:chgData name="Aurelien Domont" userId="6da7715ce44349b3" providerId="LiveId" clId="{F5CB8D7B-D02E-4687-8CA4-C8B5B52CB8AB}" dt="2023-02-09T05:58:16.355" v="1500" actId="20577"/>
        <pc:sldMkLst>
          <pc:docMk/>
          <pc:sldMk cId="268444286" sldId="2006"/>
        </pc:sldMkLst>
        <pc:spChg chg="mod">
          <ac:chgData name="Aurelien Domont" userId="6da7715ce44349b3" providerId="LiveId" clId="{F5CB8D7B-D02E-4687-8CA4-C8B5B52CB8AB}" dt="2023-02-09T05:58:16.355" v="1500" actId="20577"/>
          <ac:spMkLst>
            <pc:docMk/>
            <pc:sldMk cId="268444286" sldId="2006"/>
            <ac:spMk id="2" creationId="{C6ECB46B-A522-4ECF-AF76-F4D937A8C127}"/>
          </ac:spMkLst>
        </pc:spChg>
        <pc:spChg chg="mod">
          <ac:chgData name="Aurelien Domont" userId="6da7715ce44349b3" providerId="LiveId" clId="{F5CB8D7B-D02E-4687-8CA4-C8B5B52CB8AB}" dt="2023-02-09T05:48:39.455" v="1360" actId="207"/>
          <ac:spMkLst>
            <pc:docMk/>
            <pc:sldMk cId="268444286" sldId="2006"/>
            <ac:spMk id="8" creationId="{E4FBC655-EBE5-4895-BA3D-165CC25AD51A}"/>
          </ac:spMkLst>
        </pc:spChg>
        <pc:spChg chg="mod">
          <ac:chgData name="Aurelien Domont" userId="6da7715ce44349b3" providerId="LiveId" clId="{F5CB8D7B-D02E-4687-8CA4-C8B5B52CB8AB}" dt="2023-02-09T05:47:56.347" v="1357" actId="208"/>
          <ac:spMkLst>
            <pc:docMk/>
            <pc:sldMk cId="268444286" sldId="2006"/>
            <ac:spMk id="11" creationId="{CD60C28B-B3C3-46BE-98F8-B537099DC0FC}"/>
          </ac:spMkLst>
        </pc:spChg>
        <pc:spChg chg="mod">
          <ac:chgData name="Aurelien Domont" userId="6da7715ce44349b3" providerId="LiveId" clId="{F5CB8D7B-D02E-4687-8CA4-C8B5B52CB8AB}" dt="2023-02-09T05:47:56.347" v="1357" actId="208"/>
          <ac:spMkLst>
            <pc:docMk/>
            <pc:sldMk cId="268444286" sldId="2006"/>
            <ac:spMk id="12" creationId="{96EF6317-72E3-4168-8AB0-CE298AA069DA}"/>
          </ac:spMkLst>
        </pc:spChg>
        <pc:spChg chg="mod">
          <ac:chgData name="Aurelien Domont" userId="6da7715ce44349b3" providerId="LiveId" clId="{F5CB8D7B-D02E-4687-8CA4-C8B5B52CB8AB}" dt="2023-02-09T05:48:39.455" v="1360" actId="207"/>
          <ac:spMkLst>
            <pc:docMk/>
            <pc:sldMk cId="268444286" sldId="2006"/>
            <ac:spMk id="14" creationId="{53417640-64BC-4877-9BD8-E046EB110363}"/>
          </ac:spMkLst>
        </pc:spChg>
        <pc:spChg chg="mod">
          <ac:chgData name="Aurelien Domont" userId="6da7715ce44349b3" providerId="LiveId" clId="{F5CB8D7B-D02E-4687-8CA4-C8B5B52CB8AB}" dt="2023-02-09T05:48:05.497" v="1358" actId="208"/>
          <ac:spMkLst>
            <pc:docMk/>
            <pc:sldMk cId="268444286" sldId="2006"/>
            <ac:spMk id="17" creationId="{5F278963-02D6-404C-B291-C9E81E53F8DE}"/>
          </ac:spMkLst>
        </pc:spChg>
        <pc:spChg chg="mod">
          <ac:chgData name="Aurelien Domont" userId="6da7715ce44349b3" providerId="LiveId" clId="{F5CB8D7B-D02E-4687-8CA4-C8B5B52CB8AB}" dt="2023-02-09T05:48:39.455" v="1360" actId="207"/>
          <ac:spMkLst>
            <pc:docMk/>
            <pc:sldMk cId="268444286" sldId="2006"/>
            <ac:spMk id="19" creationId="{A1DC83D0-4766-42A2-99D0-5D0C52736DD3}"/>
          </ac:spMkLst>
        </pc:spChg>
        <pc:spChg chg="mod">
          <ac:chgData name="Aurelien Domont" userId="6da7715ce44349b3" providerId="LiveId" clId="{F5CB8D7B-D02E-4687-8CA4-C8B5B52CB8AB}" dt="2023-02-09T05:48:05.497" v="1358" actId="208"/>
          <ac:spMkLst>
            <pc:docMk/>
            <pc:sldMk cId="268444286" sldId="2006"/>
            <ac:spMk id="22" creationId="{4D8E020C-222A-455A-93E5-8511CA04394E}"/>
          </ac:spMkLst>
        </pc:spChg>
        <pc:spChg chg="mod">
          <ac:chgData name="Aurelien Domont" userId="6da7715ce44349b3" providerId="LiveId" clId="{F5CB8D7B-D02E-4687-8CA4-C8B5B52CB8AB}" dt="2023-02-09T05:48:05.497" v="1358" actId="208"/>
          <ac:spMkLst>
            <pc:docMk/>
            <pc:sldMk cId="268444286" sldId="2006"/>
            <ac:spMk id="23" creationId="{DC0AAEA3-A3D3-4155-8C47-D8E9077BC347}"/>
          </ac:spMkLst>
        </pc:spChg>
      </pc:sldChg>
      <pc:sldChg chg="addSp delSp modSp add mod">
        <pc:chgData name="Aurelien Domont" userId="6da7715ce44349b3" providerId="LiveId" clId="{F5CB8D7B-D02E-4687-8CA4-C8B5B52CB8AB}" dt="2023-03-09T04:17:10.821" v="3262"/>
        <pc:sldMkLst>
          <pc:docMk/>
          <pc:sldMk cId="3938337455" sldId="2034"/>
        </pc:sldMkLst>
        <pc:spChg chg="del">
          <ac:chgData name="Aurelien Domont" userId="6da7715ce44349b3" providerId="LiveId" clId="{F5CB8D7B-D02E-4687-8CA4-C8B5B52CB8AB}" dt="2023-03-09T04:16:48.147" v="3261" actId="478"/>
          <ac:spMkLst>
            <pc:docMk/>
            <pc:sldMk cId="3938337455" sldId="2034"/>
            <ac:spMk id="5" creationId="{EDA73FF4-2B75-2B48-884E-4130B509A68A}"/>
          </ac:spMkLst>
        </pc:spChg>
        <pc:spChg chg="del">
          <ac:chgData name="Aurelien Domont" userId="6da7715ce44349b3" providerId="LiveId" clId="{F5CB8D7B-D02E-4687-8CA4-C8B5B52CB8AB}" dt="2023-03-09T04:16:48.147" v="3261" actId="478"/>
          <ac:spMkLst>
            <pc:docMk/>
            <pc:sldMk cId="3938337455" sldId="2034"/>
            <ac:spMk id="6" creationId="{7077FF90-18B3-4753-AB03-EA70B19442E9}"/>
          </ac:spMkLst>
        </pc:spChg>
        <pc:spChg chg="add mod">
          <ac:chgData name="Aurelien Domont" userId="6da7715ce44349b3" providerId="LiveId" clId="{F5CB8D7B-D02E-4687-8CA4-C8B5B52CB8AB}" dt="2023-03-09T04:17:10.821" v="3262"/>
          <ac:spMkLst>
            <pc:docMk/>
            <pc:sldMk cId="3938337455" sldId="2034"/>
            <ac:spMk id="7" creationId="{3135E033-13D8-F2B5-E5EF-80C255E497E5}"/>
          </ac:spMkLst>
        </pc:spChg>
        <pc:spChg chg="add mod">
          <ac:chgData name="Aurelien Domont" userId="6da7715ce44349b3" providerId="LiveId" clId="{F5CB8D7B-D02E-4687-8CA4-C8B5B52CB8AB}" dt="2023-03-09T04:17:10.821" v="3262"/>
          <ac:spMkLst>
            <pc:docMk/>
            <pc:sldMk cId="3938337455" sldId="2034"/>
            <ac:spMk id="8" creationId="{AEF0ECFA-C8DE-F659-121B-A3E29D26745C}"/>
          </ac:spMkLst>
        </pc:spChg>
        <pc:spChg chg="add mod">
          <ac:chgData name="Aurelien Domont" userId="6da7715ce44349b3" providerId="LiveId" clId="{F5CB8D7B-D02E-4687-8CA4-C8B5B52CB8AB}" dt="2023-03-09T04:17:10.821" v="3262"/>
          <ac:spMkLst>
            <pc:docMk/>
            <pc:sldMk cId="3938337455" sldId="2034"/>
            <ac:spMk id="10" creationId="{4A61A84C-EBD4-70B4-1EA9-C381CC9F0367}"/>
          </ac:spMkLst>
        </pc:spChg>
        <pc:spChg chg="add mod">
          <ac:chgData name="Aurelien Domont" userId="6da7715ce44349b3" providerId="LiveId" clId="{F5CB8D7B-D02E-4687-8CA4-C8B5B52CB8AB}" dt="2023-03-09T04:17:10.821" v="3262"/>
          <ac:spMkLst>
            <pc:docMk/>
            <pc:sldMk cId="3938337455" sldId="2034"/>
            <ac:spMk id="11" creationId="{4987FB2A-7C22-8B33-7464-05E5E5BB0FC4}"/>
          </ac:spMkLst>
        </pc:spChg>
        <pc:spChg chg="add mod">
          <ac:chgData name="Aurelien Domont" userId="6da7715ce44349b3" providerId="LiveId" clId="{F5CB8D7B-D02E-4687-8CA4-C8B5B52CB8AB}" dt="2023-03-09T04:17:10.821" v="3262"/>
          <ac:spMkLst>
            <pc:docMk/>
            <pc:sldMk cId="3938337455" sldId="2034"/>
            <ac:spMk id="12" creationId="{E7C10D80-005A-9FAE-7BE9-74CF202DA9E8}"/>
          </ac:spMkLst>
        </pc:spChg>
        <pc:spChg chg="add mod">
          <ac:chgData name="Aurelien Domont" userId="6da7715ce44349b3" providerId="LiveId" clId="{F5CB8D7B-D02E-4687-8CA4-C8B5B52CB8AB}" dt="2023-03-09T04:17:10.821" v="3262"/>
          <ac:spMkLst>
            <pc:docMk/>
            <pc:sldMk cId="3938337455" sldId="2034"/>
            <ac:spMk id="13" creationId="{3DCEB4B3-F045-9D8A-12F7-ADACD87686C1}"/>
          </ac:spMkLst>
        </pc:spChg>
        <pc:spChg chg="add mod">
          <ac:chgData name="Aurelien Domont" userId="6da7715ce44349b3" providerId="LiveId" clId="{F5CB8D7B-D02E-4687-8CA4-C8B5B52CB8AB}" dt="2023-03-09T04:17:10.821" v="3262"/>
          <ac:spMkLst>
            <pc:docMk/>
            <pc:sldMk cId="3938337455" sldId="2034"/>
            <ac:spMk id="15" creationId="{DD8CAF63-2FEA-1FCD-6FF0-BE33BB8826AA}"/>
          </ac:spMkLst>
        </pc:spChg>
        <pc:spChg chg="add mod">
          <ac:chgData name="Aurelien Domont" userId="6da7715ce44349b3" providerId="LiveId" clId="{F5CB8D7B-D02E-4687-8CA4-C8B5B52CB8AB}" dt="2023-03-09T04:17:10.821" v="3262"/>
          <ac:spMkLst>
            <pc:docMk/>
            <pc:sldMk cId="3938337455" sldId="2034"/>
            <ac:spMk id="17" creationId="{2EBD1296-8D01-79E8-4FDD-7EA4D8440652}"/>
          </ac:spMkLst>
        </pc:spChg>
        <pc:spChg chg="add mod">
          <ac:chgData name="Aurelien Domont" userId="6da7715ce44349b3" providerId="LiveId" clId="{F5CB8D7B-D02E-4687-8CA4-C8B5B52CB8AB}" dt="2023-03-09T04:17:10.821" v="3262"/>
          <ac:spMkLst>
            <pc:docMk/>
            <pc:sldMk cId="3938337455" sldId="2034"/>
            <ac:spMk id="19" creationId="{B13053C0-5B46-E4EB-AFC6-1D664A62AF04}"/>
          </ac:spMkLst>
        </pc:spChg>
        <pc:spChg chg="add mod">
          <ac:chgData name="Aurelien Domont" userId="6da7715ce44349b3" providerId="LiveId" clId="{F5CB8D7B-D02E-4687-8CA4-C8B5B52CB8AB}" dt="2023-03-09T04:17:10.821" v="3262"/>
          <ac:spMkLst>
            <pc:docMk/>
            <pc:sldMk cId="3938337455" sldId="2034"/>
            <ac:spMk id="22" creationId="{E487DD8C-8F78-4086-914C-C0B8A25353B6}"/>
          </ac:spMkLst>
        </pc:spChg>
        <pc:spChg chg="add mod">
          <ac:chgData name="Aurelien Domont" userId="6da7715ce44349b3" providerId="LiveId" clId="{F5CB8D7B-D02E-4687-8CA4-C8B5B52CB8AB}" dt="2023-03-09T04:17:10.821" v="3262"/>
          <ac:spMkLst>
            <pc:docMk/>
            <pc:sldMk cId="3938337455" sldId="2034"/>
            <ac:spMk id="23" creationId="{0D5C60E0-01F3-2F9D-8E8F-3D40FEA55C67}"/>
          </ac:spMkLst>
        </pc:spChg>
        <pc:spChg chg="del">
          <ac:chgData name="Aurelien Domont" userId="6da7715ce44349b3" providerId="LiveId" clId="{F5CB8D7B-D02E-4687-8CA4-C8B5B52CB8AB}" dt="2023-03-09T04:16:48.147" v="3261" actId="478"/>
          <ac:spMkLst>
            <pc:docMk/>
            <pc:sldMk cId="3938337455" sldId="2034"/>
            <ac:spMk id="24" creationId="{10FC36E4-FF69-4225-8CCB-04169852A81D}"/>
          </ac:spMkLst>
        </pc:spChg>
        <pc:spChg chg="del">
          <ac:chgData name="Aurelien Domont" userId="6da7715ce44349b3" providerId="LiveId" clId="{F5CB8D7B-D02E-4687-8CA4-C8B5B52CB8AB}" dt="2023-03-09T04:16:48.147" v="3261" actId="478"/>
          <ac:spMkLst>
            <pc:docMk/>
            <pc:sldMk cId="3938337455" sldId="2034"/>
            <ac:spMk id="25" creationId="{00620D10-048E-48D9-A2B4-B60613B1CC93}"/>
          </ac:spMkLst>
        </pc:spChg>
        <pc:spChg chg="add mod">
          <ac:chgData name="Aurelien Domont" userId="6da7715ce44349b3" providerId="LiveId" clId="{F5CB8D7B-D02E-4687-8CA4-C8B5B52CB8AB}" dt="2023-03-09T04:17:10.821" v="3262"/>
          <ac:spMkLst>
            <pc:docMk/>
            <pc:sldMk cId="3938337455" sldId="2034"/>
            <ac:spMk id="26" creationId="{83540C9D-7FB2-517A-DFD8-45FE3A97D353}"/>
          </ac:spMkLst>
        </pc:spChg>
        <pc:spChg chg="add mod">
          <ac:chgData name="Aurelien Domont" userId="6da7715ce44349b3" providerId="LiveId" clId="{F5CB8D7B-D02E-4687-8CA4-C8B5B52CB8AB}" dt="2023-03-09T04:17:10.821" v="3262"/>
          <ac:spMkLst>
            <pc:docMk/>
            <pc:sldMk cId="3938337455" sldId="2034"/>
            <ac:spMk id="27" creationId="{2EE733AE-FD71-23BA-637D-140AE88FD13A}"/>
          </ac:spMkLst>
        </pc:spChg>
        <pc:spChg chg="add mod">
          <ac:chgData name="Aurelien Domont" userId="6da7715ce44349b3" providerId="LiveId" clId="{F5CB8D7B-D02E-4687-8CA4-C8B5B52CB8AB}" dt="2023-03-09T04:17:10.821" v="3262"/>
          <ac:spMkLst>
            <pc:docMk/>
            <pc:sldMk cId="3938337455" sldId="2034"/>
            <ac:spMk id="28" creationId="{F462F77A-3EEA-D2BA-F46A-E204E5CA2DE7}"/>
          </ac:spMkLst>
        </pc:spChg>
        <pc:spChg chg="add mod">
          <ac:chgData name="Aurelien Domont" userId="6da7715ce44349b3" providerId="LiveId" clId="{F5CB8D7B-D02E-4687-8CA4-C8B5B52CB8AB}" dt="2023-03-09T04:17:10.821" v="3262"/>
          <ac:spMkLst>
            <pc:docMk/>
            <pc:sldMk cId="3938337455" sldId="2034"/>
            <ac:spMk id="29" creationId="{A730A722-F9CC-4B23-8E22-73027B761292}"/>
          </ac:spMkLst>
        </pc:spChg>
        <pc:spChg chg="add mod">
          <ac:chgData name="Aurelien Domont" userId="6da7715ce44349b3" providerId="LiveId" clId="{F5CB8D7B-D02E-4687-8CA4-C8B5B52CB8AB}" dt="2023-03-09T04:17:10.821" v="3262"/>
          <ac:spMkLst>
            <pc:docMk/>
            <pc:sldMk cId="3938337455" sldId="2034"/>
            <ac:spMk id="30" creationId="{5BAF2AB2-9EDC-660A-7C30-EF74E11F6269}"/>
          </ac:spMkLst>
        </pc:spChg>
        <pc:spChg chg="add mod">
          <ac:chgData name="Aurelien Domont" userId="6da7715ce44349b3" providerId="LiveId" clId="{F5CB8D7B-D02E-4687-8CA4-C8B5B52CB8AB}" dt="2023-03-09T04:17:10.821" v="3262"/>
          <ac:spMkLst>
            <pc:docMk/>
            <pc:sldMk cId="3938337455" sldId="2034"/>
            <ac:spMk id="31" creationId="{F14BF811-292F-0CC6-D2F3-A2D0793FBA5F}"/>
          </ac:spMkLst>
        </pc:spChg>
        <pc:spChg chg="del">
          <ac:chgData name="Aurelien Domont" userId="6da7715ce44349b3" providerId="LiveId" clId="{F5CB8D7B-D02E-4687-8CA4-C8B5B52CB8AB}" dt="2023-03-09T04:16:48.147" v="3261" actId="478"/>
          <ac:spMkLst>
            <pc:docMk/>
            <pc:sldMk cId="3938337455" sldId="2034"/>
            <ac:spMk id="35" creationId="{CD141786-24B4-44B0-B8A6-7A0356A8DAA2}"/>
          </ac:spMkLst>
        </pc:spChg>
        <pc:spChg chg="del">
          <ac:chgData name="Aurelien Domont" userId="6da7715ce44349b3" providerId="LiveId" clId="{F5CB8D7B-D02E-4687-8CA4-C8B5B52CB8AB}" dt="2023-03-09T04:16:48.147" v="3261" actId="478"/>
          <ac:spMkLst>
            <pc:docMk/>
            <pc:sldMk cId="3938337455" sldId="2034"/>
            <ac:spMk id="37" creationId="{A8ED4079-9C72-477E-A32B-0BE357ABC2DA}"/>
          </ac:spMkLst>
        </pc:spChg>
        <pc:spChg chg="del">
          <ac:chgData name="Aurelien Domont" userId="6da7715ce44349b3" providerId="LiveId" clId="{F5CB8D7B-D02E-4687-8CA4-C8B5B52CB8AB}" dt="2023-03-09T04:16:48.147" v="3261" actId="478"/>
          <ac:spMkLst>
            <pc:docMk/>
            <pc:sldMk cId="3938337455" sldId="2034"/>
            <ac:spMk id="38" creationId="{FD0050EA-2F92-4A1D-BBA2-312C9B6FE8B8}"/>
          </ac:spMkLst>
        </pc:spChg>
        <pc:spChg chg="del">
          <ac:chgData name="Aurelien Domont" userId="6da7715ce44349b3" providerId="LiveId" clId="{F5CB8D7B-D02E-4687-8CA4-C8B5B52CB8AB}" dt="2023-03-09T04:16:48.147" v="3261" actId="478"/>
          <ac:spMkLst>
            <pc:docMk/>
            <pc:sldMk cId="3938337455" sldId="2034"/>
            <ac:spMk id="40" creationId="{0ACD094E-AE08-44D5-A0A8-BF6ED094C063}"/>
          </ac:spMkLst>
        </pc:spChg>
        <pc:spChg chg="del">
          <ac:chgData name="Aurelien Domont" userId="6da7715ce44349b3" providerId="LiveId" clId="{F5CB8D7B-D02E-4687-8CA4-C8B5B52CB8AB}" dt="2023-03-09T04:16:48.147" v="3261" actId="478"/>
          <ac:spMkLst>
            <pc:docMk/>
            <pc:sldMk cId="3938337455" sldId="2034"/>
            <ac:spMk id="41" creationId="{DA9D4097-1186-4D11-8507-48A6EB77B0D4}"/>
          </ac:spMkLst>
        </pc:spChg>
        <pc:spChg chg="add mod">
          <ac:chgData name="Aurelien Domont" userId="6da7715ce44349b3" providerId="LiveId" clId="{F5CB8D7B-D02E-4687-8CA4-C8B5B52CB8AB}" dt="2023-03-09T04:17:10.821" v="3262"/>
          <ac:spMkLst>
            <pc:docMk/>
            <pc:sldMk cId="3938337455" sldId="2034"/>
            <ac:spMk id="43" creationId="{AA44551F-A899-0DEB-F25C-97E8344A097E}"/>
          </ac:spMkLst>
        </pc:spChg>
        <pc:spChg chg="del">
          <ac:chgData name="Aurelien Domont" userId="6da7715ce44349b3" providerId="LiveId" clId="{F5CB8D7B-D02E-4687-8CA4-C8B5B52CB8AB}" dt="2023-03-09T04:16:48.147" v="3261" actId="478"/>
          <ac:spMkLst>
            <pc:docMk/>
            <pc:sldMk cId="3938337455" sldId="2034"/>
            <ac:spMk id="45" creationId="{9E2329D8-6CE9-482F-B3CE-E8EC3B1A9369}"/>
          </ac:spMkLst>
        </pc:spChg>
        <pc:spChg chg="del">
          <ac:chgData name="Aurelien Domont" userId="6da7715ce44349b3" providerId="LiveId" clId="{F5CB8D7B-D02E-4687-8CA4-C8B5B52CB8AB}" dt="2023-03-09T04:16:48.147" v="3261" actId="478"/>
          <ac:spMkLst>
            <pc:docMk/>
            <pc:sldMk cId="3938337455" sldId="2034"/>
            <ac:spMk id="47" creationId="{2294D629-5734-4E8A-ACBC-857B7249F5A5}"/>
          </ac:spMkLst>
        </pc:spChg>
        <pc:spChg chg="del">
          <ac:chgData name="Aurelien Domont" userId="6da7715ce44349b3" providerId="LiveId" clId="{F5CB8D7B-D02E-4687-8CA4-C8B5B52CB8AB}" dt="2023-03-09T04:16:48.147" v="3261" actId="478"/>
          <ac:spMkLst>
            <pc:docMk/>
            <pc:sldMk cId="3938337455" sldId="2034"/>
            <ac:spMk id="48" creationId="{971D573A-5304-4C92-8CB7-47985CE6549D}"/>
          </ac:spMkLst>
        </pc:spChg>
        <pc:spChg chg="del">
          <ac:chgData name="Aurelien Domont" userId="6da7715ce44349b3" providerId="LiveId" clId="{F5CB8D7B-D02E-4687-8CA4-C8B5B52CB8AB}" dt="2023-03-09T04:16:48.147" v="3261" actId="478"/>
          <ac:spMkLst>
            <pc:docMk/>
            <pc:sldMk cId="3938337455" sldId="2034"/>
            <ac:spMk id="49" creationId="{5CF30ED3-F54D-472F-8C3E-5A39BAB8D140}"/>
          </ac:spMkLst>
        </pc:spChg>
        <pc:spChg chg="del">
          <ac:chgData name="Aurelien Domont" userId="6da7715ce44349b3" providerId="LiveId" clId="{F5CB8D7B-D02E-4687-8CA4-C8B5B52CB8AB}" dt="2023-03-09T04:16:48.147" v="3261" actId="478"/>
          <ac:spMkLst>
            <pc:docMk/>
            <pc:sldMk cId="3938337455" sldId="2034"/>
            <ac:spMk id="50" creationId="{360D60BA-ED17-4774-B45A-F73EBAE34844}"/>
          </ac:spMkLst>
        </pc:spChg>
        <pc:spChg chg="del">
          <ac:chgData name="Aurelien Domont" userId="6da7715ce44349b3" providerId="LiveId" clId="{F5CB8D7B-D02E-4687-8CA4-C8B5B52CB8AB}" dt="2023-03-09T04:16:48.147" v="3261" actId="478"/>
          <ac:spMkLst>
            <pc:docMk/>
            <pc:sldMk cId="3938337455" sldId="2034"/>
            <ac:spMk id="52" creationId="{99AA9153-C633-4C31-9E9A-0948942A95C9}"/>
          </ac:spMkLst>
        </pc:spChg>
        <pc:spChg chg="del">
          <ac:chgData name="Aurelien Domont" userId="6da7715ce44349b3" providerId="LiveId" clId="{F5CB8D7B-D02E-4687-8CA4-C8B5B52CB8AB}" dt="2023-03-09T04:16:48.147" v="3261" actId="478"/>
          <ac:spMkLst>
            <pc:docMk/>
            <pc:sldMk cId="3938337455" sldId="2034"/>
            <ac:spMk id="53" creationId="{B2ED7A07-F9BD-4DB4-A9C5-B3108D40701B}"/>
          </ac:spMkLst>
        </pc:spChg>
        <pc:spChg chg="del">
          <ac:chgData name="Aurelien Domont" userId="6da7715ce44349b3" providerId="LiveId" clId="{F5CB8D7B-D02E-4687-8CA4-C8B5B52CB8AB}" dt="2023-03-09T04:16:48.147" v="3261" actId="478"/>
          <ac:spMkLst>
            <pc:docMk/>
            <pc:sldMk cId="3938337455" sldId="2034"/>
            <ac:spMk id="54" creationId="{F2CB5A07-4EE0-490C-BC2F-099732840F2C}"/>
          </ac:spMkLst>
        </pc:spChg>
        <pc:spChg chg="del">
          <ac:chgData name="Aurelien Domont" userId="6da7715ce44349b3" providerId="LiveId" clId="{F5CB8D7B-D02E-4687-8CA4-C8B5B52CB8AB}" dt="2023-03-09T04:16:48.147" v="3261" actId="478"/>
          <ac:spMkLst>
            <pc:docMk/>
            <pc:sldMk cId="3938337455" sldId="2034"/>
            <ac:spMk id="55" creationId="{DC0B345B-A8EC-4E95-8CAC-E5322CA56717}"/>
          </ac:spMkLst>
        </pc:spChg>
        <pc:picChg chg="del">
          <ac:chgData name="Aurelien Domont" userId="6da7715ce44349b3" providerId="LiveId" clId="{F5CB8D7B-D02E-4687-8CA4-C8B5B52CB8AB}" dt="2023-03-09T04:16:48.147" v="3261" actId="478"/>
          <ac:picMkLst>
            <pc:docMk/>
            <pc:sldMk cId="3938337455" sldId="2034"/>
            <ac:picMk id="14" creationId="{22DF7327-2363-435F-9ED6-4AA3ECBBA1A1}"/>
          </ac:picMkLst>
        </pc:picChg>
        <pc:picChg chg="del">
          <ac:chgData name="Aurelien Domont" userId="6da7715ce44349b3" providerId="LiveId" clId="{F5CB8D7B-D02E-4687-8CA4-C8B5B52CB8AB}" dt="2023-03-09T04:16:48.147" v="3261" actId="478"/>
          <ac:picMkLst>
            <pc:docMk/>
            <pc:sldMk cId="3938337455" sldId="2034"/>
            <ac:picMk id="16" creationId="{42781B27-3287-4138-99C2-2F0435F1E5A4}"/>
          </ac:picMkLst>
        </pc:picChg>
        <pc:picChg chg="del">
          <ac:chgData name="Aurelien Domont" userId="6da7715ce44349b3" providerId="LiveId" clId="{F5CB8D7B-D02E-4687-8CA4-C8B5B52CB8AB}" dt="2023-03-09T04:16:48.147" v="3261" actId="478"/>
          <ac:picMkLst>
            <pc:docMk/>
            <pc:sldMk cId="3938337455" sldId="2034"/>
            <ac:picMk id="18" creationId="{9FC40686-C658-407F-BDA4-C822A2049D77}"/>
          </ac:picMkLst>
        </pc:picChg>
        <pc:picChg chg="del">
          <ac:chgData name="Aurelien Domont" userId="6da7715ce44349b3" providerId="LiveId" clId="{F5CB8D7B-D02E-4687-8CA4-C8B5B52CB8AB}" dt="2023-03-09T04:16:48.147" v="3261" actId="478"/>
          <ac:picMkLst>
            <pc:docMk/>
            <pc:sldMk cId="3938337455" sldId="2034"/>
            <ac:picMk id="20" creationId="{1E455E94-A30D-4595-BFA4-855752AE351A}"/>
          </ac:picMkLst>
        </pc:picChg>
        <pc:picChg chg="add mod">
          <ac:chgData name="Aurelien Domont" userId="6da7715ce44349b3" providerId="LiveId" clId="{F5CB8D7B-D02E-4687-8CA4-C8B5B52CB8AB}" dt="2023-03-09T04:17:10.821" v="3262"/>
          <ac:picMkLst>
            <pc:docMk/>
            <pc:sldMk cId="3938337455" sldId="2034"/>
            <ac:picMk id="21" creationId="{3C27B655-ED05-D7EE-AAB7-A66B63891AFF}"/>
          </ac:picMkLst>
        </pc:picChg>
        <pc:picChg chg="add mod">
          <ac:chgData name="Aurelien Domont" userId="6da7715ce44349b3" providerId="LiveId" clId="{F5CB8D7B-D02E-4687-8CA4-C8B5B52CB8AB}" dt="2023-03-09T04:17:10.821" v="3262"/>
          <ac:picMkLst>
            <pc:docMk/>
            <pc:sldMk cId="3938337455" sldId="2034"/>
            <ac:picMk id="32" creationId="{DFE88999-6765-7EDB-5B4D-AB831B85AC8D}"/>
          </ac:picMkLst>
        </pc:picChg>
        <pc:picChg chg="add mod">
          <ac:chgData name="Aurelien Domont" userId="6da7715ce44349b3" providerId="LiveId" clId="{F5CB8D7B-D02E-4687-8CA4-C8B5B52CB8AB}" dt="2023-03-09T04:17:10.821" v="3262"/>
          <ac:picMkLst>
            <pc:docMk/>
            <pc:sldMk cId="3938337455" sldId="2034"/>
            <ac:picMk id="33" creationId="{BB1BC6A3-D118-0A6E-C79B-7894B0BFDCBB}"/>
          </ac:picMkLst>
        </pc:picChg>
        <pc:picChg chg="add mod">
          <ac:chgData name="Aurelien Domont" userId="6da7715ce44349b3" providerId="LiveId" clId="{F5CB8D7B-D02E-4687-8CA4-C8B5B52CB8AB}" dt="2023-03-09T04:17:10.821" v="3262"/>
          <ac:picMkLst>
            <pc:docMk/>
            <pc:sldMk cId="3938337455" sldId="2034"/>
            <ac:picMk id="34" creationId="{1F90E063-7D6F-0C6D-DBE5-A8934C6C0644}"/>
          </ac:picMkLst>
        </pc:picChg>
        <pc:picChg chg="add mod">
          <ac:chgData name="Aurelien Domont" userId="6da7715ce44349b3" providerId="LiveId" clId="{F5CB8D7B-D02E-4687-8CA4-C8B5B52CB8AB}" dt="2023-03-09T04:17:10.821" v="3262"/>
          <ac:picMkLst>
            <pc:docMk/>
            <pc:sldMk cId="3938337455" sldId="2034"/>
            <ac:picMk id="36" creationId="{62A8812D-C33F-691E-28A4-27B23723A0A1}"/>
          </ac:picMkLst>
        </pc:picChg>
        <pc:picChg chg="add mod">
          <ac:chgData name="Aurelien Domont" userId="6da7715ce44349b3" providerId="LiveId" clId="{F5CB8D7B-D02E-4687-8CA4-C8B5B52CB8AB}" dt="2023-03-09T04:17:10.821" v="3262"/>
          <ac:picMkLst>
            <pc:docMk/>
            <pc:sldMk cId="3938337455" sldId="2034"/>
            <ac:picMk id="39" creationId="{4DECBE82-EBAE-3778-0A4A-88278813AA91}"/>
          </ac:picMkLst>
        </pc:picChg>
        <pc:picChg chg="add mod">
          <ac:chgData name="Aurelien Domont" userId="6da7715ce44349b3" providerId="LiveId" clId="{F5CB8D7B-D02E-4687-8CA4-C8B5B52CB8AB}" dt="2023-03-09T04:17:10.821" v="3262"/>
          <ac:picMkLst>
            <pc:docMk/>
            <pc:sldMk cId="3938337455" sldId="2034"/>
            <ac:picMk id="42" creationId="{B3ED7BE4-20E4-E8F6-FDB3-E46A01FAC31A}"/>
          </ac:picMkLst>
        </pc:picChg>
        <pc:picChg chg="add mod">
          <ac:chgData name="Aurelien Domont" userId="6da7715ce44349b3" providerId="LiveId" clId="{F5CB8D7B-D02E-4687-8CA4-C8B5B52CB8AB}" dt="2023-03-09T04:17:10.821" v="3262"/>
          <ac:picMkLst>
            <pc:docMk/>
            <pc:sldMk cId="3938337455" sldId="2034"/>
            <ac:picMk id="44" creationId="{B064DE7D-7B3F-47CE-712A-864933AA39AC}"/>
          </ac:picMkLst>
        </pc:picChg>
        <pc:picChg chg="del">
          <ac:chgData name="Aurelien Domont" userId="6da7715ce44349b3" providerId="LiveId" clId="{F5CB8D7B-D02E-4687-8CA4-C8B5B52CB8AB}" dt="2023-03-09T04:16:48.147" v="3261" actId="478"/>
          <ac:picMkLst>
            <pc:docMk/>
            <pc:sldMk cId="3938337455" sldId="2034"/>
            <ac:picMk id="46" creationId="{F2DF10A2-E100-4FF9-9CB8-EDE71129B318}"/>
          </ac:picMkLst>
        </pc:picChg>
        <pc:picChg chg="add mod">
          <ac:chgData name="Aurelien Domont" userId="6da7715ce44349b3" providerId="LiveId" clId="{F5CB8D7B-D02E-4687-8CA4-C8B5B52CB8AB}" dt="2023-03-09T04:17:10.821" v="3262"/>
          <ac:picMkLst>
            <pc:docMk/>
            <pc:sldMk cId="3938337455" sldId="2034"/>
            <ac:picMk id="51" creationId="{0B160B41-F8A4-B312-F83B-0B98A154213A}"/>
          </ac:picMkLst>
        </pc:picChg>
        <pc:picChg chg="del">
          <ac:chgData name="Aurelien Domont" userId="6da7715ce44349b3" providerId="LiveId" clId="{F5CB8D7B-D02E-4687-8CA4-C8B5B52CB8AB}" dt="2023-03-09T04:16:48.147" v="3261" actId="478"/>
          <ac:picMkLst>
            <pc:docMk/>
            <pc:sldMk cId="3938337455" sldId="2034"/>
            <ac:picMk id="56" creationId="{131BC2DB-9229-4655-8B8C-67D49AAA6CDF}"/>
          </ac:picMkLst>
        </pc:picChg>
        <pc:picChg chg="del">
          <ac:chgData name="Aurelien Domont" userId="6da7715ce44349b3" providerId="LiveId" clId="{F5CB8D7B-D02E-4687-8CA4-C8B5B52CB8AB}" dt="2023-03-09T04:16:48.147" v="3261" actId="478"/>
          <ac:picMkLst>
            <pc:docMk/>
            <pc:sldMk cId="3938337455" sldId="2034"/>
            <ac:picMk id="57" creationId="{0D0522DE-41AB-44CB-87E5-1CCD549ED18C}"/>
          </ac:picMkLst>
        </pc:picChg>
        <pc:picChg chg="del">
          <ac:chgData name="Aurelien Domont" userId="6da7715ce44349b3" providerId="LiveId" clId="{F5CB8D7B-D02E-4687-8CA4-C8B5B52CB8AB}" dt="2023-03-09T04:16:48.147" v="3261" actId="478"/>
          <ac:picMkLst>
            <pc:docMk/>
            <pc:sldMk cId="3938337455" sldId="2034"/>
            <ac:picMk id="58" creationId="{41860908-BE8E-4A49-85FB-ADD183AEA4C7}"/>
          </ac:picMkLst>
        </pc:picChg>
        <pc:picChg chg="del">
          <ac:chgData name="Aurelien Domont" userId="6da7715ce44349b3" providerId="LiveId" clId="{F5CB8D7B-D02E-4687-8CA4-C8B5B52CB8AB}" dt="2023-03-09T04:16:48.147" v="3261" actId="478"/>
          <ac:picMkLst>
            <pc:docMk/>
            <pc:sldMk cId="3938337455" sldId="2034"/>
            <ac:picMk id="59" creationId="{7BC038B5-E60A-43A1-B657-9CE267F41E1E}"/>
          </ac:picMkLst>
        </pc:picChg>
      </pc:sldChg>
      <pc:sldChg chg="add">
        <pc:chgData name="Aurelien Domont" userId="6da7715ce44349b3" providerId="LiveId" clId="{F5CB8D7B-D02E-4687-8CA4-C8B5B52CB8AB}" dt="2023-02-09T04:55:16.525" v="31"/>
        <pc:sldMkLst>
          <pc:docMk/>
          <pc:sldMk cId="1926619926" sldId="2147"/>
        </pc:sldMkLst>
      </pc:sldChg>
      <pc:sldChg chg="del">
        <pc:chgData name="Aurelien Domont" userId="6da7715ce44349b3" providerId="LiveId" clId="{F5CB8D7B-D02E-4687-8CA4-C8B5B52CB8AB}" dt="2023-02-09T04:42:32.325" v="18" actId="47"/>
        <pc:sldMkLst>
          <pc:docMk/>
          <pc:sldMk cId="423301223" sldId="2148"/>
        </pc:sldMkLst>
      </pc:sldChg>
      <pc:sldChg chg="del">
        <pc:chgData name="Aurelien Domont" userId="6da7715ce44349b3" providerId="LiveId" clId="{F5CB8D7B-D02E-4687-8CA4-C8B5B52CB8AB}" dt="2023-02-09T04:42:32.325" v="18" actId="47"/>
        <pc:sldMkLst>
          <pc:docMk/>
          <pc:sldMk cId="1324642353" sldId="2152"/>
        </pc:sldMkLst>
      </pc:sldChg>
      <pc:sldChg chg="add del">
        <pc:chgData name="Aurelien Domont" userId="6da7715ce44349b3" providerId="LiveId" clId="{F5CB8D7B-D02E-4687-8CA4-C8B5B52CB8AB}" dt="2023-02-09T04:49:18.694" v="30"/>
        <pc:sldMkLst>
          <pc:docMk/>
          <pc:sldMk cId="76807122" sldId="2153"/>
        </pc:sldMkLst>
      </pc:sldChg>
      <pc:sldChg chg="del">
        <pc:chgData name="Aurelien Domont" userId="6da7715ce44349b3" providerId="LiveId" clId="{F5CB8D7B-D02E-4687-8CA4-C8B5B52CB8AB}" dt="2023-02-09T04:42:32.325" v="18" actId="47"/>
        <pc:sldMkLst>
          <pc:docMk/>
          <pc:sldMk cId="2226532108" sldId="2153"/>
        </pc:sldMkLst>
      </pc:sldChg>
      <pc:sldChg chg="del">
        <pc:chgData name="Aurelien Domont" userId="6da7715ce44349b3" providerId="LiveId" clId="{F5CB8D7B-D02E-4687-8CA4-C8B5B52CB8AB}" dt="2023-02-09T04:42:32.325" v="18" actId="47"/>
        <pc:sldMkLst>
          <pc:docMk/>
          <pc:sldMk cId="3613236081" sldId="2154"/>
        </pc:sldMkLst>
      </pc:sldChg>
      <pc:sldChg chg="del">
        <pc:chgData name="Aurelien Domont" userId="6da7715ce44349b3" providerId="LiveId" clId="{F5CB8D7B-D02E-4687-8CA4-C8B5B52CB8AB}" dt="2023-02-09T04:42:32.325" v="18" actId="47"/>
        <pc:sldMkLst>
          <pc:docMk/>
          <pc:sldMk cId="3175191540" sldId="2155"/>
        </pc:sldMkLst>
      </pc:sldChg>
      <pc:sldChg chg="addSp delSp modSp add mod">
        <pc:chgData name="Aurelien Domont" userId="6da7715ce44349b3" providerId="LiveId" clId="{F5CB8D7B-D02E-4687-8CA4-C8B5B52CB8AB}" dt="2023-02-09T05:42:46.464" v="1351" actId="20577"/>
        <pc:sldMkLst>
          <pc:docMk/>
          <pc:sldMk cId="62308209" sldId="2161"/>
        </pc:sldMkLst>
        <pc:spChg chg="add del mod ord">
          <ac:chgData name="Aurelien Domont" userId="6da7715ce44349b3" providerId="LiveId" clId="{F5CB8D7B-D02E-4687-8CA4-C8B5B52CB8AB}" dt="2023-02-09T05:25:47.980" v="562" actId="478"/>
          <ac:spMkLst>
            <pc:docMk/>
            <pc:sldMk cId="62308209" sldId="2161"/>
            <ac:spMk id="3" creationId="{7FF7F1B4-8198-3B69-1E13-EAF3AC25FBD7}"/>
          </ac:spMkLst>
        </pc:spChg>
        <pc:spChg chg="add del mod ord">
          <ac:chgData name="Aurelien Domont" userId="6da7715ce44349b3" providerId="LiveId" clId="{F5CB8D7B-D02E-4687-8CA4-C8B5B52CB8AB}" dt="2023-02-09T05:25:47.980" v="562" actId="478"/>
          <ac:spMkLst>
            <pc:docMk/>
            <pc:sldMk cId="62308209" sldId="2161"/>
            <ac:spMk id="4" creationId="{A2470B43-2E00-016A-83C0-1EE9E1764A45}"/>
          </ac:spMkLst>
        </pc:spChg>
        <pc:spChg chg="add mod ord">
          <ac:chgData name="Aurelien Domont" userId="6da7715ce44349b3" providerId="LiveId" clId="{F5CB8D7B-D02E-4687-8CA4-C8B5B52CB8AB}" dt="2023-02-09T05:42:20.255" v="1303" actId="167"/>
          <ac:spMkLst>
            <pc:docMk/>
            <pc:sldMk cId="62308209" sldId="2161"/>
            <ac:spMk id="7" creationId="{D6181D12-EE77-370A-B642-195CFA645DB3}"/>
          </ac:spMkLst>
        </pc:spChg>
        <pc:spChg chg="add mod">
          <ac:chgData name="Aurelien Domont" userId="6da7715ce44349b3" providerId="LiveId" clId="{F5CB8D7B-D02E-4687-8CA4-C8B5B52CB8AB}" dt="2023-02-09T05:39:20" v="1275" actId="1036"/>
          <ac:spMkLst>
            <pc:docMk/>
            <pc:sldMk cId="62308209" sldId="2161"/>
            <ac:spMk id="8" creationId="{148FCC7F-FE0D-9C7A-5F9B-0196D0CBC769}"/>
          </ac:spMkLst>
        </pc:spChg>
        <pc:spChg chg="add del mod">
          <ac:chgData name="Aurelien Domont" userId="6da7715ce44349b3" providerId="LiveId" clId="{F5CB8D7B-D02E-4687-8CA4-C8B5B52CB8AB}" dt="2023-02-09T05:37:03.188" v="1057" actId="478"/>
          <ac:spMkLst>
            <pc:docMk/>
            <pc:sldMk cId="62308209" sldId="2161"/>
            <ac:spMk id="9" creationId="{4A20778A-DFB2-749D-1818-B3D7CEF6E2AB}"/>
          </ac:spMkLst>
        </pc:spChg>
        <pc:spChg chg="add mod">
          <ac:chgData name="Aurelien Domont" userId="6da7715ce44349b3" providerId="LiveId" clId="{F5CB8D7B-D02E-4687-8CA4-C8B5B52CB8AB}" dt="2023-02-09T05:30:36.453" v="756" actId="571"/>
          <ac:spMkLst>
            <pc:docMk/>
            <pc:sldMk cId="62308209" sldId="2161"/>
            <ac:spMk id="10" creationId="{618A4248-BFB8-AA57-99EF-CAFD7EB750AE}"/>
          </ac:spMkLst>
        </pc:spChg>
        <pc:spChg chg="add mod">
          <ac:chgData name="Aurelien Domont" userId="6da7715ce44349b3" providerId="LiveId" clId="{F5CB8D7B-D02E-4687-8CA4-C8B5B52CB8AB}" dt="2023-02-09T05:39:28.092" v="1281" actId="14100"/>
          <ac:spMkLst>
            <pc:docMk/>
            <pc:sldMk cId="62308209" sldId="2161"/>
            <ac:spMk id="11" creationId="{EDAF58AE-3825-62BE-64ED-DF2A3D34EDDA}"/>
          </ac:spMkLst>
        </pc:spChg>
        <pc:spChg chg="add mod">
          <ac:chgData name="Aurelien Domont" userId="6da7715ce44349b3" providerId="LiveId" clId="{F5CB8D7B-D02E-4687-8CA4-C8B5B52CB8AB}" dt="2023-02-09T05:39:20" v="1275" actId="1036"/>
          <ac:spMkLst>
            <pc:docMk/>
            <pc:sldMk cId="62308209" sldId="2161"/>
            <ac:spMk id="12" creationId="{FD06379C-9DEF-1ED7-3641-6AD0ECC8E382}"/>
          </ac:spMkLst>
        </pc:spChg>
        <pc:spChg chg="add del mod">
          <ac:chgData name="Aurelien Domont" userId="6da7715ce44349b3" providerId="LiveId" clId="{F5CB8D7B-D02E-4687-8CA4-C8B5B52CB8AB}" dt="2023-02-09T05:37:03.188" v="1057" actId="478"/>
          <ac:spMkLst>
            <pc:docMk/>
            <pc:sldMk cId="62308209" sldId="2161"/>
            <ac:spMk id="14" creationId="{AE229A3D-B268-441D-EED2-28A0FEFD009A}"/>
          </ac:spMkLst>
        </pc:spChg>
        <pc:spChg chg="add del mod">
          <ac:chgData name="Aurelien Domont" userId="6da7715ce44349b3" providerId="LiveId" clId="{F5CB8D7B-D02E-4687-8CA4-C8B5B52CB8AB}" dt="2023-02-09T05:38:22.442" v="1256"/>
          <ac:spMkLst>
            <pc:docMk/>
            <pc:sldMk cId="62308209" sldId="2161"/>
            <ac:spMk id="15" creationId="{BD9B5F6A-0799-E07E-9A7F-F9EB6685AEE9}"/>
          </ac:spMkLst>
        </pc:spChg>
        <pc:spChg chg="mod">
          <ac:chgData name="Aurelien Domont" userId="6da7715ce44349b3" providerId="LiveId" clId="{F5CB8D7B-D02E-4687-8CA4-C8B5B52CB8AB}" dt="2023-02-09T05:27:17.235" v="665" actId="20577"/>
          <ac:spMkLst>
            <pc:docMk/>
            <pc:sldMk cId="62308209" sldId="2161"/>
            <ac:spMk id="16" creationId="{6C2BB713-9637-4B9B-938F-E9768876782A}"/>
          </ac:spMkLst>
        </pc:spChg>
        <pc:spChg chg="add del mod">
          <ac:chgData name="Aurelien Domont" userId="6da7715ce44349b3" providerId="LiveId" clId="{F5CB8D7B-D02E-4687-8CA4-C8B5B52CB8AB}" dt="2023-02-09T05:38:22.442" v="1256"/>
          <ac:spMkLst>
            <pc:docMk/>
            <pc:sldMk cId="62308209" sldId="2161"/>
            <ac:spMk id="17" creationId="{2E11C525-FEB3-1C2D-6D4B-FA91C50AAE42}"/>
          </ac:spMkLst>
        </pc:spChg>
        <pc:spChg chg="add mod">
          <ac:chgData name="Aurelien Domont" userId="6da7715ce44349b3" providerId="LiveId" clId="{F5CB8D7B-D02E-4687-8CA4-C8B5B52CB8AB}" dt="2023-02-09T05:40:05.815" v="1286" actId="1076"/>
          <ac:spMkLst>
            <pc:docMk/>
            <pc:sldMk cId="62308209" sldId="2161"/>
            <ac:spMk id="19" creationId="{F4DC6C9C-FEC4-A87E-F2C9-60B29EAD92EF}"/>
          </ac:spMkLst>
        </pc:spChg>
        <pc:spChg chg="add mod">
          <ac:chgData name="Aurelien Domont" userId="6da7715ce44349b3" providerId="LiveId" clId="{F5CB8D7B-D02E-4687-8CA4-C8B5B52CB8AB}" dt="2023-02-09T05:39:10.590" v="1263" actId="14100"/>
          <ac:spMkLst>
            <pc:docMk/>
            <pc:sldMk cId="62308209" sldId="2161"/>
            <ac:spMk id="20" creationId="{A0574671-B23B-772F-6693-BCD3981C3677}"/>
          </ac:spMkLst>
        </pc:spChg>
        <pc:spChg chg="add mod">
          <ac:chgData name="Aurelien Domont" userId="6da7715ce44349b3" providerId="LiveId" clId="{F5CB8D7B-D02E-4687-8CA4-C8B5B52CB8AB}" dt="2023-02-09T05:42:24.174" v="1305" actId="14100"/>
          <ac:spMkLst>
            <pc:docMk/>
            <pc:sldMk cId="62308209" sldId="2161"/>
            <ac:spMk id="22" creationId="{314E2654-56C9-9C2D-32F5-A1AEE7D5D979}"/>
          </ac:spMkLst>
        </pc:spChg>
        <pc:spChg chg="add mod">
          <ac:chgData name="Aurelien Domont" userId="6da7715ce44349b3" providerId="LiveId" clId="{F5CB8D7B-D02E-4687-8CA4-C8B5B52CB8AB}" dt="2023-02-09T05:42:46.464" v="1351" actId="20577"/>
          <ac:spMkLst>
            <pc:docMk/>
            <pc:sldMk cId="62308209" sldId="2161"/>
            <ac:spMk id="23" creationId="{157A999B-74A7-8710-1682-4882DF46A7A9}"/>
          </ac:spMkLst>
        </pc:spChg>
        <pc:spChg chg="del mod">
          <ac:chgData name="Aurelien Domont" userId="6da7715ce44349b3" providerId="LiveId" clId="{F5CB8D7B-D02E-4687-8CA4-C8B5B52CB8AB}" dt="2023-02-09T05:26:25.270" v="633" actId="478"/>
          <ac:spMkLst>
            <pc:docMk/>
            <pc:sldMk cId="62308209" sldId="2161"/>
            <ac:spMk id="61" creationId="{B9D03F71-77E6-BF1F-EAF3-F547C5059954}"/>
          </ac:spMkLst>
        </pc:spChg>
        <pc:picChg chg="add del mod">
          <ac:chgData name="Aurelien Domont" userId="6da7715ce44349b3" providerId="LiveId" clId="{F5CB8D7B-D02E-4687-8CA4-C8B5B52CB8AB}" dt="2023-02-09T05:20:48.527" v="510" actId="478"/>
          <ac:picMkLst>
            <pc:docMk/>
            <pc:sldMk cId="62308209" sldId="2161"/>
            <ac:picMk id="2" creationId="{87AE2089-E40B-6936-41F8-4521AAD80D53}"/>
          </ac:picMkLst>
        </pc:picChg>
        <pc:picChg chg="add del mod modCrop">
          <ac:chgData name="Aurelien Domont" userId="6da7715ce44349b3" providerId="LiveId" clId="{F5CB8D7B-D02E-4687-8CA4-C8B5B52CB8AB}" dt="2023-02-09T05:25:46.090" v="561" actId="478"/>
          <ac:picMkLst>
            <pc:docMk/>
            <pc:sldMk cId="62308209" sldId="2161"/>
            <ac:picMk id="6" creationId="{3D888EAD-ABDF-D7C5-2C6A-940FBB06707B}"/>
          </ac:picMkLst>
        </pc:picChg>
        <pc:picChg chg="add mod modCrop">
          <ac:chgData name="Aurelien Domont" userId="6da7715ce44349b3" providerId="LiveId" clId="{F5CB8D7B-D02E-4687-8CA4-C8B5B52CB8AB}" dt="2023-02-09T05:39:59.638" v="1285" actId="1076"/>
          <ac:picMkLst>
            <pc:docMk/>
            <pc:sldMk cId="62308209" sldId="2161"/>
            <ac:picMk id="18" creationId="{9C08B6C3-5188-A352-7B13-E07DC65FB20A}"/>
          </ac:picMkLst>
        </pc:picChg>
        <pc:picChg chg="add del mod">
          <ac:chgData name="Aurelien Domont" userId="6da7715ce44349b3" providerId="LiveId" clId="{F5CB8D7B-D02E-4687-8CA4-C8B5B52CB8AB}" dt="2023-02-09T05:42:01.644" v="1297" actId="478"/>
          <ac:picMkLst>
            <pc:docMk/>
            <pc:sldMk cId="62308209" sldId="2161"/>
            <ac:picMk id="21" creationId="{BC7E2C2E-ADF4-4749-3BD5-FB9916C96931}"/>
          </ac:picMkLst>
        </pc:picChg>
        <pc:picChg chg="add mod ord">
          <ac:chgData name="Aurelien Domont" userId="6da7715ce44349b3" providerId="LiveId" clId="{F5CB8D7B-D02E-4687-8CA4-C8B5B52CB8AB}" dt="2023-02-09T05:42:15.264" v="1302" actId="167"/>
          <ac:picMkLst>
            <pc:docMk/>
            <pc:sldMk cId="62308209" sldId="2161"/>
            <ac:picMk id="24" creationId="{12E1674E-C479-979C-78F6-AACB8AC27007}"/>
          </ac:picMkLst>
        </pc:picChg>
      </pc:sldChg>
      <pc:sldChg chg="modSp add mod ord">
        <pc:chgData name="Aurelien Domont" userId="6da7715ce44349b3" providerId="LiveId" clId="{F5CB8D7B-D02E-4687-8CA4-C8B5B52CB8AB}" dt="2023-02-09T05:05:08.519" v="163"/>
        <pc:sldMkLst>
          <pc:docMk/>
          <pc:sldMk cId="1203735008" sldId="2233"/>
        </pc:sldMkLst>
        <pc:spChg chg="mod">
          <ac:chgData name="Aurelien Domont" userId="6da7715ce44349b3" providerId="LiveId" clId="{F5CB8D7B-D02E-4687-8CA4-C8B5B52CB8AB}" dt="2023-02-09T04:57:21.660" v="57"/>
          <ac:spMkLst>
            <pc:docMk/>
            <pc:sldMk cId="1203735008" sldId="2233"/>
            <ac:spMk id="16" creationId="{6C2BB713-9637-4B9B-938F-E9768876782A}"/>
          </ac:spMkLst>
        </pc:spChg>
      </pc:sldChg>
      <pc:sldChg chg="add">
        <pc:chgData name="Aurelien Domont" userId="6da7715ce44349b3" providerId="LiveId" clId="{F5CB8D7B-D02E-4687-8CA4-C8B5B52CB8AB}" dt="2023-02-09T04:55:16.525" v="31"/>
        <pc:sldMkLst>
          <pc:docMk/>
          <pc:sldMk cId="1534399825" sldId="2240"/>
        </pc:sldMkLst>
      </pc:sldChg>
      <pc:sldChg chg="add del">
        <pc:chgData name="Aurelien Domont" userId="6da7715ce44349b3" providerId="LiveId" clId="{F5CB8D7B-D02E-4687-8CA4-C8B5B52CB8AB}" dt="2023-02-09T05:05:51.883" v="164" actId="47"/>
        <pc:sldMkLst>
          <pc:docMk/>
          <pc:sldMk cId="2473019607" sldId="2241"/>
        </pc:sldMkLst>
      </pc:sldChg>
      <pc:sldChg chg="modSp add del mod">
        <pc:chgData name="Aurelien Domont" userId="6da7715ce44349b3" providerId="LiveId" clId="{F5CB8D7B-D02E-4687-8CA4-C8B5B52CB8AB}" dt="2023-02-09T05:14:48.643" v="475" actId="47"/>
        <pc:sldMkLst>
          <pc:docMk/>
          <pc:sldMk cId="3093963141" sldId="2241"/>
        </pc:sldMkLst>
        <pc:spChg chg="mod">
          <ac:chgData name="Aurelien Domont" userId="6da7715ce44349b3" providerId="LiveId" clId="{F5CB8D7B-D02E-4687-8CA4-C8B5B52CB8AB}" dt="2023-02-09T05:08:27.697" v="326" actId="207"/>
          <ac:spMkLst>
            <pc:docMk/>
            <pc:sldMk cId="3093963141" sldId="2241"/>
            <ac:spMk id="26" creationId="{A0729B37-90A2-4A18-A667-E59D9DEF8551}"/>
          </ac:spMkLst>
        </pc:spChg>
        <pc:spChg chg="mod">
          <ac:chgData name="Aurelien Domont" userId="6da7715ce44349b3" providerId="LiveId" clId="{F5CB8D7B-D02E-4687-8CA4-C8B5B52CB8AB}" dt="2023-02-09T05:08:27.697" v="326" actId="207"/>
          <ac:spMkLst>
            <pc:docMk/>
            <pc:sldMk cId="3093963141" sldId="2241"/>
            <ac:spMk id="27" creationId="{7C1F4CAA-045E-4A7A-969E-9B6A53203C81}"/>
          </ac:spMkLst>
        </pc:spChg>
        <pc:spChg chg="mod">
          <ac:chgData name="Aurelien Domont" userId="6da7715ce44349b3" providerId="LiveId" clId="{F5CB8D7B-D02E-4687-8CA4-C8B5B52CB8AB}" dt="2023-02-09T05:09:23.321" v="338" actId="207"/>
          <ac:spMkLst>
            <pc:docMk/>
            <pc:sldMk cId="3093963141" sldId="2241"/>
            <ac:spMk id="28" creationId="{F48E4D39-0250-47E0-9BFB-40635E773D67}"/>
          </ac:spMkLst>
        </pc:spChg>
        <pc:spChg chg="mod">
          <ac:chgData name="Aurelien Domont" userId="6da7715ce44349b3" providerId="LiveId" clId="{F5CB8D7B-D02E-4687-8CA4-C8B5B52CB8AB}" dt="2023-02-09T05:08:22.276" v="325" actId="108"/>
          <ac:spMkLst>
            <pc:docMk/>
            <pc:sldMk cId="3093963141" sldId="2241"/>
            <ac:spMk id="45" creationId="{10BD3E93-8E2C-4C1E-9F14-8EA9D1B80F7B}"/>
          </ac:spMkLst>
        </pc:spChg>
      </pc:sldChg>
      <pc:sldChg chg="add del">
        <pc:chgData name="Aurelien Domont" userId="6da7715ce44349b3" providerId="LiveId" clId="{F5CB8D7B-D02E-4687-8CA4-C8B5B52CB8AB}" dt="2023-02-09T05:14:48.643" v="475" actId="47"/>
        <pc:sldMkLst>
          <pc:docMk/>
          <pc:sldMk cId="1979494721" sldId="2242"/>
        </pc:sldMkLst>
      </pc:sldChg>
      <pc:sldChg chg="addSp delSp modSp add mod">
        <pc:chgData name="Aurelien Domont" userId="6da7715ce44349b3" providerId="LiveId" clId="{F5CB8D7B-D02E-4687-8CA4-C8B5B52CB8AB}" dt="2023-02-12T23:16:07.505" v="2924"/>
        <pc:sldMkLst>
          <pc:docMk/>
          <pc:sldMk cId="2008287246" sldId="2243"/>
        </pc:sldMkLst>
        <pc:spChg chg="mod">
          <ac:chgData name="Aurelien Domont" userId="6da7715ce44349b3" providerId="LiveId" clId="{F5CB8D7B-D02E-4687-8CA4-C8B5B52CB8AB}" dt="2023-02-09T05:15:26.582" v="482" actId="207"/>
          <ac:spMkLst>
            <pc:docMk/>
            <pc:sldMk cId="2008287246" sldId="2243"/>
            <ac:spMk id="3" creationId="{A3894658-0B2A-4C43-98D7-33AE1B526705}"/>
          </ac:spMkLst>
        </pc:spChg>
        <pc:spChg chg="add del mod">
          <ac:chgData name="Aurelien Domont" userId="6da7715ce44349b3" providerId="LiveId" clId="{F5CB8D7B-D02E-4687-8CA4-C8B5B52CB8AB}" dt="2023-02-09T05:18:47.833" v="498"/>
          <ac:spMkLst>
            <pc:docMk/>
            <pc:sldMk cId="2008287246" sldId="2243"/>
            <ac:spMk id="4" creationId="{BB143DC2-D79D-0BDE-9E18-172DB2A02AAE}"/>
          </ac:spMkLst>
        </pc:spChg>
        <pc:spChg chg="mod">
          <ac:chgData name="Aurelien Domont" userId="6da7715ce44349b3" providerId="LiveId" clId="{F5CB8D7B-D02E-4687-8CA4-C8B5B52CB8AB}" dt="2023-02-09T05:15:15.808" v="480" actId="207"/>
          <ac:spMkLst>
            <pc:docMk/>
            <pc:sldMk cId="2008287246" sldId="2243"/>
            <ac:spMk id="23" creationId="{507AE0B2-DC5E-43C0-AD62-50D4C8DC6B2F}"/>
          </ac:spMkLst>
        </pc:spChg>
        <pc:spChg chg="mod">
          <ac:chgData name="Aurelien Domont" userId="6da7715ce44349b3" providerId="LiveId" clId="{F5CB8D7B-D02E-4687-8CA4-C8B5B52CB8AB}" dt="2023-02-09T05:15:12.751" v="479" actId="207"/>
          <ac:spMkLst>
            <pc:docMk/>
            <pc:sldMk cId="2008287246" sldId="2243"/>
            <ac:spMk id="24" creationId="{0F60E140-553C-42E0-AD0A-AC6C6C13F203}"/>
          </ac:spMkLst>
        </pc:spChg>
        <pc:spChg chg="mod">
          <ac:chgData name="Aurelien Domont" userId="6da7715ce44349b3" providerId="LiveId" clId="{F5CB8D7B-D02E-4687-8CA4-C8B5B52CB8AB}" dt="2023-02-09T05:15:21.486" v="481" actId="207"/>
          <ac:spMkLst>
            <pc:docMk/>
            <pc:sldMk cId="2008287246" sldId="2243"/>
            <ac:spMk id="25" creationId="{4626225F-5D11-4E2D-BF7B-CAB633793896}"/>
          </ac:spMkLst>
        </pc:spChg>
        <pc:spChg chg="mod">
          <ac:chgData name="Aurelien Domont" userId="6da7715ce44349b3" providerId="LiveId" clId="{F5CB8D7B-D02E-4687-8CA4-C8B5B52CB8AB}" dt="2023-02-09T05:15:00.701" v="477" actId="207"/>
          <ac:spMkLst>
            <pc:docMk/>
            <pc:sldMk cId="2008287246" sldId="2243"/>
            <ac:spMk id="26" creationId="{A0729B37-90A2-4A18-A667-E59D9DEF8551}"/>
          </ac:spMkLst>
        </pc:spChg>
        <pc:spChg chg="mod">
          <ac:chgData name="Aurelien Domont" userId="6da7715ce44349b3" providerId="LiveId" clId="{F5CB8D7B-D02E-4687-8CA4-C8B5B52CB8AB}" dt="2023-02-09T05:17:01.848" v="495" actId="20577"/>
          <ac:spMkLst>
            <pc:docMk/>
            <pc:sldMk cId="2008287246" sldId="2243"/>
            <ac:spMk id="27" creationId="{7C1F4CAA-045E-4A7A-969E-9B6A53203C81}"/>
          </ac:spMkLst>
        </pc:spChg>
        <pc:spChg chg="mod">
          <ac:chgData name="Aurelien Domont" userId="6da7715ce44349b3" providerId="LiveId" clId="{F5CB8D7B-D02E-4687-8CA4-C8B5B52CB8AB}" dt="2023-02-09T05:15:03.909" v="478" actId="207"/>
          <ac:spMkLst>
            <pc:docMk/>
            <pc:sldMk cId="2008287246" sldId="2243"/>
            <ac:spMk id="28" creationId="{F48E4D39-0250-47E0-9BFB-40635E773D67}"/>
          </ac:spMkLst>
        </pc:spChg>
        <pc:spChg chg="mod">
          <ac:chgData name="Aurelien Domont" userId="6da7715ce44349b3" providerId="LiveId" clId="{F5CB8D7B-D02E-4687-8CA4-C8B5B52CB8AB}" dt="2023-02-12T23:16:07.505" v="2924"/>
          <ac:spMkLst>
            <pc:docMk/>
            <pc:sldMk cId="2008287246" sldId="2243"/>
            <ac:spMk id="43" creationId="{8D208B22-9AEE-4BFE-A152-B2636192DAEF}"/>
          </ac:spMkLst>
        </pc:spChg>
        <pc:spChg chg="mod">
          <ac:chgData name="Aurelien Domont" userId="6da7715ce44349b3" providerId="LiveId" clId="{F5CB8D7B-D02E-4687-8CA4-C8B5B52CB8AB}" dt="2023-02-09T05:14:56.666" v="476" actId="207"/>
          <ac:spMkLst>
            <pc:docMk/>
            <pc:sldMk cId="2008287246" sldId="2243"/>
            <ac:spMk id="45" creationId="{10BD3E93-8E2C-4C1E-9F14-8EA9D1B80F7B}"/>
          </ac:spMkLst>
        </pc:spChg>
      </pc:sldChg>
      <pc:sldChg chg="addSp delSp modSp add mod">
        <pc:chgData name="Aurelien Domont" userId="6da7715ce44349b3" providerId="LiveId" clId="{F5CB8D7B-D02E-4687-8CA4-C8B5B52CB8AB}" dt="2023-02-12T23:15:54.649" v="2923" actId="20577"/>
        <pc:sldMkLst>
          <pc:docMk/>
          <pc:sldMk cId="2969200684" sldId="2244"/>
        </pc:sldMkLst>
        <pc:spChg chg="mod">
          <ac:chgData name="Aurelien Domont" userId="6da7715ce44349b3" providerId="LiveId" clId="{F5CB8D7B-D02E-4687-8CA4-C8B5B52CB8AB}" dt="2023-02-09T05:15:57.411" v="485"/>
          <ac:spMkLst>
            <pc:docMk/>
            <pc:sldMk cId="2969200684" sldId="2244"/>
            <ac:spMk id="6" creationId="{DC73E47F-CEAC-57D0-BF24-F4AF197C39CE}"/>
          </ac:spMkLst>
        </pc:spChg>
        <pc:spChg chg="mod">
          <ac:chgData name="Aurelien Domont" userId="6da7715ce44349b3" providerId="LiveId" clId="{F5CB8D7B-D02E-4687-8CA4-C8B5B52CB8AB}" dt="2023-02-09T05:15:57.411" v="485"/>
          <ac:spMkLst>
            <pc:docMk/>
            <pc:sldMk cId="2969200684" sldId="2244"/>
            <ac:spMk id="9" creationId="{47708972-C28D-A913-E992-20C091E6466F}"/>
          </ac:spMkLst>
        </pc:spChg>
        <pc:spChg chg="mod">
          <ac:chgData name="Aurelien Domont" userId="6da7715ce44349b3" providerId="LiveId" clId="{F5CB8D7B-D02E-4687-8CA4-C8B5B52CB8AB}" dt="2023-02-09T05:15:57.411" v="485"/>
          <ac:spMkLst>
            <pc:docMk/>
            <pc:sldMk cId="2969200684" sldId="2244"/>
            <ac:spMk id="10" creationId="{16831BD1-8072-087F-5EF9-C9D6B2D61BC1}"/>
          </ac:spMkLst>
        </pc:spChg>
        <pc:spChg chg="mod">
          <ac:chgData name="Aurelien Domont" userId="6da7715ce44349b3" providerId="LiveId" clId="{F5CB8D7B-D02E-4687-8CA4-C8B5B52CB8AB}" dt="2023-02-09T05:15:57.411" v="485"/>
          <ac:spMkLst>
            <pc:docMk/>
            <pc:sldMk cId="2969200684" sldId="2244"/>
            <ac:spMk id="11" creationId="{0AFE4B10-53BC-AD81-B67B-8B6B10C7895F}"/>
          </ac:spMkLst>
        </pc:spChg>
        <pc:spChg chg="add del mod">
          <ac:chgData name="Aurelien Domont" userId="6da7715ce44349b3" providerId="LiveId" clId="{F5CB8D7B-D02E-4687-8CA4-C8B5B52CB8AB}" dt="2023-02-09T05:54:13.452" v="1371" actId="478"/>
          <ac:spMkLst>
            <pc:docMk/>
            <pc:sldMk cId="2969200684" sldId="2244"/>
            <ac:spMk id="15" creationId="{B665CE37-07BA-0A51-99EF-E889BFE3FA53}"/>
          </ac:spMkLst>
        </pc:spChg>
        <pc:spChg chg="add del mod">
          <ac:chgData name="Aurelien Domont" userId="6da7715ce44349b3" providerId="LiveId" clId="{F5CB8D7B-D02E-4687-8CA4-C8B5B52CB8AB}" dt="2023-02-09T05:54:20.546" v="1381" actId="478"/>
          <ac:spMkLst>
            <pc:docMk/>
            <pc:sldMk cId="2969200684" sldId="2244"/>
            <ac:spMk id="17" creationId="{306D3A25-8FBB-CADF-C118-E90EAE84FDB1}"/>
          </ac:spMkLst>
        </pc:spChg>
        <pc:spChg chg="add del mod">
          <ac:chgData name="Aurelien Domont" userId="6da7715ce44349b3" providerId="LiveId" clId="{F5CB8D7B-D02E-4687-8CA4-C8B5B52CB8AB}" dt="2023-02-09T05:54:27.792" v="1389" actId="478"/>
          <ac:spMkLst>
            <pc:docMk/>
            <pc:sldMk cId="2969200684" sldId="2244"/>
            <ac:spMk id="18" creationId="{FF6B13EB-EC27-2B66-6CA3-A88968552685}"/>
          </ac:spMkLst>
        </pc:spChg>
        <pc:spChg chg="add del mod">
          <ac:chgData name="Aurelien Domont" userId="6da7715ce44349b3" providerId="LiveId" clId="{F5CB8D7B-D02E-4687-8CA4-C8B5B52CB8AB}" dt="2023-02-09T05:54:44.838" v="1396" actId="478"/>
          <ac:spMkLst>
            <pc:docMk/>
            <pc:sldMk cId="2969200684" sldId="2244"/>
            <ac:spMk id="19" creationId="{B69348FF-40C3-D46C-2B6E-8628B663C3D1}"/>
          </ac:spMkLst>
        </pc:spChg>
        <pc:spChg chg="mod">
          <ac:chgData name="Aurelien Domont" userId="6da7715ce44349b3" providerId="LiveId" clId="{F5CB8D7B-D02E-4687-8CA4-C8B5B52CB8AB}" dt="2023-02-09T05:17:04.849" v="496" actId="20577"/>
          <ac:spMkLst>
            <pc:docMk/>
            <pc:sldMk cId="2969200684" sldId="2244"/>
            <ac:spMk id="27" creationId="{7C1F4CAA-045E-4A7A-969E-9B6A53203C81}"/>
          </ac:spMkLst>
        </pc:spChg>
        <pc:spChg chg="mod">
          <ac:chgData name="Aurelien Domont" userId="6da7715ce44349b3" providerId="LiveId" clId="{F5CB8D7B-D02E-4687-8CA4-C8B5B52CB8AB}" dt="2023-02-09T05:16:12.696" v="488" actId="207"/>
          <ac:spMkLst>
            <pc:docMk/>
            <pc:sldMk cId="2969200684" sldId="2244"/>
            <ac:spMk id="42" creationId="{88EA3805-A60E-4C8D-88DA-D6A6D2B7DEE6}"/>
          </ac:spMkLst>
        </pc:spChg>
        <pc:spChg chg="mod">
          <ac:chgData name="Aurelien Domont" userId="6da7715ce44349b3" providerId="LiveId" clId="{F5CB8D7B-D02E-4687-8CA4-C8B5B52CB8AB}" dt="2023-02-12T23:15:54.649" v="2923" actId="20577"/>
          <ac:spMkLst>
            <pc:docMk/>
            <pc:sldMk cId="2969200684" sldId="2244"/>
            <ac:spMk id="43" creationId="{8D208B22-9AEE-4BFE-A152-B2636192DAEF}"/>
          </ac:spMkLst>
        </pc:spChg>
        <pc:spChg chg="mod">
          <ac:chgData name="Aurelien Domont" userId="6da7715ce44349b3" providerId="LiveId" clId="{F5CB8D7B-D02E-4687-8CA4-C8B5B52CB8AB}" dt="2023-02-09T05:16:16.701" v="489" actId="207"/>
          <ac:spMkLst>
            <pc:docMk/>
            <pc:sldMk cId="2969200684" sldId="2244"/>
            <ac:spMk id="44" creationId="{4963FFC8-BF5D-4917-8690-F629ED5D181B}"/>
          </ac:spMkLst>
        </pc:spChg>
        <pc:spChg chg="mod">
          <ac:chgData name="Aurelien Domont" userId="6da7715ce44349b3" providerId="LiveId" clId="{F5CB8D7B-D02E-4687-8CA4-C8B5B52CB8AB}" dt="2023-02-09T05:16:22.671" v="490" actId="207"/>
          <ac:spMkLst>
            <pc:docMk/>
            <pc:sldMk cId="2969200684" sldId="2244"/>
            <ac:spMk id="46" creationId="{44056CF2-3AA1-43A1-8DBA-7FD28650266C}"/>
          </ac:spMkLst>
        </pc:spChg>
        <pc:grpChg chg="add mod">
          <ac:chgData name="Aurelien Domont" userId="6da7715ce44349b3" providerId="LiveId" clId="{F5CB8D7B-D02E-4687-8CA4-C8B5B52CB8AB}" dt="2023-02-09T05:15:57.411" v="485"/>
          <ac:grpSpMkLst>
            <pc:docMk/>
            <pc:sldMk cId="2969200684" sldId="2244"/>
            <ac:grpSpMk id="4" creationId="{E5D8961B-EC1F-15E4-6BD6-DB3FB0CA0026}"/>
          </ac:grpSpMkLst>
        </pc:grpChg>
        <pc:grpChg chg="del">
          <ac:chgData name="Aurelien Domont" userId="6da7715ce44349b3" providerId="LiveId" clId="{F5CB8D7B-D02E-4687-8CA4-C8B5B52CB8AB}" dt="2023-02-09T05:15:48.395" v="484" actId="478"/>
          <ac:grpSpMkLst>
            <pc:docMk/>
            <pc:sldMk cId="2969200684" sldId="2244"/>
            <ac:grpSpMk id="12" creationId="{B26ADAC7-85DE-9F04-028E-74A34B53B648}"/>
          </ac:grpSpMkLst>
        </pc:grpChg>
      </pc:sldChg>
      <pc:sldChg chg="add del">
        <pc:chgData name="Aurelien Domont" userId="6da7715ce44349b3" providerId="LiveId" clId="{F5CB8D7B-D02E-4687-8CA4-C8B5B52CB8AB}" dt="2023-02-10T02:37:46.975" v="1913" actId="2696"/>
        <pc:sldMkLst>
          <pc:docMk/>
          <pc:sldMk cId="1679648010" sldId="2245"/>
        </pc:sldMkLst>
      </pc:sldChg>
      <pc:sldChg chg="add del">
        <pc:chgData name="Aurelien Domont" userId="6da7715ce44349b3" providerId="LiveId" clId="{F5CB8D7B-D02E-4687-8CA4-C8B5B52CB8AB}" dt="2023-02-09T05:43:30.641" v="1352" actId="47"/>
        <pc:sldMkLst>
          <pc:docMk/>
          <pc:sldMk cId="3871173262" sldId="2245"/>
        </pc:sldMkLst>
      </pc:sldChg>
      <pc:sldChg chg="modSp add del mod ord">
        <pc:chgData name="Aurelien Domont" userId="6da7715ce44349b3" providerId="LiveId" clId="{F5CB8D7B-D02E-4687-8CA4-C8B5B52CB8AB}" dt="2023-02-12T23:17:36.175" v="2929" actId="47"/>
        <pc:sldMkLst>
          <pc:docMk/>
          <pc:sldMk cId="3875078287" sldId="2245"/>
        </pc:sldMkLst>
        <pc:spChg chg="mod">
          <ac:chgData name="Aurelien Domont" userId="6da7715ce44349b3" providerId="LiveId" clId="{F5CB8D7B-D02E-4687-8CA4-C8B5B52CB8AB}" dt="2023-02-12T23:16:07.505" v="2924"/>
          <ac:spMkLst>
            <pc:docMk/>
            <pc:sldMk cId="3875078287" sldId="2245"/>
            <ac:spMk id="2" creationId="{7A5D0868-4609-4523-9D64-D782C7DCD514}"/>
          </ac:spMkLst>
        </pc:spChg>
      </pc:sldChg>
      <pc:sldChg chg="addSp delSp modSp add mod">
        <pc:chgData name="Aurelien Domont" userId="6da7715ce44349b3" providerId="LiveId" clId="{F5CB8D7B-D02E-4687-8CA4-C8B5B52CB8AB}" dt="2023-02-12T23:22:14.699" v="2943" actId="20577"/>
        <pc:sldMkLst>
          <pc:docMk/>
          <pc:sldMk cId="385158906" sldId="2246"/>
        </pc:sldMkLst>
        <pc:spChg chg="add del">
          <ac:chgData name="Aurelien Domont" userId="6da7715ce44349b3" providerId="LiveId" clId="{F5CB8D7B-D02E-4687-8CA4-C8B5B52CB8AB}" dt="2023-02-10T01:20:47.711" v="1623" actId="22"/>
          <ac:spMkLst>
            <pc:docMk/>
            <pc:sldMk cId="385158906" sldId="2246"/>
            <ac:spMk id="3" creationId="{F8CEF635-B7C1-CE9D-D26F-9E1B4EA4CFE5}"/>
          </ac:spMkLst>
        </pc:spChg>
        <pc:spChg chg="add del">
          <ac:chgData name="Aurelien Domont" userId="6da7715ce44349b3" providerId="LiveId" clId="{F5CB8D7B-D02E-4687-8CA4-C8B5B52CB8AB}" dt="2023-02-10T01:20:56.087" v="1625" actId="22"/>
          <ac:spMkLst>
            <pc:docMk/>
            <pc:sldMk cId="385158906" sldId="2246"/>
            <ac:spMk id="5" creationId="{492F69AC-C374-932E-148C-2B970CDB8A30}"/>
          </ac:spMkLst>
        </pc:spChg>
        <pc:spChg chg="del mod">
          <ac:chgData name="Aurelien Domont" userId="6da7715ce44349b3" providerId="LiveId" clId="{F5CB8D7B-D02E-4687-8CA4-C8B5B52CB8AB}" dt="2023-02-10T02:57:20.634" v="2102" actId="478"/>
          <ac:spMkLst>
            <pc:docMk/>
            <pc:sldMk cId="385158906" sldId="2246"/>
            <ac:spMk id="7" creationId="{D6181D12-EE77-370A-B642-195CFA645DB3}"/>
          </ac:spMkLst>
        </pc:spChg>
        <pc:spChg chg="del mod">
          <ac:chgData name="Aurelien Domont" userId="6da7715ce44349b3" providerId="LiveId" clId="{F5CB8D7B-D02E-4687-8CA4-C8B5B52CB8AB}" dt="2023-02-10T03:01:07.308" v="2230" actId="478"/>
          <ac:spMkLst>
            <pc:docMk/>
            <pc:sldMk cId="385158906" sldId="2246"/>
            <ac:spMk id="8" creationId="{148FCC7F-FE0D-9C7A-5F9B-0196D0CBC769}"/>
          </ac:spMkLst>
        </pc:spChg>
        <pc:spChg chg="del mod">
          <ac:chgData name="Aurelien Domont" userId="6da7715ce44349b3" providerId="LiveId" clId="{F5CB8D7B-D02E-4687-8CA4-C8B5B52CB8AB}" dt="2023-02-10T02:57:20.634" v="2102" actId="478"/>
          <ac:spMkLst>
            <pc:docMk/>
            <pc:sldMk cId="385158906" sldId="2246"/>
            <ac:spMk id="11" creationId="{EDAF58AE-3825-62BE-64ED-DF2A3D34EDDA}"/>
          </ac:spMkLst>
        </pc:spChg>
        <pc:spChg chg="mod">
          <ac:chgData name="Aurelien Domont" userId="6da7715ce44349b3" providerId="LiveId" clId="{F5CB8D7B-D02E-4687-8CA4-C8B5B52CB8AB}" dt="2023-02-10T03:01:16.897" v="2308" actId="1037"/>
          <ac:spMkLst>
            <pc:docMk/>
            <pc:sldMk cId="385158906" sldId="2246"/>
            <ac:spMk id="12" creationId="{FD06379C-9DEF-1ED7-3641-6AD0ECC8E382}"/>
          </ac:spMkLst>
        </pc:spChg>
        <pc:spChg chg="add del mod">
          <ac:chgData name="Aurelien Domont" userId="6da7715ce44349b3" providerId="LiveId" clId="{F5CB8D7B-D02E-4687-8CA4-C8B5B52CB8AB}" dt="2023-02-10T03:01:07.308" v="2230" actId="478"/>
          <ac:spMkLst>
            <pc:docMk/>
            <pc:sldMk cId="385158906" sldId="2246"/>
            <ac:spMk id="15" creationId="{52BBE545-A76B-05AE-B447-E058E92E8E1F}"/>
          </ac:spMkLst>
        </pc:spChg>
        <pc:spChg chg="mod">
          <ac:chgData name="Aurelien Domont" userId="6da7715ce44349b3" providerId="LiveId" clId="{F5CB8D7B-D02E-4687-8CA4-C8B5B52CB8AB}" dt="2023-02-12T23:19:27.251" v="2933" actId="1076"/>
          <ac:spMkLst>
            <pc:docMk/>
            <pc:sldMk cId="385158906" sldId="2246"/>
            <ac:spMk id="16" creationId="{6C2BB713-9637-4B9B-938F-E9768876782A}"/>
          </ac:spMkLst>
        </pc:spChg>
        <pc:spChg chg="add mod">
          <ac:chgData name="Aurelien Domont" userId="6da7715ce44349b3" providerId="LiveId" clId="{F5CB8D7B-D02E-4687-8CA4-C8B5B52CB8AB}" dt="2023-02-12T23:22:14.699" v="2943" actId="20577"/>
          <ac:spMkLst>
            <pc:docMk/>
            <pc:sldMk cId="385158906" sldId="2246"/>
            <ac:spMk id="17" creationId="{8F32928B-E7F1-394A-A922-14606102FD00}"/>
          </ac:spMkLst>
        </pc:spChg>
        <pc:spChg chg="del">
          <ac:chgData name="Aurelien Domont" userId="6da7715ce44349b3" providerId="LiveId" clId="{F5CB8D7B-D02E-4687-8CA4-C8B5B52CB8AB}" dt="2023-02-10T01:19:30.882" v="1595" actId="478"/>
          <ac:spMkLst>
            <pc:docMk/>
            <pc:sldMk cId="385158906" sldId="2246"/>
            <ac:spMk id="19" creationId="{F4DC6C9C-FEC4-A87E-F2C9-60B29EAD92EF}"/>
          </ac:spMkLst>
        </pc:spChg>
        <pc:spChg chg="del">
          <ac:chgData name="Aurelien Domont" userId="6da7715ce44349b3" providerId="LiveId" clId="{F5CB8D7B-D02E-4687-8CA4-C8B5B52CB8AB}" dt="2023-02-10T01:19:30.882" v="1595" actId="478"/>
          <ac:spMkLst>
            <pc:docMk/>
            <pc:sldMk cId="385158906" sldId="2246"/>
            <ac:spMk id="20" creationId="{A0574671-B23B-772F-6693-BCD3981C3677}"/>
          </ac:spMkLst>
        </pc:spChg>
        <pc:spChg chg="add mod">
          <ac:chgData name="Aurelien Domont" userId="6da7715ce44349b3" providerId="LiveId" clId="{F5CB8D7B-D02E-4687-8CA4-C8B5B52CB8AB}" dt="2023-02-10T03:12:26.908" v="2714" actId="1037"/>
          <ac:spMkLst>
            <pc:docMk/>
            <pc:sldMk cId="385158906" sldId="2246"/>
            <ac:spMk id="21" creationId="{1F06CC97-512B-2D7B-5A66-0C032CAF702D}"/>
          </ac:spMkLst>
        </pc:spChg>
        <pc:spChg chg="del">
          <ac:chgData name="Aurelien Domont" userId="6da7715ce44349b3" providerId="LiveId" clId="{F5CB8D7B-D02E-4687-8CA4-C8B5B52CB8AB}" dt="2023-02-10T01:19:34.168" v="1597" actId="478"/>
          <ac:spMkLst>
            <pc:docMk/>
            <pc:sldMk cId="385158906" sldId="2246"/>
            <ac:spMk id="22" creationId="{314E2654-56C9-9C2D-32F5-A1AEE7D5D979}"/>
          </ac:spMkLst>
        </pc:spChg>
        <pc:spChg chg="del">
          <ac:chgData name="Aurelien Domont" userId="6da7715ce44349b3" providerId="LiveId" clId="{F5CB8D7B-D02E-4687-8CA4-C8B5B52CB8AB}" dt="2023-02-10T01:19:30.882" v="1595" actId="478"/>
          <ac:spMkLst>
            <pc:docMk/>
            <pc:sldMk cId="385158906" sldId="2246"/>
            <ac:spMk id="23" creationId="{157A999B-74A7-8710-1682-4882DF46A7A9}"/>
          </ac:spMkLst>
        </pc:spChg>
        <pc:spChg chg="add mod">
          <ac:chgData name="Aurelien Domont" userId="6da7715ce44349b3" providerId="LiveId" clId="{F5CB8D7B-D02E-4687-8CA4-C8B5B52CB8AB}" dt="2023-02-12T23:05:26.468" v="2908" actId="20577"/>
          <ac:spMkLst>
            <pc:docMk/>
            <pc:sldMk cId="385158906" sldId="2246"/>
            <ac:spMk id="26" creationId="{EBB92A26-784E-0EE9-CFC8-E79CCC2E991F}"/>
          </ac:spMkLst>
        </pc:spChg>
        <pc:picChg chg="add mod">
          <ac:chgData name="Aurelien Domont" userId="6da7715ce44349b3" providerId="LiveId" clId="{F5CB8D7B-D02E-4687-8CA4-C8B5B52CB8AB}" dt="2023-02-10T03:01:16.897" v="2308" actId="1037"/>
          <ac:picMkLst>
            <pc:docMk/>
            <pc:sldMk cId="385158906" sldId="2246"/>
            <ac:picMk id="9" creationId="{EA85ED6F-D741-2EE6-9E1E-79BDB781A61B}"/>
          </ac:picMkLst>
        </pc:picChg>
        <pc:picChg chg="add del mod modCrop">
          <ac:chgData name="Aurelien Domont" userId="6da7715ce44349b3" providerId="LiveId" clId="{F5CB8D7B-D02E-4687-8CA4-C8B5B52CB8AB}" dt="2023-02-10T03:01:07.308" v="2230" actId="478"/>
          <ac:picMkLst>
            <pc:docMk/>
            <pc:sldMk cId="385158906" sldId="2246"/>
            <ac:picMk id="14" creationId="{3D3BE849-13A9-950D-E3CF-F6100288F541}"/>
          </ac:picMkLst>
        </pc:picChg>
        <pc:picChg chg="del">
          <ac:chgData name="Aurelien Domont" userId="6da7715ce44349b3" providerId="LiveId" clId="{F5CB8D7B-D02E-4687-8CA4-C8B5B52CB8AB}" dt="2023-02-10T01:19:33.059" v="1596" actId="478"/>
          <ac:picMkLst>
            <pc:docMk/>
            <pc:sldMk cId="385158906" sldId="2246"/>
            <ac:picMk id="18" creationId="{9C08B6C3-5188-A352-7B13-E07DC65FB20A}"/>
          </ac:picMkLst>
        </pc:picChg>
        <pc:picChg chg="del">
          <ac:chgData name="Aurelien Domont" userId="6da7715ce44349b3" providerId="LiveId" clId="{F5CB8D7B-D02E-4687-8CA4-C8B5B52CB8AB}" dt="2023-02-10T01:19:30.882" v="1595" actId="478"/>
          <ac:picMkLst>
            <pc:docMk/>
            <pc:sldMk cId="385158906" sldId="2246"/>
            <ac:picMk id="24" creationId="{12E1674E-C479-979C-78F6-AACB8AC27007}"/>
          </ac:picMkLst>
        </pc:picChg>
        <pc:picChg chg="add mod">
          <ac:chgData name="Aurelien Domont" userId="6da7715ce44349b3" providerId="LiveId" clId="{F5CB8D7B-D02E-4687-8CA4-C8B5B52CB8AB}" dt="2023-02-10T03:12:26.908" v="2714" actId="1037"/>
          <ac:picMkLst>
            <pc:docMk/>
            <pc:sldMk cId="385158906" sldId="2246"/>
            <ac:picMk id="25" creationId="{31B108BD-86AD-33F0-0760-42E7A6CD28C6}"/>
          </ac:picMkLst>
        </pc:picChg>
      </pc:sldChg>
      <pc:sldChg chg="addSp delSp modSp add mod ord">
        <pc:chgData name="Aurelien Domont" userId="6da7715ce44349b3" providerId="LiveId" clId="{F5CB8D7B-D02E-4687-8CA4-C8B5B52CB8AB}" dt="2023-02-12T23:22:46.337" v="2944"/>
        <pc:sldMkLst>
          <pc:docMk/>
          <pc:sldMk cId="570517612" sldId="2247"/>
        </pc:sldMkLst>
        <pc:spChg chg="add del mod ord">
          <ac:chgData name="Aurelien Domont" userId="6da7715ce44349b3" providerId="LiveId" clId="{F5CB8D7B-D02E-4687-8CA4-C8B5B52CB8AB}" dt="2023-02-10T02:35:22.023" v="1856" actId="478"/>
          <ac:spMkLst>
            <pc:docMk/>
            <pc:sldMk cId="570517612" sldId="2247"/>
            <ac:spMk id="2" creationId="{9CB12421-F4E8-2256-1D85-4711258EBDAC}"/>
          </ac:spMkLst>
        </pc:spChg>
        <pc:spChg chg="add del mod">
          <ac:chgData name="Aurelien Domont" userId="6da7715ce44349b3" providerId="LiveId" clId="{F5CB8D7B-D02E-4687-8CA4-C8B5B52CB8AB}" dt="2023-02-10T02:57:16.885" v="2100" actId="478"/>
          <ac:spMkLst>
            <pc:docMk/>
            <pc:sldMk cId="570517612" sldId="2247"/>
            <ac:spMk id="3" creationId="{170B5735-97D0-DBFE-15EA-F7F9586EE6CD}"/>
          </ac:spMkLst>
        </pc:spChg>
        <pc:spChg chg="add del mod">
          <ac:chgData name="Aurelien Domont" userId="6da7715ce44349b3" providerId="LiveId" clId="{F5CB8D7B-D02E-4687-8CA4-C8B5B52CB8AB}" dt="2023-02-10T03:11:37.738" v="2688" actId="478"/>
          <ac:spMkLst>
            <pc:docMk/>
            <pc:sldMk cId="570517612" sldId="2247"/>
            <ac:spMk id="4" creationId="{4EBC6FCB-CAB5-66A6-D31E-0A9647AFBFD0}"/>
          </ac:spMkLst>
        </pc:spChg>
        <pc:spChg chg="add del mod">
          <ac:chgData name="Aurelien Domont" userId="6da7715ce44349b3" providerId="LiveId" clId="{F5CB8D7B-D02E-4687-8CA4-C8B5B52CB8AB}" dt="2023-02-10T02:57:16.885" v="2100" actId="478"/>
          <ac:spMkLst>
            <pc:docMk/>
            <pc:sldMk cId="570517612" sldId="2247"/>
            <ac:spMk id="5" creationId="{68B7294A-9D5C-8BA3-F1F0-25BD4DAD621C}"/>
          </ac:spMkLst>
        </pc:spChg>
        <pc:spChg chg="add del mod">
          <ac:chgData name="Aurelien Domont" userId="6da7715ce44349b3" providerId="LiveId" clId="{F5CB8D7B-D02E-4687-8CA4-C8B5B52CB8AB}" dt="2023-02-10T03:11:37.738" v="2688" actId="478"/>
          <ac:spMkLst>
            <pc:docMk/>
            <pc:sldMk cId="570517612" sldId="2247"/>
            <ac:spMk id="6" creationId="{9D83F8B7-7163-1C6C-BD7C-578B7F843275}"/>
          </ac:spMkLst>
        </pc:spChg>
        <pc:spChg chg="del">
          <ac:chgData name="Aurelien Domont" userId="6da7715ce44349b3" providerId="LiveId" clId="{F5CB8D7B-D02E-4687-8CA4-C8B5B52CB8AB}" dt="2023-02-10T02:35:53.130" v="1873" actId="478"/>
          <ac:spMkLst>
            <pc:docMk/>
            <pc:sldMk cId="570517612" sldId="2247"/>
            <ac:spMk id="7" creationId="{D6181D12-EE77-370A-B642-195CFA645DB3}"/>
          </ac:spMkLst>
        </pc:spChg>
        <pc:spChg chg="del">
          <ac:chgData name="Aurelien Domont" userId="6da7715ce44349b3" providerId="LiveId" clId="{F5CB8D7B-D02E-4687-8CA4-C8B5B52CB8AB}" dt="2023-02-10T02:35:53.130" v="1873" actId="478"/>
          <ac:spMkLst>
            <pc:docMk/>
            <pc:sldMk cId="570517612" sldId="2247"/>
            <ac:spMk id="8" creationId="{148FCC7F-FE0D-9C7A-5F9B-0196D0CBC769}"/>
          </ac:spMkLst>
        </pc:spChg>
        <pc:spChg chg="del">
          <ac:chgData name="Aurelien Domont" userId="6da7715ce44349b3" providerId="LiveId" clId="{F5CB8D7B-D02E-4687-8CA4-C8B5B52CB8AB}" dt="2023-02-10T02:35:53.130" v="1873" actId="478"/>
          <ac:spMkLst>
            <pc:docMk/>
            <pc:sldMk cId="570517612" sldId="2247"/>
            <ac:spMk id="11" creationId="{EDAF58AE-3825-62BE-64ED-DF2A3D34EDDA}"/>
          </ac:spMkLst>
        </pc:spChg>
        <pc:spChg chg="del mod">
          <ac:chgData name="Aurelien Domont" userId="6da7715ce44349b3" providerId="LiveId" clId="{F5CB8D7B-D02E-4687-8CA4-C8B5B52CB8AB}" dt="2023-02-10T02:35:53.130" v="1873" actId="478"/>
          <ac:spMkLst>
            <pc:docMk/>
            <pc:sldMk cId="570517612" sldId="2247"/>
            <ac:spMk id="12" creationId="{FD06379C-9DEF-1ED7-3641-6AD0ECC8E382}"/>
          </ac:spMkLst>
        </pc:spChg>
        <pc:spChg chg="mod">
          <ac:chgData name="Aurelien Domont" userId="6da7715ce44349b3" providerId="LiveId" clId="{F5CB8D7B-D02E-4687-8CA4-C8B5B52CB8AB}" dt="2023-02-10T03:11:42.581" v="2694" actId="20577"/>
          <ac:spMkLst>
            <pc:docMk/>
            <pc:sldMk cId="570517612" sldId="2247"/>
            <ac:spMk id="16" creationId="{6C2BB713-9637-4B9B-938F-E9768876782A}"/>
          </ac:spMkLst>
        </pc:spChg>
        <pc:spChg chg="add mod">
          <ac:chgData name="Aurelien Domont" userId="6da7715ce44349b3" providerId="LiveId" clId="{F5CB8D7B-D02E-4687-8CA4-C8B5B52CB8AB}" dt="2023-02-10T03:28:59.992" v="2812" actId="207"/>
          <ac:spMkLst>
            <pc:docMk/>
            <pc:sldMk cId="570517612" sldId="2247"/>
            <ac:spMk id="17" creationId="{1B99D992-7924-DCBD-CC52-F5716748C142}"/>
          </ac:spMkLst>
        </pc:spChg>
        <pc:spChg chg="add del mod">
          <ac:chgData name="Aurelien Domont" userId="6da7715ce44349b3" providerId="LiveId" clId="{F5CB8D7B-D02E-4687-8CA4-C8B5B52CB8AB}" dt="2023-02-10T03:11:37.738" v="2688" actId="478"/>
          <ac:spMkLst>
            <pc:docMk/>
            <pc:sldMk cId="570517612" sldId="2247"/>
            <ac:spMk id="18" creationId="{F1480C46-71EC-CFBF-8AC2-C90FCCF5945F}"/>
          </ac:spMkLst>
        </pc:spChg>
        <pc:spChg chg="add del mod">
          <ac:chgData name="Aurelien Domont" userId="6da7715ce44349b3" providerId="LiveId" clId="{F5CB8D7B-D02E-4687-8CA4-C8B5B52CB8AB}" dt="2023-02-10T03:11:37.738" v="2688" actId="478"/>
          <ac:spMkLst>
            <pc:docMk/>
            <pc:sldMk cId="570517612" sldId="2247"/>
            <ac:spMk id="19" creationId="{A5723CCA-B471-8DF4-BA2F-E9E48D7467EC}"/>
          </ac:spMkLst>
        </pc:spChg>
        <pc:spChg chg="add del mod">
          <ac:chgData name="Aurelien Domont" userId="6da7715ce44349b3" providerId="LiveId" clId="{F5CB8D7B-D02E-4687-8CA4-C8B5B52CB8AB}" dt="2023-02-10T03:12:37.865" v="2715" actId="478"/>
          <ac:spMkLst>
            <pc:docMk/>
            <pc:sldMk cId="570517612" sldId="2247"/>
            <ac:spMk id="20" creationId="{3DB3D683-C55D-4B8B-79A3-CA3B43C8AC9D}"/>
          </ac:spMkLst>
        </pc:spChg>
        <pc:spChg chg="add del mod">
          <ac:chgData name="Aurelien Domont" userId="6da7715ce44349b3" providerId="LiveId" clId="{F5CB8D7B-D02E-4687-8CA4-C8B5B52CB8AB}" dt="2023-02-10T03:12:37.865" v="2715" actId="478"/>
          <ac:spMkLst>
            <pc:docMk/>
            <pc:sldMk cId="570517612" sldId="2247"/>
            <ac:spMk id="22" creationId="{E84F2DAC-D0FA-1E21-96B3-8A75BFFFA2B5}"/>
          </ac:spMkLst>
        </pc:spChg>
        <pc:spChg chg="add del mod">
          <ac:chgData name="Aurelien Domont" userId="6da7715ce44349b3" providerId="LiveId" clId="{F5CB8D7B-D02E-4687-8CA4-C8B5B52CB8AB}" dt="2023-02-10T03:12:37.865" v="2715" actId="478"/>
          <ac:spMkLst>
            <pc:docMk/>
            <pc:sldMk cId="570517612" sldId="2247"/>
            <ac:spMk id="23" creationId="{6A74ABEB-5B12-5459-7E04-0FF2E4ED9329}"/>
          </ac:spMkLst>
        </pc:spChg>
        <pc:spChg chg="add del mod">
          <ac:chgData name="Aurelien Domont" userId="6da7715ce44349b3" providerId="LiveId" clId="{F5CB8D7B-D02E-4687-8CA4-C8B5B52CB8AB}" dt="2023-02-10T03:12:37.865" v="2715" actId="478"/>
          <ac:spMkLst>
            <pc:docMk/>
            <pc:sldMk cId="570517612" sldId="2247"/>
            <ac:spMk id="25" creationId="{1CA22341-9B96-B1FD-EEC8-86BF0A22A499}"/>
          </ac:spMkLst>
        </pc:spChg>
        <pc:spChg chg="add del mod">
          <ac:chgData name="Aurelien Domont" userId="6da7715ce44349b3" providerId="LiveId" clId="{F5CB8D7B-D02E-4687-8CA4-C8B5B52CB8AB}" dt="2023-02-10T03:12:40.105" v="2717"/>
          <ac:spMkLst>
            <pc:docMk/>
            <pc:sldMk cId="570517612" sldId="2247"/>
            <ac:spMk id="26" creationId="{39AC05AC-2DD1-4B0D-F49B-320FD5C07EAD}"/>
          </ac:spMkLst>
        </pc:spChg>
        <pc:spChg chg="add del mod">
          <ac:chgData name="Aurelien Domont" userId="6da7715ce44349b3" providerId="LiveId" clId="{F5CB8D7B-D02E-4687-8CA4-C8B5B52CB8AB}" dt="2023-02-10T03:12:40.105" v="2717"/>
          <ac:spMkLst>
            <pc:docMk/>
            <pc:sldMk cId="570517612" sldId="2247"/>
            <ac:spMk id="27" creationId="{777A402E-A134-C88C-3B23-DAC2A60F65BE}"/>
          </ac:spMkLst>
        </pc:spChg>
        <pc:spChg chg="add del mod">
          <ac:chgData name="Aurelien Domont" userId="6da7715ce44349b3" providerId="LiveId" clId="{F5CB8D7B-D02E-4687-8CA4-C8B5B52CB8AB}" dt="2023-02-10T03:12:40.105" v="2717"/>
          <ac:spMkLst>
            <pc:docMk/>
            <pc:sldMk cId="570517612" sldId="2247"/>
            <ac:spMk id="28" creationId="{A544F8EF-DEC3-BCC1-C62B-00C5DDE46EA5}"/>
          </ac:spMkLst>
        </pc:spChg>
        <pc:spChg chg="add del mod">
          <ac:chgData name="Aurelien Domont" userId="6da7715ce44349b3" providerId="LiveId" clId="{F5CB8D7B-D02E-4687-8CA4-C8B5B52CB8AB}" dt="2023-02-10T03:12:40.105" v="2717"/>
          <ac:spMkLst>
            <pc:docMk/>
            <pc:sldMk cId="570517612" sldId="2247"/>
            <ac:spMk id="30" creationId="{2996E359-1C8F-60F4-19A8-5E5CA8BBE5E0}"/>
          </ac:spMkLst>
        </pc:spChg>
        <pc:spChg chg="add mod">
          <ac:chgData name="Aurelien Domont" userId="6da7715ce44349b3" providerId="LiveId" clId="{F5CB8D7B-D02E-4687-8CA4-C8B5B52CB8AB}" dt="2023-02-10T03:12:46.767" v="2718"/>
          <ac:spMkLst>
            <pc:docMk/>
            <pc:sldMk cId="570517612" sldId="2247"/>
            <ac:spMk id="31" creationId="{BC4B5072-13DA-3F96-13AA-A03E288080C4}"/>
          </ac:spMkLst>
        </pc:spChg>
        <pc:spChg chg="add mod">
          <ac:chgData name="Aurelien Domont" userId="6da7715ce44349b3" providerId="LiveId" clId="{F5CB8D7B-D02E-4687-8CA4-C8B5B52CB8AB}" dt="2023-02-12T23:22:46.337" v="2944"/>
          <ac:spMkLst>
            <pc:docMk/>
            <pc:sldMk cId="570517612" sldId="2247"/>
            <ac:spMk id="33" creationId="{53F625DD-E9B7-2A73-8781-4EA5D49D8174}"/>
          </ac:spMkLst>
        </pc:spChg>
        <pc:spChg chg="add mod">
          <ac:chgData name="Aurelien Domont" userId="6da7715ce44349b3" providerId="LiveId" clId="{F5CB8D7B-D02E-4687-8CA4-C8B5B52CB8AB}" dt="2023-02-10T03:12:46.767" v="2718"/>
          <ac:spMkLst>
            <pc:docMk/>
            <pc:sldMk cId="570517612" sldId="2247"/>
            <ac:spMk id="34" creationId="{7133232E-B22B-53CF-B3FB-FDFCFA591D1C}"/>
          </ac:spMkLst>
        </pc:spChg>
        <pc:spChg chg="add mod">
          <ac:chgData name="Aurelien Domont" userId="6da7715ce44349b3" providerId="LiveId" clId="{F5CB8D7B-D02E-4687-8CA4-C8B5B52CB8AB}" dt="2023-02-12T23:18:00.232" v="2930"/>
          <ac:spMkLst>
            <pc:docMk/>
            <pc:sldMk cId="570517612" sldId="2247"/>
            <ac:spMk id="36" creationId="{60F0F4A5-4FA7-93B1-BDE0-D99F890D6F63}"/>
          </ac:spMkLst>
        </pc:spChg>
        <pc:picChg chg="del">
          <ac:chgData name="Aurelien Domont" userId="6da7715ce44349b3" providerId="LiveId" clId="{F5CB8D7B-D02E-4687-8CA4-C8B5B52CB8AB}" dt="2023-02-10T02:35:53.130" v="1873" actId="478"/>
          <ac:picMkLst>
            <pc:docMk/>
            <pc:sldMk cId="570517612" sldId="2247"/>
            <ac:picMk id="9" creationId="{EA85ED6F-D741-2EE6-9E1E-79BDB781A61B}"/>
          </ac:picMkLst>
        </pc:picChg>
        <pc:picChg chg="add del mod">
          <ac:chgData name="Aurelien Domont" userId="6da7715ce44349b3" providerId="LiveId" clId="{F5CB8D7B-D02E-4687-8CA4-C8B5B52CB8AB}" dt="2023-02-10T03:11:37.738" v="2688" actId="478"/>
          <ac:picMkLst>
            <pc:docMk/>
            <pc:sldMk cId="570517612" sldId="2247"/>
            <ac:picMk id="10" creationId="{FE4D5275-7A2E-BD52-7817-20C2230FFEC7}"/>
          </ac:picMkLst>
        </pc:picChg>
        <pc:picChg chg="del">
          <ac:chgData name="Aurelien Domont" userId="6da7715ce44349b3" providerId="LiveId" clId="{F5CB8D7B-D02E-4687-8CA4-C8B5B52CB8AB}" dt="2023-02-10T02:35:53.130" v="1873" actId="478"/>
          <ac:picMkLst>
            <pc:docMk/>
            <pc:sldMk cId="570517612" sldId="2247"/>
            <ac:picMk id="14" creationId="{3D3BE849-13A9-950D-E3CF-F6100288F541}"/>
          </ac:picMkLst>
        </pc:picChg>
        <pc:picChg chg="add del mod">
          <ac:chgData name="Aurelien Domont" userId="6da7715ce44349b3" providerId="LiveId" clId="{F5CB8D7B-D02E-4687-8CA4-C8B5B52CB8AB}" dt="2023-02-10T03:11:37.738" v="2688" actId="478"/>
          <ac:picMkLst>
            <pc:docMk/>
            <pc:sldMk cId="570517612" sldId="2247"/>
            <ac:picMk id="15" creationId="{C474CA1D-AA17-2896-8C98-D1268D637F1A}"/>
          </ac:picMkLst>
        </pc:picChg>
        <pc:picChg chg="add del mod">
          <ac:chgData name="Aurelien Domont" userId="6da7715ce44349b3" providerId="LiveId" clId="{F5CB8D7B-D02E-4687-8CA4-C8B5B52CB8AB}" dt="2023-02-10T03:12:37.865" v="2715" actId="478"/>
          <ac:picMkLst>
            <pc:docMk/>
            <pc:sldMk cId="570517612" sldId="2247"/>
            <ac:picMk id="21" creationId="{CE817ACD-CAE4-07AE-BA64-378B94DDCDE1}"/>
          </ac:picMkLst>
        </pc:picChg>
        <pc:picChg chg="add del mod">
          <ac:chgData name="Aurelien Domont" userId="6da7715ce44349b3" providerId="LiveId" clId="{F5CB8D7B-D02E-4687-8CA4-C8B5B52CB8AB}" dt="2023-02-10T03:12:37.865" v="2715" actId="478"/>
          <ac:picMkLst>
            <pc:docMk/>
            <pc:sldMk cId="570517612" sldId="2247"/>
            <ac:picMk id="24" creationId="{79E3A886-8E57-E307-660A-59BCC66D623C}"/>
          </ac:picMkLst>
        </pc:picChg>
        <pc:picChg chg="add del mod">
          <ac:chgData name="Aurelien Domont" userId="6da7715ce44349b3" providerId="LiveId" clId="{F5CB8D7B-D02E-4687-8CA4-C8B5B52CB8AB}" dt="2023-02-10T03:12:40.105" v="2717"/>
          <ac:picMkLst>
            <pc:docMk/>
            <pc:sldMk cId="570517612" sldId="2247"/>
            <ac:picMk id="29" creationId="{EF5CCA5B-5B7E-F025-DCEA-6EDC35A390F9}"/>
          </ac:picMkLst>
        </pc:picChg>
        <pc:picChg chg="add mod">
          <ac:chgData name="Aurelien Domont" userId="6da7715ce44349b3" providerId="LiveId" clId="{F5CB8D7B-D02E-4687-8CA4-C8B5B52CB8AB}" dt="2023-02-10T03:12:46.767" v="2718"/>
          <ac:picMkLst>
            <pc:docMk/>
            <pc:sldMk cId="570517612" sldId="2247"/>
            <ac:picMk id="32" creationId="{CA5DF2C3-390B-78C9-9543-8059A1844CB8}"/>
          </ac:picMkLst>
        </pc:picChg>
        <pc:picChg chg="add mod">
          <ac:chgData name="Aurelien Domont" userId="6da7715ce44349b3" providerId="LiveId" clId="{F5CB8D7B-D02E-4687-8CA4-C8B5B52CB8AB}" dt="2023-02-10T03:12:46.767" v="2718"/>
          <ac:picMkLst>
            <pc:docMk/>
            <pc:sldMk cId="570517612" sldId="2247"/>
            <ac:picMk id="35" creationId="{42515FC1-DD95-6B38-ABAE-7D16212C0312}"/>
          </ac:picMkLst>
        </pc:picChg>
      </pc:sldChg>
      <pc:sldChg chg="addSp delSp modSp add mod">
        <pc:chgData name="Aurelien Domont" userId="6da7715ce44349b3" providerId="LiveId" clId="{F5CB8D7B-D02E-4687-8CA4-C8B5B52CB8AB}" dt="2023-02-12T23:22:48.492" v="2945"/>
        <pc:sldMkLst>
          <pc:docMk/>
          <pc:sldMk cId="591372129" sldId="2248"/>
        </pc:sldMkLst>
        <pc:spChg chg="add mod">
          <ac:chgData name="Aurelien Domont" userId="6da7715ce44349b3" providerId="LiveId" clId="{F5CB8D7B-D02E-4687-8CA4-C8B5B52CB8AB}" dt="2023-02-10T03:29:05.008" v="2813" actId="207"/>
          <ac:spMkLst>
            <pc:docMk/>
            <pc:sldMk cId="591372129" sldId="2248"/>
            <ac:spMk id="2" creationId="{A4C3CC58-8FBB-AAD3-3A76-6489FD3164DD}"/>
          </ac:spMkLst>
        </pc:spChg>
        <pc:spChg chg="del mod">
          <ac:chgData name="Aurelien Domont" userId="6da7715ce44349b3" providerId="LiveId" clId="{F5CB8D7B-D02E-4687-8CA4-C8B5B52CB8AB}" dt="2023-02-10T03:12:08.015" v="2697" actId="478"/>
          <ac:spMkLst>
            <pc:docMk/>
            <pc:sldMk cId="591372129" sldId="2248"/>
            <ac:spMk id="3" creationId="{170B5735-97D0-DBFE-15EA-F7F9586EE6CD}"/>
          </ac:spMkLst>
        </pc:spChg>
        <pc:spChg chg="del">
          <ac:chgData name="Aurelien Domont" userId="6da7715ce44349b3" providerId="LiveId" clId="{F5CB8D7B-D02E-4687-8CA4-C8B5B52CB8AB}" dt="2023-02-10T03:12:08.015" v="2697" actId="478"/>
          <ac:spMkLst>
            <pc:docMk/>
            <pc:sldMk cId="591372129" sldId="2248"/>
            <ac:spMk id="4" creationId="{4EBC6FCB-CAB5-66A6-D31E-0A9647AFBFD0}"/>
          </ac:spMkLst>
        </pc:spChg>
        <pc:spChg chg="del mod">
          <ac:chgData name="Aurelien Domont" userId="6da7715ce44349b3" providerId="LiveId" clId="{F5CB8D7B-D02E-4687-8CA4-C8B5B52CB8AB}" dt="2023-02-10T03:12:08.015" v="2697" actId="478"/>
          <ac:spMkLst>
            <pc:docMk/>
            <pc:sldMk cId="591372129" sldId="2248"/>
            <ac:spMk id="5" creationId="{68B7294A-9D5C-8BA3-F1F0-25BD4DAD621C}"/>
          </ac:spMkLst>
        </pc:spChg>
        <pc:spChg chg="del">
          <ac:chgData name="Aurelien Domont" userId="6da7715ce44349b3" providerId="LiveId" clId="{F5CB8D7B-D02E-4687-8CA4-C8B5B52CB8AB}" dt="2023-02-10T03:12:08.015" v="2697" actId="478"/>
          <ac:spMkLst>
            <pc:docMk/>
            <pc:sldMk cId="591372129" sldId="2248"/>
            <ac:spMk id="6" creationId="{9D83F8B7-7163-1C6C-BD7C-578B7F843275}"/>
          </ac:spMkLst>
        </pc:spChg>
        <pc:spChg chg="add del mod">
          <ac:chgData name="Aurelien Domont" userId="6da7715ce44349b3" providerId="LiveId" clId="{F5CB8D7B-D02E-4687-8CA4-C8B5B52CB8AB}" dt="2023-02-10T03:13:05.471" v="2728" actId="478"/>
          <ac:spMkLst>
            <pc:docMk/>
            <pc:sldMk cId="591372129" sldId="2248"/>
            <ac:spMk id="7" creationId="{94F13877-A743-355D-DBC2-4DF1D634D0DD}"/>
          </ac:spMkLst>
        </pc:spChg>
        <pc:spChg chg="add del mod">
          <ac:chgData name="Aurelien Domont" userId="6da7715ce44349b3" providerId="LiveId" clId="{F5CB8D7B-D02E-4687-8CA4-C8B5B52CB8AB}" dt="2023-02-10T03:13:05.471" v="2728" actId="478"/>
          <ac:spMkLst>
            <pc:docMk/>
            <pc:sldMk cId="591372129" sldId="2248"/>
            <ac:spMk id="9" creationId="{5DD1AAF1-6738-98E3-0E60-1024D2C204BF}"/>
          </ac:spMkLst>
        </pc:spChg>
        <pc:spChg chg="add del mod">
          <ac:chgData name="Aurelien Domont" userId="6da7715ce44349b3" providerId="LiveId" clId="{F5CB8D7B-D02E-4687-8CA4-C8B5B52CB8AB}" dt="2023-02-10T03:13:05.471" v="2728" actId="478"/>
          <ac:spMkLst>
            <pc:docMk/>
            <pc:sldMk cId="591372129" sldId="2248"/>
            <ac:spMk id="11" creationId="{0E7C0DDE-BF1B-7B15-8A3F-5DCB240FF560}"/>
          </ac:spMkLst>
        </pc:spChg>
        <pc:spChg chg="add del mod">
          <ac:chgData name="Aurelien Domont" userId="6da7715ce44349b3" providerId="LiveId" clId="{F5CB8D7B-D02E-4687-8CA4-C8B5B52CB8AB}" dt="2023-02-10T03:13:05.471" v="2728" actId="478"/>
          <ac:spMkLst>
            <pc:docMk/>
            <pc:sldMk cId="591372129" sldId="2248"/>
            <ac:spMk id="14" creationId="{F31F434B-6B34-4512-A943-66089DC1E7DC}"/>
          </ac:spMkLst>
        </pc:spChg>
        <pc:spChg chg="mod">
          <ac:chgData name="Aurelien Domont" userId="6da7715ce44349b3" providerId="LiveId" clId="{F5CB8D7B-D02E-4687-8CA4-C8B5B52CB8AB}" dt="2023-02-10T03:13:01.695" v="2727" actId="20577"/>
          <ac:spMkLst>
            <pc:docMk/>
            <pc:sldMk cId="591372129" sldId="2248"/>
            <ac:spMk id="16" creationId="{6C2BB713-9637-4B9B-938F-E9768876782A}"/>
          </ac:spMkLst>
        </pc:spChg>
        <pc:spChg chg="del">
          <ac:chgData name="Aurelien Domont" userId="6da7715ce44349b3" providerId="LiveId" clId="{F5CB8D7B-D02E-4687-8CA4-C8B5B52CB8AB}" dt="2023-02-10T02:42:28.287" v="2036" actId="478"/>
          <ac:spMkLst>
            <pc:docMk/>
            <pc:sldMk cId="591372129" sldId="2248"/>
            <ac:spMk id="17" creationId="{1B99D992-7924-DCBD-CC52-F5716748C142}"/>
          </ac:spMkLst>
        </pc:spChg>
        <pc:spChg chg="add mod">
          <ac:chgData name="Aurelien Domont" userId="6da7715ce44349b3" providerId="LiveId" clId="{F5CB8D7B-D02E-4687-8CA4-C8B5B52CB8AB}" dt="2023-02-10T03:13:06.309" v="2729"/>
          <ac:spMkLst>
            <pc:docMk/>
            <pc:sldMk cId="591372129" sldId="2248"/>
            <ac:spMk id="18" creationId="{1FDC8A2E-D1E8-24A7-8C43-CEB8EB4B3A52}"/>
          </ac:spMkLst>
        </pc:spChg>
        <pc:spChg chg="add mod">
          <ac:chgData name="Aurelien Domont" userId="6da7715ce44349b3" providerId="LiveId" clId="{F5CB8D7B-D02E-4687-8CA4-C8B5B52CB8AB}" dt="2023-02-12T23:22:48.492" v="2945"/>
          <ac:spMkLst>
            <pc:docMk/>
            <pc:sldMk cId="591372129" sldId="2248"/>
            <ac:spMk id="20" creationId="{2F934980-98FC-0759-3129-3D23990BF772}"/>
          </ac:spMkLst>
        </pc:spChg>
        <pc:spChg chg="add mod">
          <ac:chgData name="Aurelien Domont" userId="6da7715ce44349b3" providerId="LiveId" clId="{F5CB8D7B-D02E-4687-8CA4-C8B5B52CB8AB}" dt="2023-02-10T03:13:06.309" v="2729"/>
          <ac:spMkLst>
            <pc:docMk/>
            <pc:sldMk cId="591372129" sldId="2248"/>
            <ac:spMk id="21" creationId="{2296E191-AF6F-B7FA-9167-E02D3AE37DE3}"/>
          </ac:spMkLst>
        </pc:spChg>
        <pc:spChg chg="add mod">
          <ac:chgData name="Aurelien Domont" userId="6da7715ce44349b3" providerId="LiveId" clId="{F5CB8D7B-D02E-4687-8CA4-C8B5B52CB8AB}" dt="2023-02-12T23:18:03.187" v="2931"/>
          <ac:spMkLst>
            <pc:docMk/>
            <pc:sldMk cId="591372129" sldId="2248"/>
            <ac:spMk id="23" creationId="{6ED26E69-DA2C-D3B7-5891-3E3C5A5D4372}"/>
          </ac:spMkLst>
        </pc:spChg>
        <pc:picChg chg="add del mod">
          <ac:chgData name="Aurelien Domont" userId="6da7715ce44349b3" providerId="LiveId" clId="{F5CB8D7B-D02E-4687-8CA4-C8B5B52CB8AB}" dt="2023-02-10T03:13:05.471" v="2728" actId="478"/>
          <ac:picMkLst>
            <pc:docMk/>
            <pc:sldMk cId="591372129" sldId="2248"/>
            <ac:picMk id="8" creationId="{E130D3DD-7F14-B2BF-DD24-A83FCB846BBF}"/>
          </ac:picMkLst>
        </pc:picChg>
        <pc:picChg chg="del">
          <ac:chgData name="Aurelien Domont" userId="6da7715ce44349b3" providerId="LiveId" clId="{F5CB8D7B-D02E-4687-8CA4-C8B5B52CB8AB}" dt="2023-02-10T03:12:08.015" v="2697" actId="478"/>
          <ac:picMkLst>
            <pc:docMk/>
            <pc:sldMk cId="591372129" sldId="2248"/>
            <ac:picMk id="10" creationId="{FE4D5275-7A2E-BD52-7817-20C2230FFEC7}"/>
          </ac:picMkLst>
        </pc:picChg>
        <pc:picChg chg="add del mod">
          <ac:chgData name="Aurelien Domont" userId="6da7715ce44349b3" providerId="LiveId" clId="{F5CB8D7B-D02E-4687-8CA4-C8B5B52CB8AB}" dt="2023-02-10T03:13:05.471" v="2728" actId="478"/>
          <ac:picMkLst>
            <pc:docMk/>
            <pc:sldMk cId="591372129" sldId="2248"/>
            <ac:picMk id="12" creationId="{1BF72262-6711-71D3-76B8-D454549B5934}"/>
          </ac:picMkLst>
        </pc:picChg>
        <pc:picChg chg="del">
          <ac:chgData name="Aurelien Domont" userId="6da7715ce44349b3" providerId="LiveId" clId="{F5CB8D7B-D02E-4687-8CA4-C8B5B52CB8AB}" dt="2023-02-10T03:12:08.015" v="2697" actId="478"/>
          <ac:picMkLst>
            <pc:docMk/>
            <pc:sldMk cId="591372129" sldId="2248"/>
            <ac:picMk id="15" creationId="{C474CA1D-AA17-2896-8C98-D1268D637F1A}"/>
          </ac:picMkLst>
        </pc:picChg>
        <pc:picChg chg="add mod">
          <ac:chgData name="Aurelien Domont" userId="6da7715ce44349b3" providerId="LiveId" clId="{F5CB8D7B-D02E-4687-8CA4-C8B5B52CB8AB}" dt="2023-02-10T03:13:06.309" v="2729"/>
          <ac:picMkLst>
            <pc:docMk/>
            <pc:sldMk cId="591372129" sldId="2248"/>
            <ac:picMk id="19" creationId="{D412AF7F-091B-7FEF-944F-03FA31E6C6C4}"/>
          </ac:picMkLst>
        </pc:picChg>
        <pc:picChg chg="add mod">
          <ac:chgData name="Aurelien Domont" userId="6da7715ce44349b3" providerId="LiveId" clId="{F5CB8D7B-D02E-4687-8CA4-C8B5B52CB8AB}" dt="2023-02-10T03:13:06.309" v="2729"/>
          <ac:picMkLst>
            <pc:docMk/>
            <pc:sldMk cId="591372129" sldId="2248"/>
            <ac:picMk id="22" creationId="{584519FD-0F2C-95D7-A61C-3D8BD28A2078}"/>
          </ac:picMkLst>
        </pc:picChg>
      </pc:sldChg>
      <pc:sldChg chg="addSp delSp modSp add mod">
        <pc:chgData name="Aurelien Domont" userId="6da7715ce44349b3" providerId="LiveId" clId="{F5CB8D7B-D02E-4687-8CA4-C8B5B52CB8AB}" dt="2023-02-10T03:15:39.961" v="2781" actId="478"/>
        <pc:sldMkLst>
          <pc:docMk/>
          <pc:sldMk cId="516191779" sldId="2249"/>
        </pc:sldMkLst>
        <pc:spChg chg="mod">
          <ac:chgData name="Aurelien Domont" userId="6da7715ce44349b3" providerId="LiveId" clId="{F5CB8D7B-D02E-4687-8CA4-C8B5B52CB8AB}" dt="2023-02-10T03:14:30.477" v="2766" actId="20577"/>
          <ac:spMkLst>
            <pc:docMk/>
            <pc:sldMk cId="516191779" sldId="2249"/>
            <ac:spMk id="2" creationId="{7A5D0868-4609-4523-9D64-D782C7DCD514}"/>
          </ac:spMkLst>
        </pc:spChg>
        <pc:spChg chg="del">
          <ac:chgData name="Aurelien Domont" userId="6da7715ce44349b3" providerId="LiveId" clId="{F5CB8D7B-D02E-4687-8CA4-C8B5B52CB8AB}" dt="2023-02-10T03:14:33.513" v="2767" actId="478"/>
          <ac:spMkLst>
            <pc:docMk/>
            <pc:sldMk cId="516191779" sldId="2249"/>
            <ac:spMk id="3" creationId="{DD64F0A8-E645-44FC-8F7A-F740D6D05C65}"/>
          </ac:spMkLst>
        </pc:spChg>
        <pc:spChg chg="add del mod">
          <ac:chgData name="Aurelien Domont" userId="6da7715ce44349b3" providerId="LiveId" clId="{F5CB8D7B-D02E-4687-8CA4-C8B5B52CB8AB}" dt="2023-02-10T03:14:36.304" v="2770" actId="478"/>
          <ac:spMkLst>
            <pc:docMk/>
            <pc:sldMk cId="516191779" sldId="2249"/>
            <ac:spMk id="5" creationId="{E26435E0-E506-239F-3756-177E2CFA8792}"/>
          </ac:spMkLst>
        </pc:spChg>
        <pc:spChg chg="add mod">
          <ac:chgData name="Aurelien Domont" userId="6da7715ce44349b3" providerId="LiveId" clId="{F5CB8D7B-D02E-4687-8CA4-C8B5B52CB8AB}" dt="2023-02-10T03:15:01.678" v="2778" actId="1582"/>
          <ac:spMkLst>
            <pc:docMk/>
            <pc:sldMk cId="516191779" sldId="2249"/>
            <ac:spMk id="10" creationId="{DA9C50CF-20AD-CA4B-9A50-5E35EF7FDFFE}"/>
          </ac:spMkLst>
        </pc:spChg>
        <pc:picChg chg="add del">
          <ac:chgData name="Aurelien Domont" userId="6da7715ce44349b3" providerId="LiveId" clId="{F5CB8D7B-D02E-4687-8CA4-C8B5B52CB8AB}" dt="2023-02-10T03:14:34.852" v="2769" actId="22"/>
          <ac:picMkLst>
            <pc:docMk/>
            <pc:sldMk cId="516191779" sldId="2249"/>
            <ac:picMk id="7" creationId="{DAD3F97E-66B0-23A8-7485-FDC842C2B861}"/>
          </ac:picMkLst>
        </pc:picChg>
        <pc:picChg chg="add mod">
          <ac:chgData name="Aurelien Domont" userId="6da7715ce44349b3" providerId="LiveId" clId="{F5CB8D7B-D02E-4687-8CA4-C8B5B52CB8AB}" dt="2023-02-10T03:14:48.143" v="2774" actId="1440"/>
          <ac:picMkLst>
            <pc:docMk/>
            <pc:sldMk cId="516191779" sldId="2249"/>
            <ac:picMk id="9" creationId="{0D628873-7B6C-4A68-9667-B86040D79729}"/>
          </ac:picMkLst>
        </pc:picChg>
        <pc:picChg chg="add del">
          <ac:chgData name="Aurelien Domont" userId="6da7715ce44349b3" providerId="LiveId" clId="{F5CB8D7B-D02E-4687-8CA4-C8B5B52CB8AB}" dt="2023-02-10T03:15:39.961" v="2781" actId="478"/>
          <ac:picMkLst>
            <pc:docMk/>
            <pc:sldMk cId="516191779" sldId="2249"/>
            <ac:picMk id="12" creationId="{34F822E0-483C-FD36-0B5E-962774264B5D}"/>
          </ac:picMkLst>
        </pc:picChg>
      </pc:sldChg>
      <pc:sldChg chg="addSp delSp modSp add mod">
        <pc:chgData name="Aurelien Domont" userId="6da7715ce44349b3" providerId="LiveId" clId="{F5CB8D7B-D02E-4687-8CA4-C8B5B52CB8AB}" dt="2023-02-10T03:18:25.998" v="2808" actId="1036"/>
        <pc:sldMkLst>
          <pc:docMk/>
          <pc:sldMk cId="1102206935" sldId="2250"/>
        </pc:sldMkLst>
        <pc:spChg chg="mod">
          <ac:chgData name="Aurelien Domont" userId="6da7715ce44349b3" providerId="LiveId" clId="{F5CB8D7B-D02E-4687-8CA4-C8B5B52CB8AB}" dt="2023-02-10T03:16:15.577" v="2791" actId="20577"/>
          <ac:spMkLst>
            <pc:docMk/>
            <pc:sldMk cId="1102206935" sldId="2250"/>
            <ac:spMk id="2" creationId="{7A5D0868-4609-4523-9D64-D782C7DCD514}"/>
          </ac:spMkLst>
        </pc:spChg>
        <pc:spChg chg="add del mod">
          <ac:chgData name="Aurelien Domont" userId="6da7715ce44349b3" providerId="LiveId" clId="{F5CB8D7B-D02E-4687-8CA4-C8B5B52CB8AB}" dt="2023-02-10T03:18:23.396" v="2806" actId="478"/>
          <ac:spMkLst>
            <pc:docMk/>
            <pc:sldMk cId="1102206935" sldId="2250"/>
            <ac:spMk id="4" creationId="{9C70E15C-5CEA-46B0-C2D2-43FF902BBD85}"/>
          </ac:spMkLst>
        </pc:spChg>
        <pc:spChg chg="del">
          <ac:chgData name="Aurelien Domont" userId="6da7715ce44349b3" providerId="LiveId" clId="{F5CB8D7B-D02E-4687-8CA4-C8B5B52CB8AB}" dt="2023-02-10T03:15:46.975" v="2785" actId="478"/>
          <ac:spMkLst>
            <pc:docMk/>
            <pc:sldMk cId="1102206935" sldId="2250"/>
            <ac:spMk id="10" creationId="{DA9C50CF-20AD-CA4B-9A50-5E35EF7FDFFE}"/>
          </ac:spMkLst>
        </pc:spChg>
        <pc:picChg chg="add del mod">
          <ac:chgData name="Aurelien Domont" userId="6da7715ce44349b3" providerId="LiveId" clId="{F5CB8D7B-D02E-4687-8CA4-C8B5B52CB8AB}" dt="2023-02-10T03:18:22.829" v="2805" actId="478"/>
          <ac:picMkLst>
            <pc:docMk/>
            <pc:sldMk cId="1102206935" sldId="2250"/>
            <ac:picMk id="3" creationId="{634C7D64-D257-FA1F-A0DA-C6BB04C24527}"/>
          </ac:picMkLst>
        </pc:picChg>
        <pc:picChg chg="add mod">
          <ac:chgData name="Aurelien Domont" userId="6da7715ce44349b3" providerId="LiveId" clId="{F5CB8D7B-D02E-4687-8CA4-C8B5B52CB8AB}" dt="2023-02-10T03:18:25.998" v="2808" actId="1036"/>
          <ac:picMkLst>
            <pc:docMk/>
            <pc:sldMk cId="1102206935" sldId="2250"/>
            <ac:picMk id="6" creationId="{EC7A6D69-C8BC-DACA-0970-78E556C06BA1}"/>
          </ac:picMkLst>
        </pc:picChg>
        <pc:picChg chg="del mod">
          <ac:chgData name="Aurelien Domont" userId="6da7715ce44349b3" providerId="LiveId" clId="{F5CB8D7B-D02E-4687-8CA4-C8B5B52CB8AB}" dt="2023-02-10T03:15:45.731" v="2784" actId="478"/>
          <ac:picMkLst>
            <pc:docMk/>
            <pc:sldMk cId="1102206935" sldId="2250"/>
            <ac:picMk id="9" creationId="{0D628873-7B6C-4A68-9667-B86040D79729}"/>
          </ac:picMkLst>
        </pc:picChg>
        <pc:picChg chg="del mod">
          <ac:chgData name="Aurelien Domont" userId="6da7715ce44349b3" providerId="LiveId" clId="{F5CB8D7B-D02E-4687-8CA4-C8B5B52CB8AB}" dt="2023-02-10T03:18:09.313" v="2800" actId="478"/>
          <ac:picMkLst>
            <pc:docMk/>
            <pc:sldMk cId="1102206935" sldId="2250"/>
            <ac:picMk id="12" creationId="{34F822E0-483C-FD36-0B5E-962774264B5D}"/>
          </ac:picMkLst>
        </pc:picChg>
      </pc:sldChg>
      <pc:sldChg chg="add del">
        <pc:chgData name="Aurelien Domont" userId="6da7715ce44349b3" providerId="LiveId" clId="{F5CB8D7B-D02E-4687-8CA4-C8B5B52CB8AB}" dt="2023-03-09T04:11:40.983" v="3204" actId="47"/>
        <pc:sldMkLst>
          <pc:docMk/>
          <pc:sldMk cId="2464805258" sldId="2251"/>
        </pc:sldMkLst>
      </pc:sldChg>
      <pc:sldChg chg="addSp modSp add mod">
        <pc:chgData name="Aurelien Domont" userId="6da7715ce44349b3" providerId="LiveId" clId="{F5CB8D7B-D02E-4687-8CA4-C8B5B52CB8AB}" dt="2023-07-21T04:47:21.388" v="3555" actId="20577"/>
        <pc:sldMkLst>
          <pc:docMk/>
          <pc:sldMk cId="2511350442" sldId="2251"/>
        </pc:sldMkLst>
        <pc:spChg chg="mod">
          <ac:chgData name="Aurelien Domont" userId="6da7715ce44349b3" providerId="LiveId" clId="{F5CB8D7B-D02E-4687-8CA4-C8B5B52CB8AB}" dt="2023-07-21T04:47:21.388" v="3555" actId="20577"/>
          <ac:spMkLst>
            <pc:docMk/>
            <pc:sldMk cId="2511350442" sldId="2251"/>
            <ac:spMk id="2" creationId="{406113FD-AA7D-4249-90D7-70AF85BE48E1}"/>
          </ac:spMkLst>
        </pc:spChg>
        <pc:spChg chg="mod">
          <ac:chgData name="Aurelien Domont" userId="6da7715ce44349b3" providerId="LiveId" clId="{F5CB8D7B-D02E-4687-8CA4-C8B5B52CB8AB}" dt="2023-06-30T02:01:01.163" v="3533" actId="14100"/>
          <ac:spMkLst>
            <pc:docMk/>
            <pc:sldMk cId="2511350442" sldId="2251"/>
            <ac:spMk id="7" creationId="{558C421E-7E39-A570-32F6-06E68C1EEE4C}"/>
          </ac:spMkLst>
        </pc:spChg>
        <pc:spChg chg="mod">
          <ac:chgData name="Aurelien Domont" userId="6da7715ce44349b3" providerId="LiveId" clId="{F5CB8D7B-D02E-4687-8CA4-C8B5B52CB8AB}" dt="2023-06-30T02:01:12.255" v="3534" actId="1035"/>
          <ac:spMkLst>
            <pc:docMk/>
            <pc:sldMk cId="2511350442" sldId="2251"/>
            <ac:spMk id="13" creationId="{0E23EC02-6B77-6CEF-E611-0B3B5F316F80}"/>
          </ac:spMkLst>
        </pc:spChg>
        <pc:spChg chg="mod">
          <ac:chgData name="Aurelien Domont" userId="6da7715ce44349b3" providerId="LiveId" clId="{F5CB8D7B-D02E-4687-8CA4-C8B5B52CB8AB}" dt="2023-06-30T02:01:16.351" v="3535" actId="1035"/>
          <ac:spMkLst>
            <pc:docMk/>
            <pc:sldMk cId="2511350442" sldId="2251"/>
            <ac:spMk id="14" creationId="{226D134D-00A2-6215-0DE7-20ED9C1FAE02}"/>
          </ac:spMkLst>
        </pc:spChg>
        <pc:spChg chg="mod">
          <ac:chgData name="Aurelien Domont" userId="6da7715ce44349b3" providerId="LiveId" clId="{F5CB8D7B-D02E-4687-8CA4-C8B5B52CB8AB}" dt="2023-06-30T02:01:20.118" v="3536" actId="1035"/>
          <ac:spMkLst>
            <pc:docMk/>
            <pc:sldMk cId="2511350442" sldId="2251"/>
            <ac:spMk id="15" creationId="{5F375674-5BD0-C95E-E34C-189DC46EB9EF}"/>
          </ac:spMkLst>
        </pc:spChg>
        <pc:spChg chg="mod">
          <ac:chgData name="Aurelien Domont" userId="6da7715ce44349b3" providerId="LiveId" clId="{F5CB8D7B-D02E-4687-8CA4-C8B5B52CB8AB}" dt="2023-06-30T02:01:01.163" v="3533" actId="14100"/>
          <ac:spMkLst>
            <pc:docMk/>
            <pc:sldMk cId="2511350442" sldId="2251"/>
            <ac:spMk id="71" creationId="{0B25308B-BA59-713F-CA3D-FA80A61921D5}"/>
          </ac:spMkLst>
        </pc:spChg>
        <pc:spChg chg="mod">
          <ac:chgData name="Aurelien Domont" userId="6da7715ce44349b3" providerId="LiveId" clId="{F5CB8D7B-D02E-4687-8CA4-C8B5B52CB8AB}" dt="2023-06-30T02:01:01.163" v="3533" actId="14100"/>
          <ac:spMkLst>
            <pc:docMk/>
            <pc:sldMk cId="2511350442" sldId="2251"/>
            <ac:spMk id="84" creationId="{931A116A-B170-8576-3191-4E44AFFC3690}"/>
          </ac:spMkLst>
        </pc:spChg>
        <pc:spChg chg="mod">
          <ac:chgData name="Aurelien Domont" userId="6da7715ce44349b3" providerId="LiveId" clId="{F5CB8D7B-D02E-4687-8CA4-C8B5B52CB8AB}" dt="2023-06-30T02:01:01.163" v="3533" actId="14100"/>
          <ac:spMkLst>
            <pc:docMk/>
            <pc:sldMk cId="2511350442" sldId="2251"/>
            <ac:spMk id="89" creationId="{C95656C4-FDF4-F11B-2233-D90FF6F01C33}"/>
          </ac:spMkLst>
        </pc:spChg>
        <pc:spChg chg="mod">
          <ac:chgData name="Aurelien Domont" userId="6da7715ce44349b3" providerId="LiveId" clId="{F5CB8D7B-D02E-4687-8CA4-C8B5B52CB8AB}" dt="2023-06-30T02:01:01.163" v="3533" actId="14100"/>
          <ac:spMkLst>
            <pc:docMk/>
            <pc:sldMk cId="2511350442" sldId="2251"/>
            <ac:spMk id="94" creationId="{289EAC2A-EC1E-0B00-D53D-0E1A9715FF82}"/>
          </ac:spMkLst>
        </pc:spChg>
        <pc:spChg chg="mod">
          <ac:chgData name="Aurelien Domont" userId="6da7715ce44349b3" providerId="LiveId" clId="{F5CB8D7B-D02E-4687-8CA4-C8B5B52CB8AB}" dt="2023-06-30T02:01:12.255" v="3534" actId="1035"/>
          <ac:spMkLst>
            <pc:docMk/>
            <pc:sldMk cId="2511350442" sldId="2251"/>
            <ac:spMk id="117" creationId="{9BE8DF50-1016-DA34-1E4C-0DD9311F792A}"/>
          </ac:spMkLst>
        </pc:spChg>
        <pc:spChg chg="mod">
          <ac:chgData name="Aurelien Domont" userId="6da7715ce44349b3" providerId="LiveId" clId="{F5CB8D7B-D02E-4687-8CA4-C8B5B52CB8AB}" dt="2023-06-30T02:01:12.255" v="3534" actId="1035"/>
          <ac:spMkLst>
            <pc:docMk/>
            <pc:sldMk cId="2511350442" sldId="2251"/>
            <ac:spMk id="118" creationId="{E62805BF-A250-5D41-EA3C-FA0A06FD0099}"/>
          </ac:spMkLst>
        </pc:spChg>
        <pc:spChg chg="mod">
          <ac:chgData name="Aurelien Domont" userId="6da7715ce44349b3" providerId="LiveId" clId="{F5CB8D7B-D02E-4687-8CA4-C8B5B52CB8AB}" dt="2023-06-30T02:01:12.255" v="3534" actId="1035"/>
          <ac:spMkLst>
            <pc:docMk/>
            <pc:sldMk cId="2511350442" sldId="2251"/>
            <ac:spMk id="119" creationId="{7FB344A7-AF23-1466-E4A7-7D4A798C3535}"/>
          </ac:spMkLst>
        </pc:spChg>
        <pc:spChg chg="mod">
          <ac:chgData name="Aurelien Domont" userId="6da7715ce44349b3" providerId="LiveId" clId="{F5CB8D7B-D02E-4687-8CA4-C8B5B52CB8AB}" dt="2023-06-30T02:01:12.255" v="3534" actId="1035"/>
          <ac:spMkLst>
            <pc:docMk/>
            <pc:sldMk cId="2511350442" sldId="2251"/>
            <ac:spMk id="120" creationId="{22E395D8-1FE6-5ECF-3FF8-4A223673D9C7}"/>
          </ac:spMkLst>
        </pc:spChg>
        <pc:spChg chg="mod">
          <ac:chgData name="Aurelien Domont" userId="6da7715ce44349b3" providerId="LiveId" clId="{F5CB8D7B-D02E-4687-8CA4-C8B5B52CB8AB}" dt="2023-06-30T02:01:16.351" v="3535" actId="1035"/>
          <ac:spMkLst>
            <pc:docMk/>
            <pc:sldMk cId="2511350442" sldId="2251"/>
            <ac:spMk id="121" creationId="{8E8208E4-CB0D-6EF1-2429-8C15E934AE8D}"/>
          </ac:spMkLst>
        </pc:spChg>
        <pc:spChg chg="mod">
          <ac:chgData name="Aurelien Domont" userId="6da7715ce44349b3" providerId="LiveId" clId="{F5CB8D7B-D02E-4687-8CA4-C8B5B52CB8AB}" dt="2023-06-30T02:01:16.351" v="3535" actId="1035"/>
          <ac:spMkLst>
            <pc:docMk/>
            <pc:sldMk cId="2511350442" sldId="2251"/>
            <ac:spMk id="122" creationId="{46586B85-E52C-2304-9CD4-976D9E4E39F4}"/>
          </ac:spMkLst>
        </pc:spChg>
        <pc:spChg chg="mod">
          <ac:chgData name="Aurelien Domont" userId="6da7715ce44349b3" providerId="LiveId" clId="{F5CB8D7B-D02E-4687-8CA4-C8B5B52CB8AB}" dt="2023-06-30T02:01:16.351" v="3535" actId="1035"/>
          <ac:spMkLst>
            <pc:docMk/>
            <pc:sldMk cId="2511350442" sldId="2251"/>
            <ac:spMk id="123" creationId="{7D90D3F8-D499-B2F3-DF04-A850A95591F9}"/>
          </ac:spMkLst>
        </pc:spChg>
        <pc:spChg chg="mod">
          <ac:chgData name="Aurelien Domont" userId="6da7715ce44349b3" providerId="LiveId" clId="{F5CB8D7B-D02E-4687-8CA4-C8B5B52CB8AB}" dt="2023-06-30T02:01:16.351" v="3535" actId="1035"/>
          <ac:spMkLst>
            <pc:docMk/>
            <pc:sldMk cId="2511350442" sldId="2251"/>
            <ac:spMk id="124" creationId="{5930397F-943F-658A-4AAD-01CA87EAC506}"/>
          </ac:spMkLst>
        </pc:spChg>
        <pc:spChg chg="mod">
          <ac:chgData name="Aurelien Domont" userId="6da7715ce44349b3" providerId="LiveId" clId="{F5CB8D7B-D02E-4687-8CA4-C8B5B52CB8AB}" dt="2023-06-30T02:01:20.118" v="3536" actId="1035"/>
          <ac:spMkLst>
            <pc:docMk/>
            <pc:sldMk cId="2511350442" sldId="2251"/>
            <ac:spMk id="125" creationId="{6B74E3D5-B63B-6A46-F024-0449A85EA0A4}"/>
          </ac:spMkLst>
        </pc:spChg>
        <pc:spChg chg="mod">
          <ac:chgData name="Aurelien Domont" userId="6da7715ce44349b3" providerId="LiveId" clId="{F5CB8D7B-D02E-4687-8CA4-C8B5B52CB8AB}" dt="2023-06-30T02:01:20.118" v="3536" actId="1035"/>
          <ac:spMkLst>
            <pc:docMk/>
            <pc:sldMk cId="2511350442" sldId="2251"/>
            <ac:spMk id="126" creationId="{8D04E3C5-6CEE-C8B9-B7E0-3A047CB47462}"/>
          </ac:spMkLst>
        </pc:spChg>
        <pc:spChg chg="mod">
          <ac:chgData name="Aurelien Domont" userId="6da7715ce44349b3" providerId="LiveId" clId="{F5CB8D7B-D02E-4687-8CA4-C8B5B52CB8AB}" dt="2023-07-21T04:45:33.678" v="3544" actId="20577"/>
          <ac:spMkLst>
            <pc:docMk/>
            <pc:sldMk cId="2511350442" sldId="2251"/>
            <ac:spMk id="127" creationId="{1607D25E-5270-E306-C1C5-51F3F2E5145F}"/>
          </ac:spMkLst>
        </pc:spChg>
        <pc:spChg chg="mod">
          <ac:chgData name="Aurelien Domont" userId="6da7715ce44349b3" providerId="LiveId" clId="{F5CB8D7B-D02E-4687-8CA4-C8B5B52CB8AB}" dt="2023-06-30T02:01:20.118" v="3536" actId="1035"/>
          <ac:spMkLst>
            <pc:docMk/>
            <pc:sldMk cId="2511350442" sldId="2251"/>
            <ac:spMk id="128" creationId="{EC934F31-E734-A9EA-03A7-5D28FC71A303}"/>
          </ac:spMkLst>
        </pc:spChg>
        <pc:grpChg chg="mod">
          <ac:chgData name="Aurelien Domont" userId="6da7715ce44349b3" providerId="LiveId" clId="{F5CB8D7B-D02E-4687-8CA4-C8B5B52CB8AB}" dt="2023-06-30T02:01:20.118" v="3536" actId="1035"/>
          <ac:grpSpMkLst>
            <pc:docMk/>
            <pc:sldMk cId="2511350442" sldId="2251"/>
            <ac:grpSpMk id="158" creationId="{247EB154-9B8E-73FD-2105-2C4DDCE815FB}"/>
          </ac:grpSpMkLst>
        </pc:grpChg>
        <pc:picChg chg="add mod">
          <ac:chgData name="Aurelien Domont" userId="6da7715ce44349b3" providerId="LiveId" clId="{F5CB8D7B-D02E-4687-8CA4-C8B5B52CB8AB}" dt="2023-07-21T04:47:01.693" v="3553" actId="1038"/>
          <ac:picMkLst>
            <pc:docMk/>
            <pc:sldMk cId="2511350442" sldId="2251"/>
            <ac:picMk id="6" creationId="{C25DAC37-5C32-50FA-28DC-A2C8E8982FB9}"/>
          </ac:picMkLst>
        </pc:picChg>
        <pc:picChg chg="mod">
          <ac:chgData name="Aurelien Domont" userId="6da7715ce44349b3" providerId="LiveId" clId="{F5CB8D7B-D02E-4687-8CA4-C8B5B52CB8AB}" dt="2023-06-30T02:00:39.865" v="3530" actId="1036"/>
          <ac:picMkLst>
            <pc:docMk/>
            <pc:sldMk cId="2511350442" sldId="2251"/>
            <ac:picMk id="19" creationId="{E0ED72F6-3654-63CA-213F-0B584F34285B}"/>
          </ac:picMkLst>
        </pc:picChg>
        <pc:picChg chg="mod">
          <ac:chgData name="Aurelien Domont" userId="6da7715ce44349b3" providerId="LiveId" clId="{F5CB8D7B-D02E-4687-8CA4-C8B5B52CB8AB}" dt="2023-06-30T02:00:43.255" v="3532" actId="1037"/>
          <ac:picMkLst>
            <pc:docMk/>
            <pc:sldMk cId="2511350442" sldId="2251"/>
            <ac:picMk id="129" creationId="{46BE37AD-D108-0BEF-8826-BDFADC9D8FC0}"/>
          </ac:picMkLst>
        </pc:picChg>
        <pc:picChg chg="mod">
          <ac:chgData name="Aurelien Domont" userId="6da7715ce44349b3" providerId="LiveId" clId="{F5CB8D7B-D02E-4687-8CA4-C8B5B52CB8AB}" dt="2023-06-30T02:00:43.255" v="3532" actId="1037"/>
          <ac:picMkLst>
            <pc:docMk/>
            <pc:sldMk cId="2511350442" sldId="2251"/>
            <ac:picMk id="130" creationId="{6D054838-488C-423E-FBE2-DB9B3C91403A}"/>
          </ac:picMkLst>
        </pc:picChg>
        <pc:picChg chg="mod">
          <ac:chgData name="Aurelien Domont" userId="6da7715ce44349b3" providerId="LiveId" clId="{F5CB8D7B-D02E-4687-8CA4-C8B5B52CB8AB}" dt="2023-06-30T02:00:43.255" v="3532" actId="1037"/>
          <ac:picMkLst>
            <pc:docMk/>
            <pc:sldMk cId="2511350442" sldId="2251"/>
            <ac:picMk id="131" creationId="{48EA1DD4-0F8E-1FCB-FCB0-0211E9C6EB9A}"/>
          </ac:picMkLst>
        </pc:picChg>
        <pc:picChg chg="mod">
          <ac:chgData name="Aurelien Domont" userId="6da7715ce44349b3" providerId="LiveId" clId="{F5CB8D7B-D02E-4687-8CA4-C8B5B52CB8AB}" dt="2023-06-30T02:00:43.255" v="3532" actId="1037"/>
          <ac:picMkLst>
            <pc:docMk/>
            <pc:sldMk cId="2511350442" sldId="2251"/>
            <ac:picMk id="132" creationId="{02E0CDC8-EE83-DCBB-4225-B2D1D90811C1}"/>
          </ac:picMkLst>
        </pc:picChg>
        <pc:picChg chg="mod">
          <ac:chgData name="Aurelien Domont" userId="6da7715ce44349b3" providerId="LiveId" clId="{F5CB8D7B-D02E-4687-8CA4-C8B5B52CB8AB}" dt="2023-06-30T02:01:12.255" v="3534" actId="1035"/>
          <ac:picMkLst>
            <pc:docMk/>
            <pc:sldMk cId="2511350442" sldId="2251"/>
            <ac:picMk id="146" creationId="{B9E7A64F-2DEB-B910-7420-0510C6EECB1B}"/>
          </ac:picMkLst>
        </pc:picChg>
        <pc:picChg chg="mod">
          <ac:chgData name="Aurelien Domont" userId="6da7715ce44349b3" providerId="LiveId" clId="{F5CB8D7B-D02E-4687-8CA4-C8B5B52CB8AB}" dt="2023-06-30T02:01:12.255" v="3534" actId="1035"/>
          <ac:picMkLst>
            <pc:docMk/>
            <pc:sldMk cId="2511350442" sldId="2251"/>
            <ac:picMk id="147" creationId="{1ED7C9C1-A22E-3033-E5AF-A49B5D197F7B}"/>
          </ac:picMkLst>
        </pc:picChg>
        <pc:picChg chg="mod">
          <ac:chgData name="Aurelien Domont" userId="6da7715ce44349b3" providerId="LiveId" clId="{F5CB8D7B-D02E-4687-8CA4-C8B5B52CB8AB}" dt="2023-06-30T02:01:12.255" v="3534" actId="1035"/>
          <ac:picMkLst>
            <pc:docMk/>
            <pc:sldMk cId="2511350442" sldId="2251"/>
            <ac:picMk id="148" creationId="{A4776116-AC6F-474F-AF33-853F967D812E}"/>
          </ac:picMkLst>
        </pc:picChg>
        <pc:picChg chg="mod">
          <ac:chgData name="Aurelien Domont" userId="6da7715ce44349b3" providerId="LiveId" clId="{F5CB8D7B-D02E-4687-8CA4-C8B5B52CB8AB}" dt="2023-06-30T02:01:12.255" v="3534" actId="1035"/>
          <ac:picMkLst>
            <pc:docMk/>
            <pc:sldMk cId="2511350442" sldId="2251"/>
            <ac:picMk id="149" creationId="{B2B8E08C-3A17-0373-790F-1C9767240B37}"/>
          </ac:picMkLst>
        </pc:picChg>
        <pc:picChg chg="mod">
          <ac:chgData name="Aurelien Domont" userId="6da7715ce44349b3" providerId="LiveId" clId="{F5CB8D7B-D02E-4687-8CA4-C8B5B52CB8AB}" dt="2023-06-30T02:01:12.255" v="3534" actId="1035"/>
          <ac:picMkLst>
            <pc:docMk/>
            <pc:sldMk cId="2511350442" sldId="2251"/>
            <ac:picMk id="150" creationId="{B172C5A0-91A0-DCE4-D3C4-537C8EF8D3FE}"/>
          </ac:picMkLst>
        </pc:picChg>
        <pc:picChg chg="mod">
          <ac:chgData name="Aurelien Domont" userId="6da7715ce44349b3" providerId="LiveId" clId="{F5CB8D7B-D02E-4687-8CA4-C8B5B52CB8AB}" dt="2023-06-30T02:01:16.351" v="3535" actId="1035"/>
          <ac:picMkLst>
            <pc:docMk/>
            <pc:sldMk cId="2511350442" sldId="2251"/>
            <ac:picMk id="151" creationId="{5C2FC643-B4DF-718E-0C58-5244E9B9D073}"/>
          </ac:picMkLst>
        </pc:picChg>
        <pc:picChg chg="mod">
          <ac:chgData name="Aurelien Domont" userId="6da7715ce44349b3" providerId="LiveId" clId="{F5CB8D7B-D02E-4687-8CA4-C8B5B52CB8AB}" dt="2023-06-30T02:01:16.351" v="3535" actId="1035"/>
          <ac:picMkLst>
            <pc:docMk/>
            <pc:sldMk cId="2511350442" sldId="2251"/>
            <ac:picMk id="152" creationId="{AEE9995D-FFCB-B510-3AD3-C4896CCD51AC}"/>
          </ac:picMkLst>
        </pc:picChg>
        <pc:picChg chg="mod">
          <ac:chgData name="Aurelien Domont" userId="6da7715ce44349b3" providerId="LiveId" clId="{F5CB8D7B-D02E-4687-8CA4-C8B5B52CB8AB}" dt="2023-06-30T02:01:16.351" v="3535" actId="1035"/>
          <ac:picMkLst>
            <pc:docMk/>
            <pc:sldMk cId="2511350442" sldId="2251"/>
            <ac:picMk id="153" creationId="{8F994509-AA86-2958-11C6-CF186A3F13E5}"/>
          </ac:picMkLst>
        </pc:picChg>
        <pc:picChg chg="mod">
          <ac:chgData name="Aurelien Domont" userId="6da7715ce44349b3" providerId="LiveId" clId="{F5CB8D7B-D02E-4687-8CA4-C8B5B52CB8AB}" dt="2023-06-30T02:01:16.351" v="3535" actId="1035"/>
          <ac:picMkLst>
            <pc:docMk/>
            <pc:sldMk cId="2511350442" sldId="2251"/>
            <ac:picMk id="154" creationId="{125D1B17-0482-1BD1-3BC2-933DDAF641CE}"/>
          </ac:picMkLst>
        </pc:picChg>
        <pc:picChg chg="mod">
          <ac:chgData name="Aurelien Domont" userId="6da7715ce44349b3" providerId="LiveId" clId="{F5CB8D7B-D02E-4687-8CA4-C8B5B52CB8AB}" dt="2023-06-30T02:01:20.118" v="3536" actId="1035"/>
          <ac:picMkLst>
            <pc:docMk/>
            <pc:sldMk cId="2511350442" sldId="2251"/>
            <ac:picMk id="155" creationId="{AB1E46C8-AE71-28D2-CB5E-A5B16BB7EE60}"/>
          </ac:picMkLst>
        </pc:picChg>
        <pc:picChg chg="mod">
          <ac:chgData name="Aurelien Domont" userId="6da7715ce44349b3" providerId="LiveId" clId="{F5CB8D7B-D02E-4687-8CA4-C8B5B52CB8AB}" dt="2023-06-30T02:01:20.118" v="3536" actId="1035"/>
          <ac:picMkLst>
            <pc:docMk/>
            <pc:sldMk cId="2511350442" sldId="2251"/>
            <ac:picMk id="156" creationId="{EF56443E-4883-0B3C-8077-3CADCFD0DF26}"/>
          </ac:picMkLst>
        </pc:picChg>
        <pc:picChg chg="mod">
          <ac:chgData name="Aurelien Domont" userId="6da7715ce44349b3" providerId="LiveId" clId="{F5CB8D7B-D02E-4687-8CA4-C8B5B52CB8AB}" dt="2023-06-30T02:01:16.351" v="3535" actId="1035"/>
          <ac:picMkLst>
            <pc:docMk/>
            <pc:sldMk cId="2511350442" sldId="2251"/>
            <ac:picMk id="157" creationId="{824F61D0-FDAE-025C-90F6-8A001B288374}"/>
          </ac:picMkLst>
        </pc:picChg>
      </pc:sldChg>
      <pc:sldChg chg="add del">
        <pc:chgData name="Aurelien Domont" userId="6da7715ce44349b3" providerId="LiveId" clId="{F5CB8D7B-D02E-4687-8CA4-C8B5B52CB8AB}" dt="2023-06-30T02:02:08.500" v="3537" actId="47"/>
        <pc:sldMkLst>
          <pc:docMk/>
          <pc:sldMk cId="1624373950" sldId="2252"/>
        </pc:sldMkLst>
      </pc:sldChg>
      <pc:sldChg chg="add del">
        <pc:chgData name="Aurelien Domont" userId="6da7715ce44349b3" providerId="LiveId" clId="{F5CB8D7B-D02E-4687-8CA4-C8B5B52CB8AB}" dt="2023-06-30T01:59:04.437" v="3521" actId="47"/>
        <pc:sldMkLst>
          <pc:docMk/>
          <pc:sldMk cId="2865096126" sldId="2252"/>
        </pc:sldMkLst>
      </pc:sldChg>
      <pc:sldChg chg="add del">
        <pc:chgData name="Aurelien Domont" userId="6da7715ce44349b3" providerId="LiveId" clId="{F5CB8D7B-D02E-4687-8CA4-C8B5B52CB8AB}" dt="2023-06-30T01:53:40.174" v="3356"/>
        <pc:sldMkLst>
          <pc:docMk/>
          <pc:sldMk cId="3636857852" sldId="2252"/>
        </pc:sldMkLst>
      </pc:sldChg>
      <pc:sldChg chg="del">
        <pc:chgData name="Aurelien Domont" userId="6da7715ce44349b3" providerId="LiveId" clId="{F5CB8D7B-D02E-4687-8CA4-C8B5B52CB8AB}" dt="2023-02-09T04:42:32.325" v="18" actId="47"/>
        <pc:sldMkLst>
          <pc:docMk/>
          <pc:sldMk cId="1317447165" sldId="2276"/>
        </pc:sldMkLst>
      </pc:sldChg>
      <pc:sldChg chg="del">
        <pc:chgData name="Aurelien Domont" userId="6da7715ce44349b3" providerId="LiveId" clId="{F5CB8D7B-D02E-4687-8CA4-C8B5B52CB8AB}" dt="2023-02-09T04:42:32.325" v="18" actId="47"/>
        <pc:sldMkLst>
          <pc:docMk/>
          <pc:sldMk cId="3988936821" sldId="2403"/>
        </pc:sldMkLst>
      </pc:sldChg>
      <pc:sldChg chg="del">
        <pc:chgData name="Aurelien Domont" userId="6da7715ce44349b3" providerId="LiveId" clId="{F5CB8D7B-D02E-4687-8CA4-C8B5B52CB8AB}" dt="2023-02-09T04:42:32.325" v="18" actId="47"/>
        <pc:sldMkLst>
          <pc:docMk/>
          <pc:sldMk cId="2071212216" sldId="2404"/>
        </pc:sldMkLst>
      </pc:sldChg>
      <pc:sldChg chg="del">
        <pc:chgData name="Aurelien Domont" userId="6da7715ce44349b3" providerId="LiveId" clId="{F5CB8D7B-D02E-4687-8CA4-C8B5B52CB8AB}" dt="2023-02-09T04:42:32.325" v="18" actId="47"/>
        <pc:sldMkLst>
          <pc:docMk/>
          <pc:sldMk cId="3439488634" sldId="2407"/>
        </pc:sldMkLst>
      </pc:sldChg>
      <pc:sldChg chg="del">
        <pc:chgData name="Aurelien Domont" userId="6da7715ce44349b3" providerId="LiveId" clId="{F5CB8D7B-D02E-4687-8CA4-C8B5B52CB8AB}" dt="2023-02-09T04:42:32.325" v="18" actId="47"/>
        <pc:sldMkLst>
          <pc:docMk/>
          <pc:sldMk cId="1204157563" sldId="2408"/>
        </pc:sldMkLst>
      </pc:sldChg>
      <pc:sldChg chg="del">
        <pc:chgData name="Aurelien Domont" userId="6da7715ce44349b3" providerId="LiveId" clId="{F5CB8D7B-D02E-4687-8CA4-C8B5B52CB8AB}" dt="2023-02-09T04:42:32.325" v="18" actId="47"/>
        <pc:sldMkLst>
          <pc:docMk/>
          <pc:sldMk cId="910686556" sldId="2409"/>
        </pc:sldMkLst>
      </pc:sldChg>
      <pc:sldChg chg="del">
        <pc:chgData name="Aurelien Domont" userId="6da7715ce44349b3" providerId="LiveId" clId="{F5CB8D7B-D02E-4687-8CA4-C8B5B52CB8AB}" dt="2023-02-09T04:42:32.325" v="18" actId="47"/>
        <pc:sldMkLst>
          <pc:docMk/>
          <pc:sldMk cId="1754246506" sldId="2410"/>
        </pc:sldMkLst>
      </pc:sldChg>
      <pc:sldChg chg="del">
        <pc:chgData name="Aurelien Domont" userId="6da7715ce44349b3" providerId="LiveId" clId="{F5CB8D7B-D02E-4687-8CA4-C8B5B52CB8AB}" dt="2023-02-09T04:42:32.325" v="18" actId="47"/>
        <pc:sldMkLst>
          <pc:docMk/>
          <pc:sldMk cId="1617236116" sldId="2411"/>
        </pc:sldMkLst>
      </pc:sldChg>
      <pc:sldChg chg="del">
        <pc:chgData name="Aurelien Domont" userId="6da7715ce44349b3" providerId="LiveId" clId="{F5CB8D7B-D02E-4687-8CA4-C8B5B52CB8AB}" dt="2023-02-09T04:42:32.325" v="18" actId="47"/>
        <pc:sldMkLst>
          <pc:docMk/>
          <pc:sldMk cId="4164122239" sldId="2412"/>
        </pc:sldMkLst>
      </pc:sldChg>
      <pc:sldChg chg="del">
        <pc:chgData name="Aurelien Domont" userId="6da7715ce44349b3" providerId="LiveId" clId="{F5CB8D7B-D02E-4687-8CA4-C8B5B52CB8AB}" dt="2023-02-09T04:42:32.325" v="18" actId="47"/>
        <pc:sldMkLst>
          <pc:docMk/>
          <pc:sldMk cId="177328719" sldId="2413"/>
        </pc:sldMkLst>
      </pc:sldChg>
      <pc:sldChg chg="del">
        <pc:chgData name="Aurelien Domont" userId="6da7715ce44349b3" providerId="LiveId" clId="{F5CB8D7B-D02E-4687-8CA4-C8B5B52CB8AB}" dt="2023-02-09T04:42:32.325" v="18" actId="47"/>
        <pc:sldMkLst>
          <pc:docMk/>
          <pc:sldMk cId="1421105048" sldId="2415"/>
        </pc:sldMkLst>
      </pc:sldChg>
      <pc:sldChg chg="del">
        <pc:chgData name="Aurelien Domont" userId="6da7715ce44349b3" providerId="LiveId" clId="{F5CB8D7B-D02E-4687-8CA4-C8B5B52CB8AB}" dt="2023-02-09T04:42:32.325" v="18" actId="47"/>
        <pc:sldMkLst>
          <pc:docMk/>
          <pc:sldMk cId="2873323927" sldId="2416"/>
        </pc:sldMkLst>
      </pc:sldChg>
      <pc:sldChg chg="del">
        <pc:chgData name="Aurelien Domont" userId="6da7715ce44349b3" providerId="LiveId" clId="{F5CB8D7B-D02E-4687-8CA4-C8B5B52CB8AB}" dt="2023-02-09T04:42:32.325" v="18" actId="47"/>
        <pc:sldMkLst>
          <pc:docMk/>
          <pc:sldMk cId="3844453214" sldId="2417"/>
        </pc:sldMkLst>
      </pc:sldChg>
      <pc:sldChg chg="del">
        <pc:chgData name="Aurelien Domont" userId="6da7715ce44349b3" providerId="LiveId" clId="{F5CB8D7B-D02E-4687-8CA4-C8B5B52CB8AB}" dt="2023-02-09T04:42:32.325" v="18" actId="47"/>
        <pc:sldMkLst>
          <pc:docMk/>
          <pc:sldMk cId="1721775899" sldId="2420"/>
        </pc:sldMkLst>
      </pc:sldChg>
      <pc:sldChg chg="del">
        <pc:chgData name="Aurelien Domont" userId="6da7715ce44349b3" providerId="LiveId" clId="{F5CB8D7B-D02E-4687-8CA4-C8B5B52CB8AB}" dt="2023-02-09T04:42:32.325" v="18" actId="47"/>
        <pc:sldMkLst>
          <pc:docMk/>
          <pc:sldMk cId="1972335164" sldId="2421"/>
        </pc:sldMkLst>
      </pc:sldChg>
      <pc:sldChg chg="del">
        <pc:chgData name="Aurelien Domont" userId="6da7715ce44349b3" providerId="LiveId" clId="{F5CB8D7B-D02E-4687-8CA4-C8B5B52CB8AB}" dt="2023-02-09T04:42:32.325" v="18" actId="47"/>
        <pc:sldMkLst>
          <pc:docMk/>
          <pc:sldMk cId="4013513185" sldId="2424"/>
        </pc:sldMkLst>
      </pc:sldChg>
      <pc:sldChg chg="del">
        <pc:chgData name="Aurelien Domont" userId="6da7715ce44349b3" providerId="LiveId" clId="{F5CB8D7B-D02E-4687-8CA4-C8B5B52CB8AB}" dt="2023-02-09T04:42:32.325" v="18" actId="47"/>
        <pc:sldMkLst>
          <pc:docMk/>
          <pc:sldMk cId="234968368" sldId="2425"/>
        </pc:sldMkLst>
      </pc:sldChg>
      <pc:sldChg chg="del">
        <pc:chgData name="Aurelien Domont" userId="6da7715ce44349b3" providerId="LiveId" clId="{F5CB8D7B-D02E-4687-8CA4-C8B5B52CB8AB}" dt="2023-02-09T04:42:32.325" v="18" actId="47"/>
        <pc:sldMkLst>
          <pc:docMk/>
          <pc:sldMk cId="811976027" sldId="2426"/>
        </pc:sldMkLst>
      </pc:sldChg>
      <pc:sldChg chg="del">
        <pc:chgData name="Aurelien Domont" userId="6da7715ce44349b3" providerId="LiveId" clId="{F5CB8D7B-D02E-4687-8CA4-C8B5B52CB8AB}" dt="2023-02-09T04:42:32.325" v="18" actId="47"/>
        <pc:sldMkLst>
          <pc:docMk/>
          <pc:sldMk cId="658684134" sldId="2427"/>
        </pc:sldMkLst>
      </pc:sldChg>
      <pc:sldChg chg="del">
        <pc:chgData name="Aurelien Domont" userId="6da7715ce44349b3" providerId="LiveId" clId="{F5CB8D7B-D02E-4687-8CA4-C8B5B52CB8AB}" dt="2023-02-09T04:42:32.325" v="18" actId="47"/>
        <pc:sldMkLst>
          <pc:docMk/>
          <pc:sldMk cId="1336290850" sldId="2429"/>
        </pc:sldMkLst>
      </pc:sldChg>
      <pc:sldChg chg="del">
        <pc:chgData name="Aurelien Domont" userId="6da7715ce44349b3" providerId="LiveId" clId="{F5CB8D7B-D02E-4687-8CA4-C8B5B52CB8AB}" dt="2023-02-09T04:42:32.325" v="18" actId="47"/>
        <pc:sldMkLst>
          <pc:docMk/>
          <pc:sldMk cId="3318062978" sldId="2438"/>
        </pc:sldMkLst>
      </pc:sldChg>
      <pc:sldChg chg="del">
        <pc:chgData name="Aurelien Domont" userId="6da7715ce44349b3" providerId="LiveId" clId="{F5CB8D7B-D02E-4687-8CA4-C8B5B52CB8AB}" dt="2023-02-09T04:42:32.325" v="18" actId="47"/>
        <pc:sldMkLst>
          <pc:docMk/>
          <pc:sldMk cId="141523137" sldId="2439"/>
        </pc:sldMkLst>
      </pc:sldChg>
      <pc:sldChg chg="del">
        <pc:chgData name="Aurelien Domont" userId="6da7715ce44349b3" providerId="LiveId" clId="{F5CB8D7B-D02E-4687-8CA4-C8B5B52CB8AB}" dt="2023-02-09T04:42:32.325" v="18" actId="47"/>
        <pc:sldMkLst>
          <pc:docMk/>
          <pc:sldMk cId="2212935543" sldId="2440"/>
        </pc:sldMkLst>
      </pc:sldChg>
      <pc:sldChg chg="del">
        <pc:chgData name="Aurelien Domont" userId="6da7715ce44349b3" providerId="LiveId" clId="{F5CB8D7B-D02E-4687-8CA4-C8B5B52CB8AB}" dt="2023-02-09T04:42:32.325" v="18" actId="47"/>
        <pc:sldMkLst>
          <pc:docMk/>
          <pc:sldMk cId="4182032264" sldId="2444"/>
        </pc:sldMkLst>
      </pc:sldChg>
      <pc:sldChg chg="del">
        <pc:chgData name="Aurelien Domont" userId="6da7715ce44349b3" providerId="LiveId" clId="{F5CB8D7B-D02E-4687-8CA4-C8B5B52CB8AB}" dt="2023-02-09T04:42:32.325" v="18" actId="47"/>
        <pc:sldMkLst>
          <pc:docMk/>
          <pc:sldMk cId="4024712621" sldId="2445"/>
        </pc:sldMkLst>
      </pc:sldChg>
      <pc:sldChg chg="del">
        <pc:chgData name="Aurelien Domont" userId="6da7715ce44349b3" providerId="LiveId" clId="{F5CB8D7B-D02E-4687-8CA4-C8B5B52CB8AB}" dt="2023-02-09T04:42:32.325" v="18" actId="47"/>
        <pc:sldMkLst>
          <pc:docMk/>
          <pc:sldMk cId="1073031341" sldId="2449"/>
        </pc:sldMkLst>
      </pc:sldChg>
      <pc:sldChg chg="del">
        <pc:chgData name="Aurelien Domont" userId="6da7715ce44349b3" providerId="LiveId" clId="{F5CB8D7B-D02E-4687-8CA4-C8B5B52CB8AB}" dt="2023-02-09T04:42:32.325" v="18" actId="47"/>
        <pc:sldMkLst>
          <pc:docMk/>
          <pc:sldMk cId="1815912057" sldId="2450"/>
        </pc:sldMkLst>
      </pc:sldChg>
      <pc:sldChg chg="del">
        <pc:chgData name="Aurelien Domont" userId="6da7715ce44349b3" providerId="LiveId" clId="{F5CB8D7B-D02E-4687-8CA4-C8B5B52CB8AB}" dt="2023-02-09T04:42:32.325" v="18" actId="47"/>
        <pc:sldMkLst>
          <pc:docMk/>
          <pc:sldMk cId="476984751" sldId="2452"/>
        </pc:sldMkLst>
      </pc:sldChg>
      <pc:sldChg chg="del">
        <pc:chgData name="Aurelien Domont" userId="6da7715ce44349b3" providerId="LiveId" clId="{F5CB8D7B-D02E-4687-8CA4-C8B5B52CB8AB}" dt="2023-02-09T04:42:32.325" v="18" actId="47"/>
        <pc:sldMkLst>
          <pc:docMk/>
          <pc:sldMk cId="282134541" sldId="2475"/>
        </pc:sldMkLst>
      </pc:sldChg>
      <pc:sldChg chg="del">
        <pc:chgData name="Aurelien Domont" userId="6da7715ce44349b3" providerId="LiveId" clId="{F5CB8D7B-D02E-4687-8CA4-C8B5B52CB8AB}" dt="2023-02-09T04:42:32.325" v="18" actId="47"/>
        <pc:sldMkLst>
          <pc:docMk/>
          <pc:sldMk cId="2851838303" sldId="2476"/>
        </pc:sldMkLst>
      </pc:sldChg>
      <pc:sldChg chg="del">
        <pc:chgData name="Aurelien Domont" userId="6da7715ce44349b3" providerId="LiveId" clId="{F5CB8D7B-D02E-4687-8CA4-C8B5B52CB8AB}" dt="2023-02-09T04:42:32.325" v="18" actId="47"/>
        <pc:sldMkLst>
          <pc:docMk/>
          <pc:sldMk cId="2070383936" sldId="2477"/>
        </pc:sldMkLst>
      </pc:sldChg>
      <pc:sldChg chg="del">
        <pc:chgData name="Aurelien Domont" userId="6da7715ce44349b3" providerId="LiveId" clId="{F5CB8D7B-D02E-4687-8CA4-C8B5B52CB8AB}" dt="2023-02-09T04:42:32.325" v="18" actId="47"/>
        <pc:sldMkLst>
          <pc:docMk/>
          <pc:sldMk cId="266260425" sldId="2478"/>
        </pc:sldMkLst>
      </pc:sldChg>
      <pc:sldChg chg="del">
        <pc:chgData name="Aurelien Domont" userId="6da7715ce44349b3" providerId="LiveId" clId="{F5CB8D7B-D02E-4687-8CA4-C8B5B52CB8AB}" dt="2023-02-09T04:42:32.325" v="18" actId="47"/>
        <pc:sldMkLst>
          <pc:docMk/>
          <pc:sldMk cId="1756636418" sldId="2486"/>
        </pc:sldMkLst>
      </pc:sldChg>
      <pc:sldChg chg="del">
        <pc:chgData name="Aurelien Domont" userId="6da7715ce44349b3" providerId="LiveId" clId="{F5CB8D7B-D02E-4687-8CA4-C8B5B52CB8AB}" dt="2023-02-09T04:42:32.325" v="18" actId="47"/>
        <pc:sldMkLst>
          <pc:docMk/>
          <pc:sldMk cId="2160862108" sldId="2487"/>
        </pc:sldMkLst>
      </pc:sldChg>
      <pc:sldChg chg="del">
        <pc:chgData name="Aurelien Domont" userId="6da7715ce44349b3" providerId="LiveId" clId="{F5CB8D7B-D02E-4687-8CA4-C8B5B52CB8AB}" dt="2023-02-09T04:42:32.325" v="18" actId="47"/>
        <pc:sldMkLst>
          <pc:docMk/>
          <pc:sldMk cId="1158319604" sldId="2488"/>
        </pc:sldMkLst>
      </pc:sldChg>
      <pc:sldChg chg="del">
        <pc:chgData name="Aurelien Domont" userId="6da7715ce44349b3" providerId="LiveId" clId="{F5CB8D7B-D02E-4687-8CA4-C8B5B52CB8AB}" dt="2023-02-09T04:42:32.325" v="18" actId="47"/>
        <pc:sldMkLst>
          <pc:docMk/>
          <pc:sldMk cId="67415954" sldId="2489"/>
        </pc:sldMkLst>
      </pc:sldChg>
      <pc:sldChg chg="del">
        <pc:chgData name="Aurelien Domont" userId="6da7715ce44349b3" providerId="LiveId" clId="{F5CB8D7B-D02E-4687-8CA4-C8B5B52CB8AB}" dt="2023-02-09T04:42:32.325" v="18" actId="47"/>
        <pc:sldMkLst>
          <pc:docMk/>
          <pc:sldMk cId="2691849695" sldId="2490"/>
        </pc:sldMkLst>
      </pc:sldChg>
      <pc:sldChg chg="del">
        <pc:chgData name="Aurelien Domont" userId="6da7715ce44349b3" providerId="LiveId" clId="{F5CB8D7B-D02E-4687-8CA4-C8B5B52CB8AB}" dt="2023-02-09T04:42:32.325" v="18" actId="47"/>
        <pc:sldMkLst>
          <pc:docMk/>
          <pc:sldMk cId="1115721737" sldId="2491"/>
        </pc:sldMkLst>
      </pc:sldChg>
      <pc:sldChg chg="del">
        <pc:chgData name="Aurelien Domont" userId="6da7715ce44349b3" providerId="LiveId" clId="{F5CB8D7B-D02E-4687-8CA4-C8B5B52CB8AB}" dt="2023-02-09T04:42:32.325" v="18" actId="47"/>
        <pc:sldMkLst>
          <pc:docMk/>
          <pc:sldMk cId="1490095266" sldId="2492"/>
        </pc:sldMkLst>
      </pc:sldChg>
      <pc:sldChg chg="del">
        <pc:chgData name="Aurelien Domont" userId="6da7715ce44349b3" providerId="LiveId" clId="{F5CB8D7B-D02E-4687-8CA4-C8B5B52CB8AB}" dt="2023-02-09T04:42:32.325" v="18" actId="47"/>
        <pc:sldMkLst>
          <pc:docMk/>
          <pc:sldMk cId="807404470" sldId="2493"/>
        </pc:sldMkLst>
      </pc:sldChg>
      <pc:sldChg chg="del">
        <pc:chgData name="Aurelien Domont" userId="6da7715ce44349b3" providerId="LiveId" clId="{F5CB8D7B-D02E-4687-8CA4-C8B5B52CB8AB}" dt="2023-02-09T04:42:32.325" v="18" actId="47"/>
        <pc:sldMkLst>
          <pc:docMk/>
          <pc:sldMk cId="1680590755" sldId="2495"/>
        </pc:sldMkLst>
      </pc:sldChg>
      <pc:sldChg chg="del">
        <pc:chgData name="Aurelien Domont" userId="6da7715ce44349b3" providerId="LiveId" clId="{F5CB8D7B-D02E-4687-8CA4-C8B5B52CB8AB}" dt="2023-02-09T04:42:32.325" v="18" actId="47"/>
        <pc:sldMkLst>
          <pc:docMk/>
          <pc:sldMk cId="1255366533" sldId="2503"/>
        </pc:sldMkLst>
      </pc:sldChg>
      <pc:sldChg chg="del">
        <pc:chgData name="Aurelien Domont" userId="6da7715ce44349b3" providerId="LiveId" clId="{F5CB8D7B-D02E-4687-8CA4-C8B5B52CB8AB}" dt="2023-02-09T04:42:32.325" v="18" actId="47"/>
        <pc:sldMkLst>
          <pc:docMk/>
          <pc:sldMk cId="2005845921" sldId="2511"/>
        </pc:sldMkLst>
      </pc:sldChg>
      <pc:sldChg chg="del">
        <pc:chgData name="Aurelien Domont" userId="6da7715ce44349b3" providerId="LiveId" clId="{F5CB8D7B-D02E-4687-8CA4-C8B5B52CB8AB}" dt="2023-02-09T04:42:32.325" v="18" actId="47"/>
        <pc:sldMkLst>
          <pc:docMk/>
          <pc:sldMk cId="65686606" sldId="2512"/>
        </pc:sldMkLst>
      </pc:sldChg>
      <pc:sldChg chg="del">
        <pc:chgData name="Aurelien Domont" userId="6da7715ce44349b3" providerId="LiveId" clId="{F5CB8D7B-D02E-4687-8CA4-C8B5B52CB8AB}" dt="2023-02-09T04:42:32.325" v="18" actId="47"/>
        <pc:sldMkLst>
          <pc:docMk/>
          <pc:sldMk cId="2012700360" sldId="2513"/>
        </pc:sldMkLst>
      </pc:sldChg>
      <pc:sldChg chg="del">
        <pc:chgData name="Aurelien Domont" userId="6da7715ce44349b3" providerId="LiveId" clId="{F5CB8D7B-D02E-4687-8CA4-C8B5B52CB8AB}" dt="2023-02-09T04:42:32.325" v="18" actId="47"/>
        <pc:sldMkLst>
          <pc:docMk/>
          <pc:sldMk cId="1295311911" sldId="2514"/>
        </pc:sldMkLst>
      </pc:sldChg>
      <pc:sldChg chg="del">
        <pc:chgData name="Aurelien Domont" userId="6da7715ce44349b3" providerId="LiveId" clId="{F5CB8D7B-D02E-4687-8CA4-C8B5B52CB8AB}" dt="2023-02-09T04:42:32.325" v="18" actId="47"/>
        <pc:sldMkLst>
          <pc:docMk/>
          <pc:sldMk cId="3315330118" sldId="2515"/>
        </pc:sldMkLst>
      </pc:sldChg>
      <pc:sldChg chg="del">
        <pc:chgData name="Aurelien Domont" userId="6da7715ce44349b3" providerId="LiveId" clId="{F5CB8D7B-D02E-4687-8CA4-C8B5B52CB8AB}" dt="2023-02-09T04:42:32.325" v="18" actId="47"/>
        <pc:sldMkLst>
          <pc:docMk/>
          <pc:sldMk cId="2910035269" sldId="2516"/>
        </pc:sldMkLst>
      </pc:sldChg>
      <pc:sldChg chg="del">
        <pc:chgData name="Aurelien Domont" userId="6da7715ce44349b3" providerId="LiveId" clId="{F5CB8D7B-D02E-4687-8CA4-C8B5B52CB8AB}" dt="2023-02-09T04:42:32.325" v="18" actId="47"/>
        <pc:sldMkLst>
          <pc:docMk/>
          <pc:sldMk cId="1621361002" sldId="2517"/>
        </pc:sldMkLst>
      </pc:sldChg>
      <pc:sldChg chg="del">
        <pc:chgData name="Aurelien Domont" userId="6da7715ce44349b3" providerId="LiveId" clId="{F5CB8D7B-D02E-4687-8CA4-C8B5B52CB8AB}" dt="2023-02-09T04:42:32.325" v="18" actId="47"/>
        <pc:sldMkLst>
          <pc:docMk/>
          <pc:sldMk cId="1913251889" sldId="2518"/>
        </pc:sldMkLst>
      </pc:sldChg>
      <pc:sldChg chg="del">
        <pc:chgData name="Aurelien Domont" userId="6da7715ce44349b3" providerId="LiveId" clId="{F5CB8D7B-D02E-4687-8CA4-C8B5B52CB8AB}" dt="2023-02-09T04:42:32.325" v="18" actId="47"/>
        <pc:sldMkLst>
          <pc:docMk/>
          <pc:sldMk cId="4092314093" sldId="2523"/>
        </pc:sldMkLst>
      </pc:sldChg>
      <pc:sldChg chg="del">
        <pc:chgData name="Aurelien Domont" userId="6da7715ce44349b3" providerId="LiveId" clId="{F5CB8D7B-D02E-4687-8CA4-C8B5B52CB8AB}" dt="2023-02-09T04:42:32.325" v="18" actId="47"/>
        <pc:sldMkLst>
          <pc:docMk/>
          <pc:sldMk cId="3391907502" sldId="2524"/>
        </pc:sldMkLst>
      </pc:sldChg>
      <pc:sldChg chg="del">
        <pc:chgData name="Aurelien Domont" userId="6da7715ce44349b3" providerId="LiveId" clId="{F5CB8D7B-D02E-4687-8CA4-C8B5B52CB8AB}" dt="2023-02-09T04:42:32.325" v="18" actId="47"/>
        <pc:sldMkLst>
          <pc:docMk/>
          <pc:sldMk cId="2006761934" sldId="2525"/>
        </pc:sldMkLst>
      </pc:sldChg>
      <pc:sldChg chg="del">
        <pc:chgData name="Aurelien Domont" userId="6da7715ce44349b3" providerId="LiveId" clId="{F5CB8D7B-D02E-4687-8CA4-C8B5B52CB8AB}" dt="2023-02-09T04:42:32.325" v="18" actId="47"/>
        <pc:sldMkLst>
          <pc:docMk/>
          <pc:sldMk cId="3751701482" sldId="2526"/>
        </pc:sldMkLst>
      </pc:sldChg>
      <pc:sldChg chg="del">
        <pc:chgData name="Aurelien Domont" userId="6da7715ce44349b3" providerId="LiveId" clId="{F5CB8D7B-D02E-4687-8CA4-C8B5B52CB8AB}" dt="2023-02-09T04:42:32.325" v="18" actId="47"/>
        <pc:sldMkLst>
          <pc:docMk/>
          <pc:sldMk cId="12014084" sldId="2527"/>
        </pc:sldMkLst>
      </pc:sldChg>
      <pc:sldChg chg="del">
        <pc:chgData name="Aurelien Domont" userId="6da7715ce44349b3" providerId="LiveId" clId="{F5CB8D7B-D02E-4687-8CA4-C8B5B52CB8AB}" dt="2023-02-09T04:42:32.325" v="18" actId="47"/>
        <pc:sldMkLst>
          <pc:docMk/>
          <pc:sldMk cId="1518822418" sldId="2528"/>
        </pc:sldMkLst>
      </pc:sldChg>
      <pc:sldChg chg="del">
        <pc:chgData name="Aurelien Domont" userId="6da7715ce44349b3" providerId="LiveId" clId="{F5CB8D7B-D02E-4687-8CA4-C8B5B52CB8AB}" dt="2023-02-09T04:42:32.325" v="18" actId="47"/>
        <pc:sldMkLst>
          <pc:docMk/>
          <pc:sldMk cId="218914048" sldId="2529"/>
        </pc:sldMkLst>
      </pc:sldChg>
      <pc:sldChg chg="del">
        <pc:chgData name="Aurelien Domont" userId="6da7715ce44349b3" providerId="LiveId" clId="{F5CB8D7B-D02E-4687-8CA4-C8B5B52CB8AB}" dt="2023-02-09T04:42:32.325" v="18" actId="47"/>
        <pc:sldMkLst>
          <pc:docMk/>
          <pc:sldMk cId="3091794586" sldId="2530"/>
        </pc:sldMkLst>
      </pc:sldChg>
      <pc:sldChg chg="del">
        <pc:chgData name="Aurelien Domont" userId="6da7715ce44349b3" providerId="LiveId" clId="{F5CB8D7B-D02E-4687-8CA4-C8B5B52CB8AB}" dt="2023-02-09T04:42:32.325" v="18" actId="47"/>
        <pc:sldMkLst>
          <pc:docMk/>
          <pc:sldMk cId="3438752713" sldId="2531"/>
        </pc:sldMkLst>
      </pc:sldChg>
      <pc:sldChg chg="del">
        <pc:chgData name="Aurelien Domont" userId="6da7715ce44349b3" providerId="LiveId" clId="{F5CB8D7B-D02E-4687-8CA4-C8B5B52CB8AB}" dt="2023-02-09T04:42:32.325" v="18" actId="47"/>
        <pc:sldMkLst>
          <pc:docMk/>
          <pc:sldMk cId="114241174" sldId="2532"/>
        </pc:sldMkLst>
      </pc:sldChg>
      <pc:sldChg chg="del">
        <pc:chgData name="Aurelien Domont" userId="6da7715ce44349b3" providerId="LiveId" clId="{F5CB8D7B-D02E-4687-8CA4-C8B5B52CB8AB}" dt="2023-02-09T04:42:32.325" v="18" actId="47"/>
        <pc:sldMkLst>
          <pc:docMk/>
          <pc:sldMk cId="1898338050" sldId="2533"/>
        </pc:sldMkLst>
      </pc:sldChg>
      <pc:sldChg chg="del">
        <pc:chgData name="Aurelien Domont" userId="6da7715ce44349b3" providerId="LiveId" clId="{F5CB8D7B-D02E-4687-8CA4-C8B5B52CB8AB}" dt="2023-02-09T04:42:32.325" v="18" actId="47"/>
        <pc:sldMkLst>
          <pc:docMk/>
          <pc:sldMk cId="3710951792" sldId="2534"/>
        </pc:sldMkLst>
      </pc:sldChg>
      <pc:sldChg chg="del">
        <pc:chgData name="Aurelien Domont" userId="6da7715ce44349b3" providerId="LiveId" clId="{F5CB8D7B-D02E-4687-8CA4-C8B5B52CB8AB}" dt="2023-02-09T04:42:32.325" v="18" actId="47"/>
        <pc:sldMkLst>
          <pc:docMk/>
          <pc:sldMk cId="869038798" sldId="2535"/>
        </pc:sldMkLst>
      </pc:sldChg>
      <pc:sldChg chg="del">
        <pc:chgData name="Aurelien Domont" userId="6da7715ce44349b3" providerId="LiveId" clId="{F5CB8D7B-D02E-4687-8CA4-C8B5B52CB8AB}" dt="2023-02-09T04:42:32.325" v="18" actId="47"/>
        <pc:sldMkLst>
          <pc:docMk/>
          <pc:sldMk cId="4266527838" sldId="2536"/>
        </pc:sldMkLst>
      </pc:sldChg>
      <pc:sldChg chg="del">
        <pc:chgData name="Aurelien Domont" userId="6da7715ce44349b3" providerId="LiveId" clId="{F5CB8D7B-D02E-4687-8CA4-C8B5B52CB8AB}" dt="2023-02-09T04:42:32.325" v="18" actId="47"/>
        <pc:sldMkLst>
          <pc:docMk/>
          <pc:sldMk cId="1160751031" sldId="2537"/>
        </pc:sldMkLst>
      </pc:sldChg>
      <pc:sldChg chg="del">
        <pc:chgData name="Aurelien Domont" userId="6da7715ce44349b3" providerId="LiveId" clId="{F5CB8D7B-D02E-4687-8CA4-C8B5B52CB8AB}" dt="2023-02-09T04:42:32.325" v="18" actId="47"/>
        <pc:sldMkLst>
          <pc:docMk/>
          <pc:sldMk cId="3451781639" sldId="2538"/>
        </pc:sldMkLst>
      </pc:sldChg>
      <pc:sldChg chg="del">
        <pc:chgData name="Aurelien Domont" userId="6da7715ce44349b3" providerId="LiveId" clId="{F5CB8D7B-D02E-4687-8CA4-C8B5B52CB8AB}" dt="2023-02-09T04:42:32.325" v="18" actId="47"/>
        <pc:sldMkLst>
          <pc:docMk/>
          <pc:sldMk cId="200304886" sldId="2539"/>
        </pc:sldMkLst>
      </pc:sldChg>
      <pc:sldChg chg="del">
        <pc:chgData name="Aurelien Domont" userId="6da7715ce44349b3" providerId="LiveId" clId="{F5CB8D7B-D02E-4687-8CA4-C8B5B52CB8AB}" dt="2023-02-09T04:42:32.325" v="18" actId="47"/>
        <pc:sldMkLst>
          <pc:docMk/>
          <pc:sldMk cId="3541979900" sldId="2540"/>
        </pc:sldMkLst>
      </pc:sldChg>
      <pc:sldChg chg="del">
        <pc:chgData name="Aurelien Domont" userId="6da7715ce44349b3" providerId="LiveId" clId="{F5CB8D7B-D02E-4687-8CA4-C8B5B52CB8AB}" dt="2023-02-09T04:42:32.325" v="18" actId="47"/>
        <pc:sldMkLst>
          <pc:docMk/>
          <pc:sldMk cId="869654287" sldId="2541"/>
        </pc:sldMkLst>
      </pc:sldChg>
      <pc:sldChg chg="del">
        <pc:chgData name="Aurelien Domont" userId="6da7715ce44349b3" providerId="LiveId" clId="{F5CB8D7B-D02E-4687-8CA4-C8B5B52CB8AB}" dt="2023-02-09T04:42:32.325" v="18" actId="47"/>
        <pc:sldMkLst>
          <pc:docMk/>
          <pc:sldMk cId="3540213376" sldId="2542"/>
        </pc:sldMkLst>
      </pc:sldChg>
      <pc:sldChg chg="del">
        <pc:chgData name="Aurelien Domont" userId="6da7715ce44349b3" providerId="LiveId" clId="{F5CB8D7B-D02E-4687-8CA4-C8B5B52CB8AB}" dt="2023-02-09T04:42:32.325" v="18" actId="47"/>
        <pc:sldMkLst>
          <pc:docMk/>
          <pc:sldMk cId="1460840373" sldId="2543"/>
        </pc:sldMkLst>
      </pc:sldChg>
      <pc:sldChg chg="del">
        <pc:chgData name="Aurelien Domont" userId="6da7715ce44349b3" providerId="LiveId" clId="{F5CB8D7B-D02E-4687-8CA4-C8B5B52CB8AB}" dt="2023-02-09T04:42:32.325" v="18" actId="47"/>
        <pc:sldMkLst>
          <pc:docMk/>
          <pc:sldMk cId="3234245594" sldId="2544"/>
        </pc:sldMkLst>
      </pc:sldChg>
      <pc:sldChg chg="del">
        <pc:chgData name="Aurelien Domont" userId="6da7715ce44349b3" providerId="LiveId" clId="{F5CB8D7B-D02E-4687-8CA4-C8B5B52CB8AB}" dt="2023-02-09T04:42:32.325" v="18" actId="47"/>
        <pc:sldMkLst>
          <pc:docMk/>
          <pc:sldMk cId="1171926163" sldId="2548"/>
        </pc:sldMkLst>
      </pc:sldChg>
      <pc:sldChg chg="del">
        <pc:chgData name="Aurelien Domont" userId="6da7715ce44349b3" providerId="LiveId" clId="{F5CB8D7B-D02E-4687-8CA4-C8B5B52CB8AB}" dt="2023-02-09T04:42:32.325" v="18" actId="47"/>
        <pc:sldMkLst>
          <pc:docMk/>
          <pc:sldMk cId="3319712758" sldId="2549"/>
        </pc:sldMkLst>
      </pc:sldChg>
      <pc:sldChg chg="del">
        <pc:chgData name="Aurelien Domont" userId="6da7715ce44349b3" providerId="LiveId" clId="{F5CB8D7B-D02E-4687-8CA4-C8B5B52CB8AB}" dt="2023-02-09T04:42:32.325" v="18" actId="47"/>
        <pc:sldMkLst>
          <pc:docMk/>
          <pc:sldMk cId="3973505001" sldId="2550"/>
        </pc:sldMkLst>
      </pc:sldChg>
      <pc:sldChg chg="del">
        <pc:chgData name="Aurelien Domont" userId="6da7715ce44349b3" providerId="LiveId" clId="{F5CB8D7B-D02E-4687-8CA4-C8B5B52CB8AB}" dt="2023-02-09T04:42:32.325" v="18" actId="47"/>
        <pc:sldMkLst>
          <pc:docMk/>
          <pc:sldMk cId="2825689156" sldId="2551"/>
        </pc:sldMkLst>
      </pc:sldChg>
      <pc:sldChg chg="del">
        <pc:chgData name="Aurelien Domont" userId="6da7715ce44349b3" providerId="LiveId" clId="{F5CB8D7B-D02E-4687-8CA4-C8B5B52CB8AB}" dt="2023-02-09T04:42:32.325" v="18" actId="47"/>
        <pc:sldMkLst>
          <pc:docMk/>
          <pc:sldMk cId="3015757233" sldId="2552"/>
        </pc:sldMkLst>
      </pc:sldChg>
      <pc:sldChg chg="del">
        <pc:chgData name="Aurelien Domont" userId="6da7715ce44349b3" providerId="LiveId" clId="{F5CB8D7B-D02E-4687-8CA4-C8B5B52CB8AB}" dt="2023-02-09T04:42:32.325" v="18" actId="47"/>
        <pc:sldMkLst>
          <pc:docMk/>
          <pc:sldMk cId="2341912036" sldId="2553"/>
        </pc:sldMkLst>
      </pc:sldChg>
      <pc:sldChg chg="del">
        <pc:chgData name="Aurelien Domont" userId="6da7715ce44349b3" providerId="LiveId" clId="{F5CB8D7B-D02E-4687-8CA4-C8B5B52CB8AB}" dt="2023-02-09T04:42:32.325" v="18" actId="47"/>
        <pc:sldMkLst>
          <pc:docMk/>
          <pc:sldMk cId="3069476395" sldId="2557"/>
        </pc:sldMkLst>
      </pc:sldChg>
      <pc:sldChg chg="del">
        <pc:chgData name="Aurelien Domont" userId="6da7715ce44349b3" providerId="LiveId" clId="{F5CB8D7B-D02E-4687-8CA4-C8B5B52CB8AB}" dt="2023-02-09T04:42:32.325" v="18" actId="47"/>
        <pc:sldMkLst>
          <pc:docMk/>
          <pc:sldMk cId="823243625" sldId="2558"/>
        </pc:sldMkLst>
      </pc:sldChg>
      <pc:sldChg chg="del">
        <pc:chgData name="Aurelien Domont" userId="6da7715ce44349b3" providerId="LiveId" clId="{F5CB8D7B-D02E-4687-8CA4-C8B5B52CB8AB}" dt="2023-02-09T04:42:32.325" v="18" actId="47"/>
        <pc:sldMkLst>
          <pc:docMk/>
          <pc:sldMk cId="3771701700" sldId="2559"/>
        </pc:sldMkLst>
      </pc:sldChg>
      <pc:sldChg chg="del">
        <pc:chgData name="Aurelien Domont" userId="6da7715ce44349b3" providerId="LiveId" clId="{F5CB8D7B-D02E-4687-8CA4-C8B5B52CB8AB}" dt="2023-02-09T04:42:32.325" v="18" actId="47"/>
        <pc:sldMkLst>
          <pc:docMk/>
          <pc:sldMk cId="450494475" sldId="2560"/>
        </pc:sldMkLst>
      </pc:sldChg>
      <pc:sldChg chg="del">
        <pc:chgData name="Aurelien Domont" userId="6da7715ce44349b3" providerId="LiveId" clId="{F5CB8D7B-D02E-4687-8CA4-C8B5B52CB8AB}" dt="2023-02-09T04:42:32.325" v="18" actId="47"/>
        <pc:sldMkLst>
          <pc:docMk/>
          <pc:sldMk cId="1118915593" sldId="2561"/>
        </pc:sldMkLst>
      </pc:sldChg>
      <pc:sldChg chg="del">
        <pc:chgData name="Aurelien Domont" userId="6da7715ce44349b3" providerId="LiveId" clId="{F5CB8D7B-D02E-4687-8CA4-C8B5B52CB8AB}" dt="2023-02-09T04:42:32.325" v="18" actId="47"/>
        <pc:sldMkLst>
          <pc:docMk/>
          <pc:sldMk cId="3285208466" sldId="2566"/>
        </pc:sldMkLst>
      </pc:sldChg>
      <pc:sldChg chg="del">
        <pc:chgData name="Aurelien Domont" userId="6da7715ce44349b3" providerId="LiveId" clId="{F5CB8D7B-D02E-4687-8CA4-C8B5B52CB8AB}" dt="2023-02-09T04:42:32.325" v="18" actId="47"/>
        <pc:sldMkLst>
          <pc:docMk/>
          <pc:sldMk cId="168400318" sldId="2573"/>
        </pc:sldMkLst>
      </pc:sldChg>
      <pc:sldChg chg="del">
        <pc:chgData name="Aurelien Domont" userId="6da7715ce44349b3" providerId="LiveId" clId="{F5CB8D7B-D02E-4687-8CA4-C8B5B52CB8AB}" dt="2023-02-09T04:42:32.325" v="18" actId="47"/>
        <pc:sldMkLst>
          <pc:docMk/>
          <pc:sldMk cId="3109918362" sldId="2574"/>
        </pc:sldMkLst>
      </pc:sldChg>
      <pc:sldChg chg="del">
        <pc:chgData name="Aurelien Domont" userId="6da7715ce44349b3" providerId="LiveId" clId="{F5CB8D7B-D02E-4687-8CA4-C8B5B52CB8AB}" dt="2023-02-09T04:42:32.325" v="18" actId="47"/>
        <pc:sldMkLst>
          <pc:docMk/>
          <pc:sldMk cId="1687835262" sldId="2575"/>
        </pc:sldMkLst>
      </pc:sldChg>
      <pc:sldChg chg="del">
        <pc:chgData name="Aurelien Domont" userId="6da7715ce44349b3" providerId="LiveId" clId="{F5CB8D7B-D02E-4687-8CA4-C8B5B52CB8AB}" dt="2023-02-09T04:42:32.325" v="18" actId="47"/>
        <pc:sldMkLst>
          <pc:docMk/>
          <pc:sldMk cId="3499924189" sldId="2576"/>
        </pc:sldMkLst>
      </pc:sldChg>
      <pc:sldChg chg="del">
        <pc:chgData name="Aurelien Domont" userId="6da7715ce44349b3" providerId="LiveId" clId="{F5CB8D7B-D02E-4687-8CA4-C8B5B52CB8AB}" dt="2023-02-09T04:42:32.325" v="18" actId="47"/>
        <pc:sldMkLst>
          <pc:docMk/>
          <pc:sldMk cId="3274052290" sldId="2577"/>
        </pc:sldMkLst>
      </pc:sldChg>
      <pc:sldChg chg="del">
        <pc:chgData name="Aurelien Domont" userId="6da7715ce44349b3" providerId="LiveId" clId="{F5CB8D7B-D02E-4687-8CA4-C8B5B52CB8AB}" dt="2023-02-09T04:42:32.325" v="18" actId="47"/>
        <pc:sldMkLst>
          <pc:docMk/>
          <pc:sldMk cId="80454488" sldId="2578"/>
        </pc:sldMkLst>
      </pc:sldChg>
      <pc:sldChg chg="del">
        <pc:chgData name="Aurelien Domont" userId="6da7715ce44349b3" providerId="LiveId" clId="{F5CB8D7B-D02E-4687-8CA4-C8B5B52CB8AB}" dt="2023-02-09T04:42:32.325" v="18" actId="47"/>
        <pc:sldMkLst>
          <pc:docMk/>
          <pc:sldMk cId="149126807" sldId="2579"/>
        </pc:sldMkLst>
      </pc:sldChg>
      <pc:sldChg chg="del">
        <pc:chgData name="Aurelien Domont" userId="6da7715ce44349b3" providerId="LiveId" clId="{F5CB8D7B-D02E-4687-8CA4-C8B5B52CB8AB}" dt="2023-02-09T04:42:32.325" v="18" actId="47"/>
        <pc:sldMkLst>
          <pc:docMk/>
          <pc:sldMk cId="920435364" sldId="2580"/>
        </pc:sldMkLst>
      </pc:sldChg>
      <pc:sldChg chg="del">
        <pc:chgData name="Aurelien Domont" userId="6da7715ce44349b3" providerId="LiveId" clId="{F5CB8D7B-D02E-4687-8CA4-C8B5B52CB8AB}" dt="2023-02-09T04:42:32.325" v="18" actId="47"/>
        <pc:sldMkLst>
          <pc:docMk/>
          <pc:sldMk cId="3646551861" sldId="2581"/>
        </pc:sldMkLst>
      </pc:sldChg>
      <pc:sldChg chg="del">
        <pc:chgData name="Aurelien Domont" userId="6da7715ce44349b3" providerId="LiveId" clId="{F5CB8D7B-D02E-4687-8CA4-C8B5B52CB8AB}" dt="2023-02-09T04:42:32.325" v="18" actId="47"/>
        <pc:sldMkLst>
          <pc:docMk/>
          <pc:sldMk cId="973395138" sldId="2582"/>
        </pc:sldMkLst>
      </pc:sldChg>
      <pc:sldChg chg="del">
        <pc:chgData name="Aurelien Domont" userId="6da7715ce44349b3" providerId="LiveId" clId="{F5CB8D7B-D02E-4687-8CA4-C8B5B52CB8AB}" dt="2023-02-09T04:42:32.325" v="18" actId="47"/>
        <pc:sldMkLst>
          <pc:docMk/>
          <pc:sldMk cId="2152972054" sldId="2585"/>
        </pc:sldMkLst>
      </pc:sldChg>
      <pc:sldChg chg="del">
        <pc:chgData name="Aurelien Domont" userId="6da7715ce44349b3" providerId="LiveId" clId="{F5CB8D7B-D02E-4687-8CA4-C8B5B52CB8AB}" dt="2023-02-09T04:42:32.325" v="18" actId="47"/>
        <pc:sldMkLst>
          <pc:docMk/>
          <pc:sldMk cId="2531193052" sldId="2586"/>
        </pc:sldMkLst>
      </pc:sldChg>
      <pc:sldChg chg="del">
        <pc:chgData name="Aurelien Domont" userId="6da7715ce44349b3" providerId="LiveId" clId="{F5CB8D7B-D02E-4687-8CA4-C8B5B52CB8AB}" dt="2023-02-09T04:42:32.325" v="18" actId="47"/>
        <pc:sldMkLst>
          <pc:docMk/>
          <pc:sldMk cId="4048029769" sldId="2587"/>
        </pc:sldMkLst>
      </pc:sldChg>
      <pc:sldChg chg="del">
        <pc:chgData name="Aurelien Domont" userId="6da7715ce44349b3" providerId="LiveId" clId="{F5CB8D7B-D02E-4687-8CA4-C8B5B52CB8AB}" dt="2023-02-09T04:42:32.325" v="18" actId="47"/>
        <pc:sldMkLst>
          <pc:docMk/>
          <pc:sldMk cId="3145140750" sldId="2588"/>
        </pc:sldMkLst>
      </pc:sldChg>
      <pc:sldChg chg="del">
        <pc:chgData name="Aurelien Domont" userId="6da7715ce44349b3" providerId="LiveId" clId="{F5CB8D7B-D02E-4687-8CA4-C8B5B52CB8AB}" dt="2023-02-09T04:42:32.325" v="18" actId="47"/>
        <pc:sldMkLst>
          <pc:docMk/>
          <pc:sldMk cId="1870678215" sldId="2589"/>
        </pc:sldMkLst>
      </pc:sldChg>
      <pc:sldChg chg="del">
        <pc:chgData name="Aurelien Domont" userId="6da7715ce44349b3" providerId="LiveId" clId="{F5CB8D7B-D02E-4687-8CA4-C8B5B52CB8AB}" dt="2023-02-09T04:42:32.325" v="18" actId="47"/>
        <pc:sldMkLst>
          <pc:docMk/>
          <pc:sldMk cId="3987364234" sldId="2590"/>
        </pc:sldMkLst>
      </pc:sldChg>
      <pc:sldChg chg="del">
        <pc:chgData name="Aurelien Domont" userId="6da7715ce44349b3" providerId="LiveId" clId="{F5CB8D7B-D02E-4687-8CA4-C8B5B52CB8AB}" dt="2023-02-09T04:42:32.325" v="18" actId="47"/>
        <pc:sldMkLst>
          <pc:docMk/>
          <pc:sldMk cId="2387750748" sldId="2591"/>
        </pc:sldMkLst>
      </pc:sldChg>
      <pc:sldChg chg="del">
        <pc:chgData name="Aurelien Domont" userId="6da7715ce44349b3" providerId="LiveId" clId="{F5CB8D7B-D02E-4687-8CA4-C8B5B52CB8AB}" dt="2023-02-09T04:42:32.325" v="18" actId="47"/>
        <pc:sldMkLst>
          <pc:docMk/>
          <pc:sldMk cId="3404398653" sldId="2592"/>
        </pc:sldMkLst>
      </pc:sldChg>
      <pc:sldChg chg="del">
        <pc:chgData name="Aurelien Domont" userId="6da7715ce44349b3" providerId="LiveId" clId="{F5CB8D7B-D02E-4687-8CA4-C8B5B52CB8AB}" dt="2023-02-09T04:42:32.325" v="18" actId="47"/>
        <pc:sldMkLst>
          <pc:docMk/>
          <pc:sldMk cId="1271381689" sldId="2593"/>
        </pc:sldMkLst>
      </pc:sldChg>
      <pc:sldChg chg="del">
        <pc:chgData name="Aurelien Domont" userId="6da7715ce44349b3" providerId="LiveId" clId="{F5CB8D7B-D02E-4687-8CA4-C8B5B52CB8AB}" dt="2023-02-09T04:42:32.325" v="18" actId="47"/>
        <pc:sldMkLst>
          <pc:docMk/>
          <pc:sldMk cId="3027148322" sldId="2594"/>
        </pc:sldMkLst>
      </pc:sldChg>
      <pc:sldChg chg="del">
        <pc:chgData name="Aurelien Domont" userId="6da7715ce44349b3" providerId="LiveId" clId="{F5CB8D7B-D02E-4687-8CA4-C8B5B52CB8AB}" dt="2023-02-09T04:42:32.325" v="18" actId="47"/>
        <pc:sldMkLst>
          <pc:docMk/>
          <pc:sldMk cId="1134372063" sldId="2595"/>
        </pc:sldMkLst>
      </pc:sldChg>
      <pc:sldChg chg="del">
        <pc:chgData name="Aurelien Domont" userId="6da7715ce44349b3" providerId="LiveId" clId="{F5CB8D7B-D02E-4687-8CA4-C8B5B52CB8AB}" dt="2023-02-09T04:42:32.325" v="18" actId="47"/>
        <pc:sldMkLst>
          <pc:docMk/>
          <pc:sldMk cId="271317158" sldId="2596"/>
        </pc:sldMkLst>
      </pc:sldChg>
      <pc:sldChg chg="del">
        <pc:chgData name="Aurelien Domont" userId="6da7715ce44349b3" providerId="LiveId" clId="{F5CB8D7B-D02E-4687-8CA4-C8B5B52CB8AB}" dt="2023-02-09T04:42:32.325" v="18" actId="47"/>
        <pc:sldMkLst>
          <pc:docMk/>
          <pc:sldMk cId="990426303" sldId="2597"/>
        </pc:sldMkLst>
      </pc:sldChg>
      <pc:sldChg chg="del">
        <pc:chgData name="Aurelien Domont" userId="6da7715ce44349b3" providerId="LiveId" clId="{F5CB8D7B-D02E-4687-8CA4-C8B5B52CB8AB}" dt="2023-02-09T04:42:32.325" v="18" actId="47"/>
        <pc:sldMkLst>
          <pc:docMk/>
          <pc:sldMk cId="3404802973" sldId="2598"/>
        </pc:sldMkLst>
      </pc:sldChg>
      <pc:sldChg chg="del">
        <pc:chgData name="Aurelien Domont" userId="6da7715ce44349b3" providerId="LiveId" clId="{F5CB8D7B-D02E-4687-8CA4-C8B5B52CB8AB}" dt="2023-02-09T04:42:32.325" v="18" actId="47"/>
        <pc:sldMkLst>
          <pc:docMk/>
          <pc:sldMk cId="3709563799" sldId="2599"/>
        </pc:sldMkLst>
      </pc:sldChg>
      <pc:sldChg chg="del">
        <pc:chgData name="Aurelien Domont" userId="6da7715ce44349b3" providerId="LiveId" clId="{F5CB8D7B-D02E-4687-8CA4-C8B5B52CB8AB}" dt="2023-02-09T04:42:32.325" v="18" actId="47"/>
        <pc:sldMkLst>
          <pc:docMk/>
          <pc:sldMk cId="1351119352" sldId="2600"/>
        </pc:sldMkLst>
      </pc:sldChg>
      <pc:sldChg chg="del">
        <pc:chgData name="Aurelien Domont" userId="6da7715ce44349b3" providerId="LiveId" clId="{F5CB8D7B-D02E-4687-8CA4-C8B5B52CB8AB}" dt="2023-02-09T04:42:32.325" v="18" actId="47"/>
        <pc:sldMkLst>
          <pc:docMk/>
          <pc:sldMk cId="519061037" sldId="2601"/>
        </pc:sldMkLst>
      </pc:sldChg>
      <pc:sldChg chg="del">
        <pc:chgData name="Aurelien Domont" userId="6da7715ce44349b3" providerId="LiveId" clId="{F5CB8D7B-D02E-4687-8CA4-C8B5B52CB8AB}" dt="2023-02-09T04:42:32.325" v="18" actId="47"/>
        <pc:sldMkLst>
          <pc:docMk/>
          <pc:sldMk cId="4192037883" sldId="2602"/>
        </pc:sldMkLst>
      </pc:sldChg>
      <pc:sldChg chg="del">
        <pc:chgData name="Aurelien Domont" userId="6da7715ce44349b3" providerId="LiveId" clId="{F5CB8D7B-D02E-4687-8CA4-C8B5B52CB8AB}" dt="2023-02-09T04:42:32.325" v="18" actId="47"/>
        <pc:sldMkLst>
          <pc:docMk/>
          <pc:sldMk cId="2966377203" sldId="2603"/>
        </pc:sldMkLst>
      </pc:sldChg>
      <pc:sldChg chg="del">
        <pc:chgData name="Aurelien Domont" userId="6da7715ce44349b3" providerId="LiveId" clId="{F5CB8D7B-D02E-4687-8CA4-C8B5B52CB8AB}" dt="2023-02-09T04:42:32.325" v="18" actId="47"/>
        <pc:sldMkLst>
          <pc:docMk/>
          <pc:sldMk cId="3075035238" sldId="2604"/>
        </pc:sldMkLst>
      </pc:sldChg>
      <pc:sldChg chg="del">
        <pc:chgData name="Aurelien Domont" userId="6da7715ce44349b3" providerId="LiveId" clId="{F5CB8D7B-D02E-4687-8CA4-C8B5B52CB8AB}" dt="2023-02-09T04:42:32.325" v="18" actId="47"/>
        <pc:sldMkLst>
          <pc:docMk/>
          <pc:sldMk cId="1032995605" sldId="2605"/>
        </pc:sldMkLst>
      </pc:sldChg>
      <pc:sldChg chg="del">
        <pc:chgData name="Aurelien Domont" userId="6da7715ce44349b3" providerId="LiveId" clId="{F5CB8D7B-D02E-4687-8CA4-C8B5B52CB8AB}" dt="2023-02-09T04:42:32.325" v="18" actId="47"/>
        <pc:sldMkLst>
          <pc:docMk/>
          <pc:sldMk cId="246641167" sldId="2606"/>
        </pc:sldMkLst>
      </pc:sldChg>
      <pc:sldChg chg="del">
        <pc:chgData name="Aurelien Domont" userId="6da7715ce44349b3" providerId="LiveId" clId="{F5CB8D7B-D02E-4687-8CA4-C8B5B52CB8AB}" dt="2023-02-09T04:42:32.325" v="18" actId="47"/>
        <pc:sldMkLst>
          <pc:docMk/>
          <pc:sldMk cId="4278786815" sldId="2607"/>
        </pc:sldMkLst>
      </pc:sldChg>
      <pc:sldChg chg="del">
        <pc:chgData name="Aurelien Domont" userId="6da7715ce44349b3" providerId="LiveId" clId="{F5CB8D7B-D02E-4687-8CA4-C8B5B52CB8AB}" dt="2023-02-09T04:42:32.325" v="18" actId="47"/>
        <pc:sldMkLst>
          <pc:docMk/>
          <pc:sldMk cId="217879835" sldId="2608"/>
        </pc:sldMkLst>
      </pc:sldChg>
      <pc:sldChg chg="del">
        <pc:chgData name="Aurelien Domont" userId="6da7715ce44349b3" providerId="LiveId" clId="{F5CB8D7B-D02E-4687-8CA4-C8B5B52CB8AB}" dt="2023-02-09T04:42:32.325" v="18" actId="47"/>
        <pc:sldMkLst>
          <pc:docMk/>
          <pc:sldMk cId="1336764095" sldId="2609"/>
        </pc:sldMkLst>
      </pc:sldChg>
      <pc:sldChg chg="del">
        <pc:chgData name="Aurelien Domont" userId="6da7715ce44349b3" providerId="LiveId" clId="{F5CB8D7B-D02E-4687-8CA4-C8B5B52CB8AB}" dt="2023-02-09T04:42:32.325" v="18" actId="47"/>
        <pc:sldMkLst>
          <pc:docMk/>
          <pc:sldMk cId="277450242" sldId="2610"/>
        </pc:sldMkLst>
      </pc:sldChg>
      <pc:sldChg chg="del">
        <pc:chgData name="Aurelien Domont" userId="6da7715ce44349b3" providerId="LiveId" clId="{F5CB8D7B-D02E-4687-8CA4-C8B5B52CB8AB}" dt="2023-02-09T04:42:32.325" v="18" actId="47"/>
        <pc:sldMkLst>
          <pc:docMk/>
          <pc:sldMk cId="1203881852" sldId="2611"/>
        </pc:sldMkLst>
      </pc:sldChg>
      <pc:sldChg chg="del">
        <pc:chgData name="Aurelien Domont" userId="6da7715ce44349b3" providerId="LiveId" clId="{F5CB8D7B-D02E-4687-8CA4-C8B5B52CB8AB}" dt="2023-02-09T04:42:32.325" v="18" actId="47"/>
        <pc:sldMkLst>
          <pc:docMk/>
          <pc:sldMk cId="699144254" sldId="2612"/>
        </pc:sldMkLst>
      </pc:sldChg>
      <pc:sldChg chg="del">
        <pc:chgData name="Aurelien Domont" userId="6da7715ce44349b3" providerId="LiveId" clId="{F5CB8D7B-D02E-4687-8CA4-C8B5B52CB8AB}" dt="2023-02-09T04:42:32.325" v="18" actId="47"/>
        <pc:sldMkLst>
          <pc:docMk/>
          <pc:sldMk cId="950384843" sldId="2613"/>
        </pc:sldMkLst>
      </pc:sldChg>
      <pc:sldChg chg="del">
        <pc:chgData name="Aurelien Domont" userId="6da7715ce44349b3" providerId="LiveId" clId="{F5CB8D7B-D02E-4687-8CA4-C8B5B52CB8AB}" dt="2023-02-09T04:42:32.325" v="18" actId="47"/>
        <pc:sldMkLst>
          <pc:docMk/>
          <pc:sldMk cId="4093862865" sldId="2614"/>
        </pc:sldMkLst>
      </pc:sldChg>
      <pc:sldChg chg="del">
        <pc:chgData name="Aurelien Domont" userId="6da7715ce44349b3" providerId="LiveId" clId="{F5CB8D7B-D02E-4687-8CA4-C8B5B52CB8AB}" dt="2023-02-09T04:42:32.325" v="18" actId="47"/>
        <pc:sldMkLst>
          <pc:docMk/>
          <pc:sldMk cId="271808611" sldId="2615"/>
        </pc:sldMkLst>
      </pc:sldChg>
      <pc:sldChg chg="del">
        <pc:chgData name="Aurelien Domont" userId="6da7715ce44349b3" providerId="LiveId" clId="{F5CB8D7B-D02E-4687-8CA4-C8B5B52CB8AB}" dt="2023-02-09T04:42:32.325" v="18" actId="47"/>
        <pc:sldMkLst>
          <pc:docMk/>
          <pc:sldMk cId="4216206616" sldId="2616"/>
        </pc:sldMkLst>
      </pc:sldChg>
      <pc:sldChg chg="del">
        <pc:chgData name="Aurelien Domont" userId="6da7715ce44349b3" providerId="LiveId" clId="{F5CB8D7B-D02E-4687-8CA4-C8B5B52CB8AB}" dt="2023-02-09T04:42:32.325" v="18" actId="47"/>
        <pc:sldMkLst>
          <pc:docMk/>
          <pc:sldMk cId="521784118" sldId="2617"/>
        </pc:sldMkLst>
      </pc:sldChg>
      <pc:sldChg chg="del">
        <pc:chgData name="Aurelien Domont" userId="6da7715ce44349b3" providerId="LiveId" clId="{F5CB8D7B-D02E-4687-8CA4-C8B5B52CB8AB}" dt="2023-02-09T04:42:32.325" v="18" actId="47"/>
        <pc:sldMkLst>
          <pc:docMk/>
          <pc:sldMk cId="883288700" sldId="2618"/>
        </pc:sldMkLst>
      </pc:sldChg>
      <pc:sldChg chg="del">
        <pc:chgData name="Aurelien Domont" userId="6da7715ce44349b3" providerId="LiveId" clId="{F5CB8D7B-D02E-4687-8CA4-C8B5B52CB8AB}" dt="2023-02-09T04:42:32.325" v="18" actId="47"/>
        <pc:sldMkLst>
          <pc:docMk/>
          <pc:sldMk cId="1477443042" sldId="2619"/>
        </pc:sldMkLst>
      </pc:sldChg>
      <pc:sldChg chg="del">
        <pc:chgData name="Aurelien Domont" userId="6da7715ce44349b3" providerId="LiveId" clId="{F5CB8D7B-D02E-4687-8CA4-C8B5B52CB8AB}" dt="2023-02-09T04:42:32.325" v="18" actId="47"/>
        <pc:sldMkLst>
          <pc:docMk/>
          <pc:sldMk cId="3090989609" sldId="2620"/>
        </pc:sldMkLst>
      </pc:sldChg>
      <pc:sldChg chg="del">
        <pc:chgData name="Aurelien Domont" userId="6da7715ce44349b3" providerId="LiveId" clId="{F5CB8D7B-D02E-4687-8CA4-C8B5B52CB8AB}" dt="2023-02-09T04:42:32.325" v="18" actId="47"/>
        <pc:sldMkLst>
          <pc:docMk/>
          <pc:sldMk cId="145987337" sldId="2621"/>
        </pc:sldMkLst>
      </pc:sldChg>
      <pc:sldChg chg="del">
        <pc:chgData name="Aurelien Domont" userId="6da7715ce44349b3" providerId="LiveId" clId="{F5CB8D7B-D02E-4687-8CA4-C8B5B52CB8AB}" dt="2023-02-09T04:42:32.325" v="18" actId="47"/>
        <pc:sldMkLst>
          <pc:docMk/>
          <pc:sldMk cId="930751640" sldId="2622"/>
        </pc:sldMkLst>
      </pc:sldChg>
      <pc:sldChg chg="del">
        <pc:chgData name="Aurelien Domont" userId="6da7715ce44349b3" providerId="LiveId" clId="{F5CB8D7B-D02E-4687-8CA4-C8B5B52CB8AB}" dt="2023-02-09T04:42:32.325" v="18" actId="47"/>
        <pc:sldMkLst>
          <pc:docMk/>
          <pc:sldMk cId="647264979" sldId="2623"/>
        </pc:sldMkLst>
      </pc:sldChg>
      <pc:sldChg chg="del">
        <pc:chgData name="Aurelien Domont" userId="6da7715ce44349b3" providerId="LiveId" clId="{F5CB8D7B-D02E-4687-8CA4-C8B5B52CB8AB}" dt="2023-02-09T04:42:32.325" v="18" actId="47"/>
        <pc:sldMkLst>
          <pc:docMk/>
          <pc:sldMk cId="1875087816" sldId="2624"/>
        </pc:sldMkLst>
      </pc:sldChg>
      <pc:sldChg chg="del">
        <pc:chgData name="Aurelien Domont" userId="6da7715ce44349b3" providerId="LiveId" clId="{F5CB8D7B-D02E-4687-8CA4-C8B5B52CB8AB}" dt="2023-02-09T04:42:32.325" v="18" actId="47"/>
        <pc:sldMkLst>
          <pc:docMk/>
          <pc:sldMk cId="2288615205" sldId="2625"/>
        </pc:sldMkLst>
      </pc:sldChg>
      <pc:sldChg chg="del">
        <pc:chgData name="Aurelien Domont" userId="6da7715ce44349b3" providerId="LiveId" clId="{F5CB8D7B-D02E-4687-8CA4-C8B5B52CB8AB}" dt="2023-02-09T04:42:32.325" v="18" actId="47"/>
        <pc:sldMkLst>
          <pc:docMk/>
          <pc:sldMk cId="3024276857" sldId="2627"/>
        </pc:sldMkLst>
      </pc:sldChg>
      <pc:sldChg chg="del">
        <pc:chgData name="Aurelien Domont" userId="6da7715ce44349b3" providerId="LiveId" clId="{F5CB8D7B-D02E-4687-8CA4-C8B5B52CB8AB}" dt="2023-02-09T04:42:32.325" v="18" actId="47"/>
        <pc:sldMkLst>
          <pc:docMk/>
          <pc:sldMk cId="2401429624" sldId="2628"/>
        </pc:sldMkLst>
      </pc:sldChg>
      <pc:sldChg chg="del">
        <pc:chgData name="Aurelien Domont" userId="6da7715ce44349b3" providerId="LiveId" clId="{F5CB8D7B-D02E-4687-8CA4-C8B5B52CB8AB}" dt="2023-02-09T04:42:32.325" v="18" actId="47"/>
        <pc:sldMkLst>
          <pc:docMk/>
          <pc:sldMk cId="557752984" sldId="2629"/>
        </pc:sldMkLst>
      </pc:sldChg>
      <pc:sldChg chg="del">
        <pc:chgData name="Aurelien Domont" userId="6da7715ce44349b3" providerId="LiveId" clId="{F5CB8D7B-D02E-4687-8CA4-C8B5B52CB8AB}" dt="2023-02-09T04:42:32.325" v="18" actId="47"/>
        <pc:sldMkLst>
          <pc:docMk/>
          <pc:sldMk cId="2774501735" sldId="2630"/>
        </pc:sldMkLst>
      </pc:sldChg>
      <pc:sldChg chg="del">
        <pc:chgData name="Aurelien Domont" userId="6da7715ce44349b3" providerId="LiveId" clId="{F5CB8D7B-D02E-4687-8CA4-C8B5B52CB8AB}" dt="2023-02-09T04:42:32.325" v="18" actId="47"/>
        <pc:sldMkLst>
          <pc:docMk/>
          <pc:sldMk cId="152977254" sldId="2631"/>
        </pc:sldMkLst>
      </pc:sldChg>
      <pc:sldChg chg="del">
        <pc:chgData name="Aurelien Domont" userId="6da7715ce44349b3" providerId="LiveId" clId="{F5CB8D7B-D02E-4687-8CA4-C8B5B52CB8AB}" dt="2023-02-09T04:42:32.325" v="18" actId="47"/>
        <pc:sldMkLst>
          <pc:docMk/>
          <pc:sldMk cId="2556662504" sldId="2632"/>
        </pc:sldMkLst>
      </pc:sldChg>
      <pc:sldChg chg="del">
        <pc:chgData name="Aurelien Domont" userId="6da7715ce44349b3" providerId="LiveId" clId="{F5CB8D7B-D02E-4687-8CA4-C8B5B52CB8AB}" dt="2023-02-09T04:42:32.325" v="18" actId="47"/>
        <pc:sldMkLst>
          <pc:docMk/>
          <pc:sldMk cId="1690563895" sldId="2633"/>
        </pc:sldMkLst>
      </pc:sldChg>
      <pc:sldChg chg="del">
        <pc:chgData name="Aurelien Domont" userId="6da7715ce44349b3" providerId="LiveId" clId="{F5CB8D7B-D02E-4687-8CA4-C8B5B52CB8AB}" dt="2023-02-09T04:42:32.325" v="18" actId="47"/>
        <pc:sldMkLst>
          <pc:docMk/>
          <pc:sldMk cId="2065251419" sldId="2634"/>
        </pc:sldMkLst>
      </pc:sldChg>
      <pc:sldChg chg="del">
        <pc:chgData name="Aurelien Domont" userId="6da7715ce44349b3" providerId="LiveId" clId="{F5CB8D7B-D02E-4687-8CA4-C8B5B52CB8AB}" dt="2023-02-09T04:42:32.325" v="18" actId="47"/>
        <pc:sldMkLst>
          <pc:docMk/>
          <pc:sldMk cId="3605416799" sldId="2635"/>
        </pc:sldMkLst>
      </pc:sldChg>
      <pc:sldChg chg="del">
        <pc:chgData name="Aurelien Domont" userId="6da7715ce44349b3" providerId="LiveId" clId="{F5CB8D7B-D02E-4687-8CA4-C8B5B52CB8AB}" dt="2023-02-09T04:42:32.325" v="18" actId="47"/>
        <pc:sldMkLst>
          <pc:docMk/>
          <pc:sldMk cId="2637135031" sldId="2636"/>
        </pc:sldMkLst>
      </pc:sldChg>
      <pc:sldChg chg="del">
        <pc:chgData name="Aurelien Domont" userId="6da7715ce44349b3" providerId="LiveId" clId="{F5CB8D7B-D02E-4687-8CA4-C8B5B52CB8AB}" dt="2023-02-09T04:42:32.325" v="18" actId="47"/>
        <pc:sldMkLst>
          <pc:docMk/>
          <pc:sldMk cId="874617753" sldId="2637"/>
        </pc:sldMkLst>
      </pc:sldChg>
      <pc:sldChg chg="del">
        <pc:chgData name="Aurelien Domont" userId="6da7715ce44349b3" providerId="LiveId" clId="{F5CB8D7B-D02E-4687-8CA4-C8B5B52CB8AB}" dt="2023-02-09T04:42:32.325" v="18" actId="47"/>
        <pc:sldMkLst>
          <pc:docMk/>
          <pc:sldMk cId="2412603565" sldId="2638"/>
        </pc:sldMkLst>
      </pc:sldChg>
      <pc:sldChg chg="del">
        <pc:chgData name="Aurelien Domont" userId="6da7715ce44349b3" providerId="LiveId" clId="{F5CB8D7B-D02E-4687-8CA4-C8B5B52CB8AB}" dt="2023-02-09T04:42:32.325" v="18" actId="47"/>
        <pc:sldMkLst>
          <pc:docMk/>
          <pc:sldMk cId="921222379" sldId="2639"/>
        </pc:sldMkLst>
      </pc:sldChg>
      <pc:sldChg chg="del">
        <pc:chgData name="Aurelien Domont" userId="6da7715ce44349b3" providerId="LiveId" clId="{F5CB8D7B-D02E-4687-8CA4-C8B5B52CB8AB}" dt="2023-02-09T04:42:32.325" v="18" actId="47"/>
        <pc:sldMkLst>
          <pc:docMk/>
          <pc:sldMk cId="161867065" sldId="2640"/>
        </pc:sldMkLst>
      </pc:sldChg>
      <pc:sldChg chg="del">
        <pc:chgData name="Aurelien Domont" userId="6da7715ce44349b3" providerId="LiveId" clId="{F5CB8D7B-D02E-4687-8CA4-C8B5B52CB8AB}" dt="2023-02-09T04:42:32.325" v="18" actId="47"/>
        <pc:sldMkLst>
          <pc:docMk/>
          <pc:sldMk cId="568804104" sldId="2641"/>
        </pc:sldMkLst>
      </pc:sldChg>
      <pc:sldChg chg="del">
        <pc:chgData name="Aurelien Domont" userId="6da7715ce44349b3" providerId="LiveId" clId="{F5CB8D7B-D02E-4687-8CA4-C8B5B52CB8AB}" dt="2023-02-09T04:42:32.325" v="18" actId="47"/>
        <pc:sldMkLst>
          <pc:docMk/>
          <pc:sldMk cId="768467491" sldId="2642"/>
        </pc:sldMkLst>
      </pc:sldChg>
      <pc:sldChg chg="del">
        <pc:chgData name="Aurelien Domont" userId="6da7715ce44349b3" providerId="LiveId" clId="{F5CB8D7B-D02E-4687-8CA4-C8B5B52CB8AB}" dt="2023-02-09T04:42:32.325" v="18" actId="47"/>
        <pc:sldMkLst>
          <pc:docMk/>
          <pc:sldMk cId="1189212000" sldId="2643"/>
        </pc:sldMkLst>
      </pc:sldChg>
      <pc:sldMasterChg chg="modSp mod delSldLayout">
        <pc:chgData name="Aurelien Domont" userId="6da7715ce44349b3" providerId="LiveId" clId="{F5CB8D7B-D02E-4687-8CA4-C8B5B52CB8AB}" dt="2023-02-10T02:37:46.975" v="1913" actId="2696"/>
        <pc:sldMasterMkLst>
          <pc:docMk/>
          <pc:sldMasterMk cId="3179465119" sldId="2147483921"/>
        </pc:sldMasterMkLst>
        <pc:spChg chg="mod">
          <ac:chgData name="Aurelien Domont" userId="6da7715ce44349b3" providerId="LiveId" clId="{F5CB8D7B-D02E-4687-8CA4-C8B5B52CB8AB}" dt="2023-02-09T04:49:15.178" v="28" actId="207"/>
          <ac:spMkLst>
            <pc:docMk/>
            <pc:sldMasterMk cId="3179465119" sldId="2147483921"/>
            <ac:spMk id="7" creationId="{0A6EF046-E2A6-4720-9885-7D0C3C04F3D7}"/>
          </ac:spMkLst>
        </pc:spChg>
        <pc:sldLayoutChg chg="del">
          <pc:chgData name="Aurelien Domont" userId="6da7715ce44349b3" providerId="LiveId" clId="{F5CB8D7B-D02E-4687-8CA4-C8B5B52CB8AB}" dt="2023-02-10T02:36:33.795" v="1881" actId="47"/>
          <pc:sldLayoutMkLst>
            <pc:docMk/>
            <pc:sldMasterMk cId="3179465119" sldId="2147483921"/>
            <pc:sldLayoutMk cId="806347745" sldId="2147484073"/>
          </pc:sldLayoutMkLst>
        </pc:sldLayoutChg>
        <pc:sldLayoutChg chg="del">
          <pc:chgData name="Aurelien Domont" userId="6da7715ce44349b3" providerId="LiveId" clId="{F5CB8D7B-D02E-4687-8CA4-C8B5B52CB8AB}" dt="2023-02-10T02:37:46.975" v="1913" actId="2696"/>
          <pc:sldLayoutMkLst>
            <pc:docMk/>
            <pc:sldMasterMk cId="3179465119" sldId="2147483921"/>
            <pc:sldLayoutMk cId="142809943" sldId="2147484075"/>
          </pc:sldLayoutMkLst>
        </pc:sldLayoutChg>
      </pc:sldMasterChg>
    </pc:docChg>
  </pc:docChgLst>
  <pc:docChgLst>
    <pc:chgData name="Aurelien Domont" userId="6da7715ce44349b3" providerId="LiveId" clId="{900ED9AA-9E3E-4466-B9E3-DFC8365613D8}"/>
    <pc:docChg chg="undo redo custSel addSld delSld modSld sldOrd modMainMaster">
      <pc:chgData name="Aurelien Domont" userId="6da7715ce44349b3" providerId="LiveId" clId="{900ED9AA-9E3E-4466-B9E3-DFC8365613D8}" dt="2022-03-22T04:12:39.664" v="3429" actId="313"/>
      <pc:docMkLst>
        <pc:docMk/>
      </pc:docMkLst>
      <pc:sldChg chg="modSp mod">
        <pc:chgData name="Aurelien Domont" userId="6da7715ce44349b3" providerId="LiveId" clId="{900ED9AA-9E3E-4466-B9E3-DFC8365613D8}" dt="2022-03-17T03:28:53.824" v="20" actId="6549"/>
        <pc:sldMkLst>
          <pc:docMk/>
          <pc:sldMk cId="3131901387" sldId="256"/>
        </pc:sldMkLst>
        <pc:spChg chg="mod">
          <ac:chgData name="Aurelien Domont" userId="6da7715ce44349b3" providerId="LiveId" clId="{900ED9AA-9E3E-4466-B9E3-DFC8365613D8}" dt="2022-03-17T03:28:53.824" v="20" actId="6549"/>
          <ac:spMkLst>
            <pc:docMk/>
            <pc:sldMk cId="3131901387" sldId="256"/>
            <ac:spMk id="2" creationId="{5261080C-C60C-4746-B6B1-A9A4FFA86785}"/>
          </ac:spMkLst>
        </pc:spChg>
      </pc:sldChg>
      <pc:sldChg chg="modSp add ord">
        <pc:chgData name="Aurelien Domont" userId="6da7715ce44349b3" providerId="LiveId" clId="{900ED9AA-9E3E-4466-B9E3-DFC8365613D8}" dt="2022-03-17T03:40:35.135" v="194"/>
        <pc:sldMkLst>
          <pc:docMk/>
          <pc:sldMk cId="1447772011" sldId="1236"/>
        </pc:sldMkLst>
        <pc:spChg chg="mod">
          <ac:chgData name="Aurelien Domont" userId="6da7715ce44349b3" providerId="LiveId" clId="{900ED9AA-9E3E-4466-B9E3-DFC8365613D8}" dt="2022-03-17T03:36:31.348" v="130"/>
          <ac:spMkLst>
            <pc:docMk/>
            <pc:sldMk cId="1447772011" sldId="1236"/>
            <ac:spMk id="2" creationId="{7837E1C4-A2D7-4558-A504-36AC8920218D}"/>
          </ac:spMkLst>
        </pc:spChg>
        <pc:spChg chg="mod">
          <ac:chgData name="Aurelien Domont" userId="6da7715ce44349b3" providerId="LiveId" clId="{900ED9AA-9E3E-4466-B9E3-DFC8365613D8}" dt="2022-03-17T03:36:31.348" v="130"/>
          <ac:spMkLst>
            <pc:docMk/>
            <pc:sldMk cId="1447772011" sldId="1236"/>
            <ac:spMk id="16" creationId="{6C2BB713-9637-4B9B-938F-E9768876782A}"/>
          </ac:spMkLst>
        </pc:spChg>
      </pc:sldChg>
      <pc:sldChg chg="modSp add mod ord">
        <pc:chgData name="Aurelien Domont" userId="6da7715ce44349b3" providerId="LiveId" clId="{900ED9AA-9E3E-4466-B9E3-DFC8365613D8}" dt="2022-03-17T05:06:42.394" v="1809"/>
        <pc:sldMkLst>
          <pc:docMk/>
          <pc:sldMk cId="3055921083" sldId="1499"/>
        </pc:sldMkLst>
        <pc:spChg chg="mod">
          <ac:chgData name="Aurelien Domont" userId="6da7715ce44349b3" providerId="LiveId" clId="{900ED9AA-9E3E-4466-B9E3-DFC8365613D8}" dt="2022-03-17T03:36:31.348" v="130"/>
          <ac:spMkLst>
            <pc:docMk/>
            <pc:sldMk cId="3055921083" sldId="1499"/>
            <ac:spMk id="3" creationId="{E7A26292-23DB-44E5-949D-BAFE0A7919DF}"/>
          </ac:spMkLst>
        </pc:spChg>
        <pc:spChg chg="mod">
          <ac:chgData name="Aurelien Domont" userId="6da7715ce44349b3" providerId="LiveId" clId="{900ED9AA-9E3E-4466-B9E3-DFC8365613D8}" dt="2022-03-17T05:05:27.907" v="1791" actId="20577"/>
          <ac:spMkLst>
            <pc:docMk/>
            <pc:sldMk cId="3055921083" sldId="1499"/>
            <ac:spMk id="16" creationId="{6C2BB713-9637-4B9B-938F-E9768876782A}"/>
          </ac:spMkLst>
        </pc:spChg>
        <pc:cxnChg chg="mod">
          <ac:chgData name="Aurelien Domont" userId="6da7715ce44349b3" providerId="LiveId" clId="{900ED9AA-9E3E-4466-B9E3-DFC8365613D8}" dt="2022-03-17T05:05:13.628" v="1788" actId="208"/>
          <ac:cxnSpMkLst>
            <pc:docMk/>
            <pc:sldMk cId="3055921083" sldId="1499"/>
            <ac:cxnSpMk id="8" creationId="{38635D47-71BC-4408-9BB9-3CB38F1037D8}"/>
          </ac:cxnSpMkLst>
        </pc:cxnChg>
        <pc:cxnChg chg="mod">
          <ac:chgData name="Aurelien Domont" userId="6da7715ce44349b3" providerId="LiveId" clId="{900ED9AA-9E3E-4466-B9E3-DFC8365613D8}" dt="2022-03-17T05:05:13.628" v="1788" actId="208"/>
          <ac:cxnSpMkLst>
            <pc:docMk/>
            <pc:sldMk cId="3055921083" sldId="1499"/>
            <ac:cxnSpMk id="9" creationId="{8EEF5A5E-69DC-4450-BCCB-82F0B486673C}"/>
          </ac:cxnSpMkLst>
        </pc:cxnChg>
        <pc:cxnChg chg="mod">
          <ac:chgData name="Aurelien Domont" userId="6da7715ce44349b3" providerId="LiveId" clId="{900ED9AA-9E3E-4466-B9E3-DFC8365613D8}" dt="2022-03-17T05:05:16.998" v="1789" actId="208"/>
          <ac:cxnSpMkLst>
            <pc:docMk/>
            <pc:sldMk cId="3055921083" sldId="1499"/>
            <ac:cxnSpMk id="18" creationId="{EADB9350-AA05-41AB-BD43-D721D1F89535}"/>
          </ac:cxnSpMkLst>
        </pc:cxnChg>
        <pc:cxnChg chg="mod">
          <ac:chgData name="Aurelien Domont" userId="6da7715ce44349b3" providerId="LiveId" clId="{900ED9AA-9E3E-4466-B9E3-DFC8365613D8}" dt="2022-03-17T05:05:16.998" v="1789" actId="208"/>
          <ac:cxnSpMkLst>
            <pc:docMk/>
            <pc:sldMk cId="3055921083" sldId="1499"/>
            <ac:cxnSpMk id="19" creationId="{0E52B779-997A-4CE1-B44C-88A76DEA89CE}"/>
          </ac:cxnSpMkLst>
        </pc:cxnChg>
        <pc:cxnChg chg="mod">
          <ac:chgData name="Aurelien Domont" userId="6da7715ce44349b3" providerId="LiveId" clId="{900ED9AA-9E3E-4466-B9E3-DFC8365613D8}" dt="2022-03-17T05:05:16.998" v="1789" actId="208"/>
          <ac:cxnSpMkLst>
            <pc:docMk/>
            <pc:sldMk cId="3055921083" sldId="1499"/>
            <ac:cxnSpMk id="20" creationId="{844636A1-19B4-42FD-A987-FB924BEE30C1}"/>
          </ac:cxnSpMkLst>
        </pc:cxnChg>
        <pc:cxnChg chg="mod">
          <ac:chgData name="Aurelien Domont" userId="6da7715ce44349b3" providerId="LiveId" clId="{900ED9AA-9E3E-4466-B9E3-DFC8365613D8}" dt="2022-03-17T05:05:16.998" v="1789" actId="208"/>
          <ac:cxnSpMkLst>
            <pc:docMk/>
            <pc:sldMk cId="3055921083" sldId="1499"/>
            <ac:cxnSpMk id="21" creationId="{3B5907D6-914B-4353-B81C-051AFA2A836D}"/>
          </ac:cxnSpMkLst>
        </pc:cxnChg>
        <pc:cxnChg chg="mod">
          <ac:chgData name="Aurelien Domont" userId="6da7715ce44349b3" providerId="LiveId" clId="{900ED9AA-9E3E-4466-B9E3-DFC8365613D8}" dt="2022-03-17T05:05:16.998" v="1789" actId="208"/>
          <ac:cxnSpMkLst>
            <pc:docMk/>
            <pc:sldMk cId="3055921083" sldId="1499"/>
            <ac:cxnSpMk id="22" creationId="{7DAA6AFB-F5AD-47E8-B62F-56081C9AC535}"/>
          </ac:cxnSpMkLst>
        </pc:cxnChg>
        <pc:cxnChg chg="mod">
          <ac:chgData name="Aurelien Domont" userId="6da7715ce44349b3" providerId="LiveId" clId="{900ED9AA-9E3E-4466-B9E3-DFC8365613D8}" dt="2022-03-17T05:05:16.998" v="1789" actId="208"/>
          <ac:cxnSpMkLst>
            <pc:docMk/>
            <pc:sldMk cId="3055921083" sldId="1499"/>
            <ac:cxnSpMk id="23" creationId="{D3786C36-C0A2-4925-B5C3-ED221FF47D32}"/>
          </ac:cxnSpMkLst>
        </pc:cxnChg>
      </pc:sldChg>
      <pc:sldChg chg="modSp add mod ord">
        <pc:chgData name="Aurelien Domont" userId="6da7715ce44349b3" providerId="LiveId" clId="{900ED9AA-9E3E-4466-B9E3-DFC8365613D8}" dt="2022-03-17T04:08:07.870" v="303" actId="20577"/>
        <pc:sldMkLst>
          <pc:docMk/>
          <pc:sldMk cId="2781049302" sldId="1518"/>
        </pc:sldMkLst>
        <pc:spChg chg="mod">
          <ac:chgData name="Aurelien Domont" userId="6da7715ce44349b3" providerId="LiveId" clId="{900ED9AA-9E3E-4466-B9E3-DFC8365613D8}" dt="2022-03-17T04:08:07.870" v="303" actId="20577"/>
          <ac:spMkLst>
            <pc:docMk/>
            <pc:sldMk cId="2781049302" sldId="1518"/>
            <ac:spMk id="2" creationId="{406113FD-AA7D-4249-90D7-70AF85BE48E1}"/>
          </ac:spMkLst>
        </pc:spChg>
        <pc:spChg chg="mod">
          <ac:chgData name="Aurelien Domont" userId="6da7715ce44349b3" providerId="LiveId" clId="{900ED9AA-9E3E-4466-B9E3-DFC8365613D8}" dt="2022-03-17T03:36:31.348" v="130"/>
          <ac:spMkLst>
            <pc:docMk/>
            <pc:sldMk cId="2781049302" sldId="1518"/>
            <ac:spMk id="9" creationId="{A4C0187A-3E85-4C87-AB6B-7D4F4276FE07}"/>
          </ac:spMkLst>
        </pc:spChg>
      </pc:sldChg>
      <pc:sldChg chg="add del">
        <pc:chgData name="Aurelien Domont" userId="6da7715ce44349b3" providerId="LiveId" clId="{900ED9AA-9E3E-4466-B9E3-DFC8365613D8}" dt="2022-03-17T03:48:31.672" v="197"/>
        <pc:sldMkLst>
          <pc:docMk/>
          <pc:sldMk cId="112122695" sldId="1521"/>
        </pc:sldMkLst>
      </pc:sldChg>
      <pc:sldChg chg="addSp delSp modSp add del mod ord">
        <pc:chgData name="Aurelien Domont" userId="6da7715ce44349b3" providerId="LiveId" clId="{900ED9AA-9E3E-4466-B9E3-DFC8365613D8}" dt="2022-03-17T04:27:51.392" v="539" actId="47"/>
        <pc:sldMkLst>
          <pc:docMk/>
          <pc:sldMk cId="1977376241" sldId="1523"/>
        </pc:sldMkLst>
        <pc:spChg chg="mod">
          <ac:chgData name="Aurelien Domont" userId="6da7715ce44349b3" providerId="LiveId" clId="{900ED9AA-9E3E-4466-B9E3-DFC8365613D8}" dt="2022-03-17T04:06:58.622" v="267"/>
          <ac:spMkLst>
            <pc:docMk/>
            <pc:sldMk cId="1977376241" sldId="1523"/>
            <ac:spMk id="2" creationId="{406113FD-AA7D-4249-90D7-70AF85BE48E1}"/>
          </ac:spMkLst>
        </pc:spChg>
        <pc:spChg chg="del">
          <ac:chgData name="Aurelien Domont" userId="6da7715ce44349b3" providerId="LiveId" clId="{900ED9AA-9E3E-4466-B9E3-DFC8365613D8}" dt="2022-03-17T04:16:36.265" v="334" actId="478"/>
          <ac:spMkLst>
            <pc:docMk/>
            <pc:sldMk cId="1977376241" sldId="1523"/>
            <ac:spMk id="7" creationId="{DED16909-0E4B-4301-B159-36BC85F535E4}"/>
          </ac:spMkLst>
        </pc:spChg>
        <pc:spChg chg="mod">
          <ac:chgData name="Aurelien Domont" userId="6da7715ce44349b3" providerId="LiveId" clId="{900ED9AA-9E3E-4466-B9E3-DFC8365613D8}" dt="2022-03-17T04:24:55.042" v="509" actId="1036"/>
          <ac:spMkLst>
            <pc:docMk/>
            <pc:sldMk cId="1977376241" sldId="1523"/>
            <ac:spMk id="8" creationId="{643E02EB-8B75-4C38-9EF6-D0B5B7FAD67E}"/>
          </ac:spMkLst>
        </pc:spChg>
        <pc:spChg chg="mod">
          <ac:chgData name="Aurelien Domont" userId="6da7715ce44349b3" providerId="LiveId" clId="{900ED9AA-9E3E-4466-B9E3-DFC8365613D8}" dt="2022-03-17T03:36:31.348" v="130"/>
          <ac:spMkLst>
            <pc:docMk/>
            <pc:sldMk cId="1977376241" sldId="1523"/>
            <ac:spMk id="9" creationId="{A4C0187A-3E85-4C87-AB6B-7D4F4276FE07}"/>
          </ac:spMkLst>
        </pc:spChg>
        <pc:spChg chg="mod">
          <ac:chgData name="Aurelien Domont" userId="6da7715ce44349b3" providerId="LiveId" clId="{900ED9AA-9E3E-4466-B9E3-DFC8365613D8}" dt="2022-03-17T04:24:55.042" v="509" actId="1036"/>
          <ac:spMkLst>
            <pc:docMk/>
            <pc:sldMk cId="1977376241" sldId="1523"/>
            <ac:spMk id="11" creationId="{AF56CC85-A5D6-4256-95AB-9A3896389D86}"/>
          </ac:spMkLst>
        </pc:spChg>
        <pc:spChg chg="mod">
          <ac:chgData name="Aurelien Domont" userId="6da7715ce44349b3" providerId="LiveId" clId="{900ED9AA-9E3E-4466-B9E3-DFC8365613D8}" dt="2022-03-17T04:24:55.042" v="509" actId="1036"/>
          <ac:spMkLst>
            <pc:docMk/>
            <pc:sldMk cId="1977376241" sldId="1523"/>
            <ac:spMk id="12" creationId="{88E1BB5B-5B76-4AD3-BEEC-878598F77BD3}"/>
          </ac:spMkLst>
        </pc:spChg>
        <pc:spChg chg="mod">
          <ac:chgData name="Aurelien Domont" userId="6da7715ce44349b3" providerId="LiveId" clId="{900ED9AA-9E3E-4466-B9E3-DFC8365613D8}" dt="2022-03-17T04:24:55.042" v="509" actId="1036"/>
          <ac:spMkLst>
            <pc:docMk/>
            <pc:sldMk cId="1977376241" sldId="1523"/>
            <ac:spMk id="13" creationId="{5253D664-BEB3-464F-90EA-C5D97ED728EB}"/>
          </ac:spMkLst>
        </pc:spChg>
        <pc:spChg chg="mod">
          <ac:chgData name="Aurelien Domont" userId="6da7715ce44349b3" providerId="LiveId" clId="{900ED9AA-9E3E-4466-B9E3-DFC8365613D8}" dt="2022-03-17T04:27:10.633" v="533" actId="20577"/>
          <ac:spMkLst>
            <pc:docMk/>
            <pc:sldMk cId="1977376241" sldId="1523"/>
            <ac:spMk id="14" creationId="{966000D9-7E71-44EB-AB18-656243290B9C}"/>
          </ac:spMkLst>
        </pc:spChg>
        <pc:spChg chg="del">
          <ac:chgData name="Aurelien Domont" userId="6da7715ce44349b3" providerId="LiveId" clId="{900ED9AA-9E3E-4466-B9E3-DFC8365613D8}" dt="2022-03-17T04:16:36.265" v="334" actId="478"/>
          <ac:spMkLst>
            <pc:docMk/>
            <pc:sldMk cId="1977376241" sldId="1523"/>
            <ac:spMk id="18" creationId="{21667EBA-148E-404F-8982-0A86B76DF75F}"/>
          </ac:spMkLst>
        </pc:spChg>
        <pc:spChg chg="del">
          <ac:chgData name="Aurelien Domont" userId="6da7715ce44349b3" providerId="LiveId" clId="{900ED9AA-9E3E-4466-B9E3-DFC8365613D8}" dt="2022-03-17T04:16:36.265" v="334" actId="478"/>
          <ac:spMkLst>
            <pc:docMk/>
            <pc:sldMk cId="1977376241" sldId="1523"/>
            <ac:spMk id="19" creationId="{A289CD58-124E-41FE-AE4A-7413D8561C63}"/>
          </ac:spMkLst>
        </pc:spChg>
        <pc:spChg chg="del mod">
          <ac:chgData name="Aurelien Domont" userId="6da7715ce44349b3" providerId="LiveId" clId="{900ED9AA-9E3E-4466-B9E3-DFC8365613D8}" dt="2022-03-17T04:18:19.907" v="429" actId="478"/>
          <ac:spMkLst>
            <pc:docMk/>
            <pc:sldMk cId="1977376241" sldId="1523"/>
            <ac:spMk id="23" creationId="{70CCACA5-BD53-469C-A542-B0A2E9A7904B}"/>
          </ac:spMkLst>
        </pc:spChg>
        <pc:spChg chg="del mod">
          <ac:chgData name="Aurelien Domont" userId="6da7715ce44349b3" providerId="LiveId" clId="{900ED9AA-9E3E-4466-B9E3-DFC8365613D8}" dt="2022-03-17T04:18:19.907" v="429" actId="478"/>
          <ac:spMkLst>
            <pc:docMk/>
            <pc:sldMk cId="1977376241" sldId="1523"/>
            <ac:spMk id="24" creationId="{A788007B-8FEE-4B01-806E-3471D5CADC36}"/>
          </ac:spMkLst>
        </pc:spChg>
        <pc:spChg chg="del mod">
          <ac:chgData name="Aurelien Domont" userId="6da7715ce44349b3" providerId="LiveId" clId="{900ED9AA-9E3E-4466-B9E3-DFC8365613D8}" dt="2022-03-17T04:18:22.465" v="430" actId="478"/>
          <ac:spMkLst>
            <pc:docMk/>
            <pc:sldMk cId="1977376241" sldId="1523"/>
            <ac:spMk id="25" creationId="{901792B2-3AEC-4E56-9FE8-C1B94858A50A}"/>
          </ac:spMkLst>
        </pc:spChg>
        <pc:spChg chg="add mod">
          <ac:chgData name="Aurelien Domont" userId="6da7715ce44349b3" providerId="LiveId" clId="{900ED9AA-9E3E-4466-B9E3-DFC8365613D8}" dt="2022-03-17T04:24:55.042" v="509" actId="1036"/>
          <ac:spMkLst>
            <pc:docMk/>
            <pc:sldMk cId="1977376241" sldId="1523"/>
            <ac:spMk id="33" creationId="{4EF69FF8-88B9-43CF-AF06-87A79D6B9B83}"/>
          </ac:spMkLst>
        </pc:spChg>
        <pc:spChg chg="add del mod">
          <ac:chgData name="Aurelien Domont" userId="6da7715ce44349b3" providerId="LiveId" clId="{900ED9AA-9E3E-4466-B9E3-DFC8365613D8}" dt="2022-03-17T04:18:22.465" v="430" actId="478"/>
          <ac:spMkLst>
            <pc:docMk/>
            <pc:sldMk cId="1977376241" sldId="1523"/>
            <ac:spMk id="34" creationId="{BFBC5766-0A96-4EFF-A81E-043D35DC5AFE}"/>
          </ac:spMkLst>
        </pc:spChg>
        <pc:spChg chg="add mod">
          <ac:chgData name="Aurelien Domont" userId="6da7715ce44349b3" providerId="LiveId" clId="{900ED9AA-9E3E-4466-B9E3-DFC8365613D8}" dt="2022-03-17T04:27:14.862" v="534"/>
          <ac:spMkLst>
            <pc:docMk/>
            <pc:sldMk cId="1977376241" sldId="1523"/>
            <ac:spMk id="35" creationId="{8D124B5C-16F9-43E0-AB1D-C4B2343CD8B4}"/>
          </ac:spMkLst>
        </pc:spChg>
        <pc:spChg chg="add mod">
          <ac:chgData name="Aurelien Domont" userId="6da7715ce44349b3" providerId="LiveId" clId="{900ED9AA-9E3E-4466-B9E3-DFC8365613D8}" dt="2022-03-17T04:27:16.114" v="535"/>
          <ac:spMkLst>
            <pc:docMk/>
            <pc:sldMk cId="1977376241" sldId="1523"/>
            <ac:spMk id="36" creationId="{4F3680D0-594D-4243-B1F1-CFABB54A7ED2}"/>
          </ac:spMkLst>
        </pc:spChg>
        <pc:spChg chg="add mod">
          <ac:chgData name="Aurelien Domont" userId="6da7715ce44349b3" providerId="LiveId" clId="{900ED9AA-9E3E-4466-B9E3-DFC8365613D8}" dt="2022-03-17T04:27:17.094" v="536"/>
          <ac:spMkLst>
            <pc:docMk/>
            <pc:sldMk cId="1977376241" sldId="1523"/>
            <ac:spMk id="37" creationId="{3EEA5287-6493-4CEA-BB1A-E10DFC178BC9}"/>
          </ac:spMkLst>
        </pc:spChg>
        <pc:spChg chg="add mod">
          <ac:chgData name="Aurelien Domont" userId="6da7715ce44349b3" providerId="LiveId" clId="{900ED9AA-9E3E-4466-B9E3-DFC8365613D8}" dt="2022-03-17T04:27:18.094" v="537"/>
          <ac:spMkLst>
            <pc:docMk/>
            <pc:sldMk cId="1977376241" sldId="1523"/>
            <ac:spMk id="38" creationId="{6887C043-EADD-4243-AE0B-B0EFA8F4FAFA}"/>
          </ac:spMkLst>
        </pc:spChg>
        <pc:spChg chg="add del mod">
          <ac:chgData name="Aurelien Domont" userId="6da7715ce44349b3" providerId="LiveId" clId="{900ED9AA-9E3E-4466-B9E3-DFC8365613D8}" dt="2022-03-17T04:27:22.241" v="538" actId="478"/>
          <ac:spMkLst>
            <pc:docMk/>
            <pc:sldMk cId="1977376241" sldId="1523"/>
            <ac:spMk id="39" creationId="{D6A8CF01-4B5E-4510-82F8-C5EF28227D9B}"/>
          </ac:spMkLst>
        </pc:spChg>
        <pc:spChg chg="del">
          <ac:chgData name="Aurelien Domont" userId="6da7715ce44349b3" providerId="LiveId" clId="{900ED9AA-9E3E-4466-B9E3-DFC8365613D8}" dt="2022-03-17T04:16:38.877" v="335" actId="478"/>
          <ac:spMkLst>
            <pc:docMk/>
            <pc:sldMk cId="1977376241" sldId="1523"/>
            <ac:spMk id="47" creationId="{0883B891-256A-48FE-B9C1-39E183617101}"/>
          </ac:spMkLst>
        </pc:spChg>
        <pc:spChg chg="del">
          <ac:chgData name="Aurelien Domont" userId="6da7715ce44349b3" providerId="LiveId" clId="{900ED9AA-9E3E-4466-B9E3-DFC8365613D8}" dt="2022-03-17T04:16:38.877" v="335" actId="478"/>
          <ac:spMkLst>
            <pc:docMk/>
            <pc:sldMk cId="1977376241" sldId="1523"/>
            <ac:spMk id="48" creationId="{C3AC8562-3CC5-4140-8678-578149CA49ED}"/>
          </ac:spMkLst>
        </pc:spChg>
        <pc:spChg chg="del">
          <ac:chgData name="Aurelien Domont" userId="6da7715ce44349b3" providerId="LiveId" clId="{900ED9AA-9E3E-4466-B9E3-DFC8365613D8}" dt="2022-03-17T04:16:38.877" v="335" actId="478"/>
          <ac:spMkLst>
            <pc:docMk/>
            <pc:sldMk cId="1977376241" sldId="1523"/>
            <ac:spMk id="49" creationId="{A6D541F8-0448-4D65-BE77-CB9529A790FF}"/>
          </ac:spMkLst>
        </pc:spChg>
        <pc:spChg chg="del">
          <ac:chgData name="Aurelien Domont" userId="6da7715ce44349b3" providerId="LiveId" clId="{900ED9AA-9E3E-4466-B9E3-DFC8365613D8}" dt="2022-03-17T04:16:38.877" v="335" actId="478"/>
          <ac:spMkLst>
            <pc:docMk/>
            <pc:sldMk cId="1977376241" sldId="1523"/>
            <ac:spMk id="50" creationId="{A45AABD4-77C6-42CB-A615-32CC45E6768C}"/>
          </ac:spMkLst>
        </pc:spChg>
        <pc:spChg chg="del">
          <ac:chgData name="Aurelien Domont" userId="6da7715ce44349b3" providerId="LiveId" clId="{900ED9AA-9E3E-4466-B9E3-DFC8365613D8}" dt="2022-03-17T04:16:38.877" v="335" actId="478"/>
          <ac:spMkLst>
            <pc:docMk/>
            <pc:sldMk cId="1977376241" sldId="1523"/>
            <ac:spMk id="51" creationId="{398D1738-67E8-4FEA-832C-33F2415CCFFB}"/>
          </ac:spMkLst>
        </pc:spChg>
        <pc:spChg chg="del">
          <ac:chgData name="Aurelien Domont" userId="6da7715ce44349b3" providerId="LiveId" clId="{900ED9AA-9E3E-4466-B9E3-DFC8365613D8}" dt="2022-03-17T04:16:38.877" v="335" actId="478"/>
          <ac:spMkLst>
            <pc:docMk/>
            <pc:sldMk cId="1977376241" sldId="1523"/>
            <ac:spMk id="52" creationId="{B0C73DB1-1852-4DA8-920B-C41B396C2516}"/>
          </ac:spMkLst>
        </pc:spChg>
        <pc:spChg chg="del">
          <ac:chgData name="Aurelien Domont" userId="6da7715ce44349b3" providerId="LiveId" clId="{900ED9AA-9E3E-4466-B9E3-DFC8365613D8}" dt="2022-03-17T04:16:38.877" v="335" actId="478"/>
          <ac:spMkLst>
            <pc:docMk/>
            <pc:sldMk cId="1977376241" sldId="1523"/>
            <ac:spMk id="53" creationId="{61F34C0D-A4C3-4389-9FED-B56C4A60D496}"/>
          </ac:spMkLst>
        </pc:spChg>
        <pc:spChg chg="del">
          <ac:chgData name="Aurelien Domont" userId="6da7715ce44349b3" providerId="LiveId" clId="{900ED9AA-9E3E-4466-B9E3-DFC8365613D8}" dt="2022-03-17T04:16:38.877" v="335" actId="478"/>
          <ac:spMkLst>
            <pc:docMk/>
            <pc:sldMk cId="1977376241" sldId="1523"/>
            <ac:spMk id="54" creationId="{4761CBDB-EF6F-4A19-A5E2-A61D5D91C0B5}"/>
          </ac:spMkLst>
        </pc:spChg>
        <pc:spChg chg="del">
          <ac:chgData name="Aurelien Domont" userId="6da7715ce44349b3" providerId="LiveId" clId="{900ED9AA-9E3E-4466-B9E3-DFC8365613D8}" dt="2022-03-17T04:16:38.877" v="335" actId="478"/>
          <ac:spMkLst>
            <pc:docMk/>
            <pc:sldMk cId="1977376241" sldId="1523"/>
            <ac:spMk id="55" creationId="{FADC66E2-519F-4733-94E5-E1C150CD4D59}"/>
          </ac:spMkLst>
        </pc:spChg>
        <pc:spChg chg="del">
          <ac:chgData name="Aurelien Domont" userId="6da7715ce44349b3" providerId="LiveId" clId="{900ED9AA-9E3E-4466-B9E3-DFC8365613D8}" dt="2022-03-17T04:16:38.877" v="335" actId="478"/>
          <ac:spMkLst>
            <pc:docMk/>
            <pc:sldMk cId="1977376241" sldId="1523"/>
            <ac:spMk id="56" creationId="{0E1F70FF-2C97-4694-AD70-A1C950EDB862}"/>
          </ac:spMkLst>
        </pc:spChg>
        <pc:spChg chg="del">
          <ac:chgData name="Aurelien Domont" userId="6da7715ce44349b3" providerId="LiveId" clId="{900ED9AA-9E3E-4466-B9E3-DFC8365613D8}" dt="2022-03-17T04:16:38.877" v="335" actId="478"/>
          <ac:spMkLst>
            <pc:docMk/>
            <pc:sldMk cId="1977376241" sldId="1523"/>
            <ac:spMk id="57" creationId="{ECED3C4E-D3A8-4ACC-852D-8EB470186111}"/>
          </ac:spMkLst>
        </pc:spChg>
        <pc:spChg chg="del">
          <ac:chgData name="Aurelien Domont" userId="6da7715ce44349b3" providerId="LiveId" clId="{900ED9AA-9E3E-4466-B9E3-DFC8365613D8}" dt="2022-03-17T04:16:38.877" v="335" actId="478"/>
          <ac:spMkLst>
            <pc:docMk/>
            <pc:sldMk cId="1977376241" sldId="1523"/>
            <ac:spMk id="58" creationId="{2AF57A30-3442-4C0C-BBD1-0561CFC0E6B6}"/>
          </ac:spMkLst>
        </pc:spChg>
        <pc:spChg chg="del">
          <ac:chgData name="Aurelien Domont" userId="6da7715ce44349b3" providerId="LiveId" clId="{900ED9AA-9E3E-4466-B9E3-DFC8365613D8}" dt="2022-03-17T04:16:36.265" v="334" actId="478"/>
          <ac:spMkLst>
            <pc:docMk/>
            <pc:sldMk cId="1977376241" sldId="1523"/>
            <ac:spMk id="59" creationId="{F9DC7FD4-A79A-4325-95E7-D2BD3AD76882}"/>
          </ac:spMkLst>
        </pc:spChg>
        <pc:spChg chg="del">
          <ac:chgData name="Aurelien Domont" userId="6da7715ce44349b3" providerId="LiveId" clId="{900ED9AA-9E3E-4466-B9E3-DFC8365613D8}" dt="2022-03-17T04:16:38.877" v="335" actId="478"/>
          <ac:spMkLst>
            <pc:docMk/>
            <pc:sldMk cId="1977376241" sldId="1523"/>
            <ac:spMk id="60" creationId="{6D36C023-F0A2-4C37-AB9B-ACC477230EED}"/>
          </ac:spMkLst>
        </pc:spChg>
        <pc:spChg chg="del">
          <ac:chgData name="Aurelien Domont" userId="6da7715ce44349b3" providerId="LiveId" clId="{900ED9AA-9E3E-4466-B9E3-DFC8365613D8}" dt="2022-03-17T04:16:38.877" v="335" actId="478"/>
          <ac:spMkLst>
            <pc:docMk/>
            <pc:sldMk cId="1977376241" sldId="1523"/>
            <ac:spMk id="61" creationId="{5AF810DD-48C1-427F-9C28-3D8259461E07}"/>
          </ac:spMkLst>
        </pc:spChg>
        <pc:spChg chg="del">
          <ac:chgData name="Aurelien Domont" userId="6da7715ce44349b3" providerId="LiveId" clId="{900ED9AA-9E3E-4466-B9E3-DFC8365613D8}" dt="2022-03-17T04:16:38.877" v="335" actId="478"/>
          <ac:spMkLst>
            <pc:docMk/>
            <pc:sldMk cId="1977376241" sldId="1523"/>
            <ac:spMk id="62" creationId="{471B1C67-BE97-46AC-904F-7752042C5491}"/>
          </ac:spMkLst>
        </pc:spChg>
      </pc:sldChg>
      <pc:sldChg chg="modSp add mod ord">
        <pc:chgData name="Aurelien Domont" userId="6da7715ce44349b3" providerId="LiveId" clId="{900ED9AA-9E3E-4466-B9E3-DFC8365613D8}" dt="2022-03-17T04:08:05.995" v="299" actId="20577"/>
        <pc:sldMkLst>
          <pc:docMk/>
          <pc:sldMk cId="3014473461" sldId="1527"/>
        </pc:sldMkLst>
        <pc:spChg chg="mod">
          <ac:chgData name="Aurelien Domont" userId="6da7715ce44349b3" providerId="LiveId" clId="{900ED9AA-9E3E-4466-B9E3-DFC8365613D8}" dt="2022-03-17T03:36:31.348" v="130"/>
          <ac:spMkLst>
            <pc:docMk/>
            <pc:sldMk cId="3014473461" sldId="1527"/>
            <ac:spMk id="2" creationId="{96F69DFC-5251-4AD4-A696-D2EAA298B52B}"/>
          </ac:spMkLst>
        </pc:spChg>
        <pc:spChg chg="mod">
          <ac:chgData name="Aurelien Domont" userId="6da7715ce44349b3" providerId="LiveId" clId="{900ED9AA-9E3E-4466-B9E3-DFC8365613D8}" dt="2022-03-17T04:08:05.995" v="299" actId="20577"/>
          <ac:spMkLst>
            <pc:docMk/>
            <pc:sldMk cId="3014473461" sldId="1527"/>
            <ac:spMk id="16" creationId="{6C2BB713-9637-4B9B-938F-E9768876782A}"/>
          </ac:spMkLst>
        </pc:spChg>
      </pc:sldChg>
      <pc:sldChg chg="modSp add mod ord">
        <pc:chgData name="Aurelien Domont" userId="6da7715ce44349b3" providerId="LiveId" clId="{900ED9AA-9E3E-4466-B9E3-DFC8365613D8}" dt="2022-03-17T04:08:05.260" v="297" actId="20577"/>
        <pc:sldMkLst>
          <pc:docMk/>
          <pc:sldMk cId="2721843527" sldId="1528"/>
        </pc:sldMkLst>
        <pc:spChg chg="mod">
          <ac:chgData name="Aurelien Domont" userId="6da7715ce44349b3" providerId="LiveId" clId="{900ED9AA-9E3E-4466-B9E3-DFC8365613D8}" dt="2022-03-17T03:36:31.348" v="130"/>
          <ac:spMkLst>
            <pc:docMk/>
            <pc:sldMk cId="2721843527" sldId="1528"/>
            <ac:spMk id="2" creationId="{96F69DFC-5251-4AD4-A696-D2EAA298B52B}"/>
          </ac:spMkLst>
        </pc:spChg>
        <pc:spChg chg="mod">
          <ac:chgData name="Aurelien Domont" userId="6da7715ce44349b3" providerId="LiveId" clId="{900ED9AA-9E3E-4466-B9E3-DFC8365613D8}" dt="2022-03-17T04:08:05.260" v="297" actId="20577"/>
          <ac:spMkLst>
            <pc:docMk/>
            <pc:sldMk cId="2721843527" sldId="1528"/>
            <ac:spMk id="16" creationId="{6C2BB713-9637-4B9B-938F-E9768876782A}"/>
          </ac:spMkLst>
        </pc:spChg>
      </pc:sldChg>
      <pc:sldChg chg="modSp add mod ord">
        <pc:chgData name="Aurelien Domont" userId="6da7715ce44349b3" providerId="LiveId" clId="{900ED9AA-9E3E-4466-B9E3-DFC8365613D8}" dt="2022-03-17T04:08:04.510" v="295" actId="20577"/>
        <pc:sldMkLst>
          <pc:docMk/>
          <pc:sldMk cId="265478975" sldId="1529"/>
        </pc:sldMkLst>
        <pc:spChg chg="mod">
          <ac:chgData name="Aurelien Domont" userId="6da7715ce44349b3" providerId="LiveId" clId="{900ED9AA-9E3E-4466-B9E3-DFC8365613D8}" dt="2022-03-17T03:36:31.348" v="130"/>
          <ac:spMkLst>
            <pc:docMk/>
            <pc:sldMk cId="265478975" sldId="1529"/>
            <ac:spMk id="2" creationId="{96F69DFC-5251-4AD4-A696-D2EAA298B52B}"/>
          </ac:spMkLst>
        </pc:spChg>
        <pc:spChg chg="mod">
          <ac:chgData name="Aurelien Domont" userId="6da7715ce44349b3" providerId="LiveId" clId="{900ED9AA-9E3E-4466-B9E3-DFC8365613D8}" dt="2022-03-17T04:08:04.510" v="295" actId="20577"/>
          <ac:spMkLst>
            <pc:docMk/>
            <pc:sldMk cId="265478975" sldId="1529"/>
            <ac:spMk id="16" creationId="{6C2BB713-9637-4B9B-938F-E9768876782A}"/>
          </ac:spMkLst>
        </pc:spChg>
      </pc:sldChg>
      <pc:sldChg chg="modSp add mod ord">
        <pc:chgData name="Aurelien Domont" userId="6da7715ce44349b3" providerId="LiveId" clId="{900ED9AA-9E3E-4466-B9E3-DFC8365613D8}" dt="2022-03-17T04:08:03.011" v="291" actId="20577"/>
        <pc:sldMkLst>
          <pc:docMk/>
          <pc:sldMk cId="4130717619" sldId="1530"/>
        </pc:sldMkLst>
        <pc:spChg chg="mod">
          <ac:chgData name="Aurelien Domont" userId="6da7715ce44349b3" providerId="LiveId" clId="{900ED9AA-9E3E-4466-B9E3-DFC8365613D8}" dt="2022-03-17T03:36:31.348" v="130"/>
          <ac:spMkLst>
            <pc:docMk/>
            <pc:sldMk cId="4130717619" sldId="1530"/>
            <ac:spMk id="2" creationId="{96F69DFC-5251-4AD4-A696-D2EAA298B52B}"/>
          </ac:spMkLst>
        </pc:spChg>
        <pc:spChg chg="mod">
          <ac:chgData name="Aurelien Domont" userId="6da7715ce44349b3" providerId="LiveId" clId="{900ED9AA-9E3E-4466-B9E3-DFC8365613D8}" dt="2022-03-17T04:08:03.011" v="291" actId="20577"/>
          <ac:spMkLst>
            <pc:docMk/>
            <pc:sldMk cId="4130717619" sldId="1530"/>
            <ac:spMk id="16" creationId="{6C2BB713-9637-4B9B-938F-E9768876782A}"/>
          </ac:spMkLst>
        </pc:spChg>
        <pc:spChg chg="mod">
          <ac:chgData name="Aurelien Domont" userId="6da7715ce44349b3" providerId="LiveId" clId="{900ED9AA-9E3E-4466-B9E3-DFC8365613D8}" dt="2022-03-17T03:50:56.124" v="220" actId="20577"/>
          <ac:spMkLst>
            <pc:docMk/>
            <pc:sldMk cId="4130717619" sldId="1530"/>
            <ac:spMk id="18" creationId="{365B98B6-A595-4157-99B6-BB5E2604FF08}"/>
          </ac:spMkLst>
        </pc:spChg>
        <pc:spChg chg="mod">
          <ac:chgData name="Aurelien Domont" userId="6da7715ce44349b3" providerId="LiveId" clId="{900ED9AA-9E3E-4466-B9E3-DFC8365613D8}" dt="2022-03-17T03:51:00.011" v="221"/>
          <ac:spMkLst>
            <pc:docMk/>
            <pc:sldMk cId="4130717619" sldId="1530"/>
            <ac:spMk id="21" creationId="{C248E00E-F791-4D98-A54E-638084898739}"/>
          </ac:spMkLst>
        </pc:spChg>
        <pc:spChg chg="mod">
          <ac:chgData name="Aurelien Domont" userId="6da7715ce44349b3" providerId="LiveId" clId="{900ED9AA-9E3E-4466-B9E3-DFC8365613D8}" dt="2022-03-17T03:50:52.952" v="215" actId="20577"/>
          <ac:spMkLst>
            <pc:docMk/>
            <pc:sldMk cId="4130717619" sldId="1530"/>
            <ac:spMk id="79" creationId="{CF7A8DDA-C534-464A-9604-2CA077F8939A}"/>
          </ac:spMkLst>
        </pc:spChg>
      </pc:sldChg>
      <pc:sldChg chg="modSp add mod ord">
        <pc:chgData name="Aurelien Domont" userId="6da7715ce44349b3" providerId="LiveId" clId="{900ED9AA-9E3E-4466-B9E3-DFC8365613D8}" dt="2022-03-17T04:08:02.308" v="289" actId="20577"/>
        <pc:sldMkLst>
          <pc:docMk/>
          <pc:sldMk cId="2993258290" sldId="1531"/>
        </pc:sldMkLst>
        <pc:spChg chg="mod">
          <ac:chgData name="Aurelien Domont" userId="6da7715ce44349b3" providerId="LiveId" clId="{900ED9AA-9E3E-4466-B9E3-DFC8365613D8}" dt="2022-03-17T03:36:31.348" v="130"/>
          <ac:spMkLst>
            <pc:docMk/>
            <pc:sldMk cId="2993258290" sldId="1531"/>
            <ac:spMk id="2" creationId="{96F69DFC-5251-4AD4-A696-D2EAA298B52B}"/>
          </ac:spMkLst>
        </pc:spChg>
        <pc:spChg chg="mod">
          <ac:chgData name="Aurelien Domont" userId="6da7715ce44349b3" providerId="LiveId" clId="{900ED9AA-9E3E-4466-B9E3-DFC8365613D8}" dt="2022-03-17T04:08:02.308" v="289" actId="20577"/>
          <ac:spMkLst>
            <pc:docMk/>
            <pc:sldMk cId="2993258290" sldId="1531"/>
            <ac:spMk id="16" creationId="{6C2BB713-9637-4B9B-938F-E9768876782A}"/>
          </ac:spMkLst>
        </pc:spChg>
        <pc:spChg chg="mod">
          <ac:chgData name="Aurelien Domont" userId="6da7715ce44349b3" providerId="LiveId" clId="{900ED9AA-9E3E-4466-B9E3-DFC8365613D8}" dt="2022-03-17T03:51:34.286" v="222" actId="20577"/>
          <ac:spMkLst>
            <pc:docMk/>
            <pc:sldMk cId="2993258290" sldId="1531"/>
            <ac:spMk id="79" creationId="{CF7A8DDA-C534-464A-9604-2CA077F8939A}"/>
          </ac:spMkLst>
        </pc:spChg>
      </pc:sldChg>
      <pc:sldChg chg="modSp add mod ord">
        <pc:chgData name="Aurelien Domont" userId="6da7715ce44349b3" providerId="LiveId" clId="{900ED9AA-9E3E-4466-B9E3-DFC8365613D8}" dt="2022-03-17T04:08:01.512" v="287" actId="20577"/>
        <pc:sldMkLst>
          <pc:docMk/>
          <pc:sldMk cId="1793073278" sldId="1533"/>
        </pc:sldMkLst>
        <pc:spChg chg="mod">
          <ac:chgData name="Aurelien Domont" userId="6da7715ce44349b3" providerId="LiveId" clId="{900ED9AA-9E3E-4466-B9E3-DFC8365613D8}" dt="2022-03-17T03:36:31.348" v="130"/>
          <ac:spMkLst>
            <pc:docMk/>
            <pc:sldMk cId="1793073278" sldId="1533"/>
            <ac:spMk id="2" creationId="{96F69DFC-5251-4AD4-A696-D2EAA298B52B}"/>
          </ac:spMkLst>
        </pc:spChg>
        <pc:spChg chg="mod">
          <ac:chgData name="Aurelien Domont" userId="6da7715ce44349b3" providerId="LiveId" clId="{900ED9AA-9E3E-4466-B9E3-DFC8365613D8}" dt="2022-03-17T04:08:01.512" v="287" actId="20577"/>
          <ac:spMkLst>
            <pc:docMk/>
            <pc:sldMk cId="1793073278" sldId="1533"/>
            <ac:spMk id="16" creationId="{6C2BB713-9637-4B9B-938F-E9768876782A}"/>
          </ac:spMkLst>
        </pc:spChg>
      </pc:sldChg>
      <pc:sldChg chg="modSp add ord">
        <pc:chgData name="Aurelien Domont" userId="6da7715ce44349b3" providerId="LiveId" clId="{900ED9AA-9E3E-4466-B9E3-DFC8365613D8}" dt="2022-03-17T03:51:54.682" v="224"/>
        <pc:sldMkLst>
          <pc:docMk/>
          <pc:sldMk cId="2590906409" sldId="1534"/>
        </pc:sldMkLst>
        <pc:spChg chg="mod">
          <ac:chgData name="Aurelien Domont" userId="6da7715ce44349b3" providerId="LiveId" clId="{900ED9AA-9E3E-4466-B9E3-DFC8365613D8}" dt="2022-03-17T03:36:31.348" v="130"/>
          <ac:spMkLst>
            <pc:docMk/>
            <pc:sldMk cId="2590906409" sldId="1534"/>
            <ac:spMk id="2" creationId="{96F69DFC-5251-4AD4-A696-D2EAA298B52B}"/>
          </ac:spMkLst>
        </pc:spChg>
        <pc:spChg chg="mod">
          <ac:chgData name="Aurelien Domont" userId="6da7715ce44349b3" providerId="LiveId" clId="{900ED9AA-9E3E-4466-B9E3-DFC8365613D8}" dt="2022-03-17T03:36:31.348" v="130"/>
          <ac:spMkLst>
            <pc:docMk/>
            <pc:sldMk cId="2590906409" sldId="1534"/>
            <ac:spMk id="16" creationId="{6C2BB713-9637-4B9B-938F-E9768876782A}"/>
          </ac:spMkLst>
        </pc:spChg>
      </pc:sldChg>
      <pc:sldChg chg="modSp add mod ord">
        <pc:chgData name="Aurelien Domont" userId="6da7715ce44349b3" providerId="LiveId" clId="{900ED9AA-9E3E-4466-B9E3-DFC8365613D8}" dt="2022-03-17T05:06:50.105" v="1811"/>
        <pc:sldMkLst>
          <pc:docMk/>
          <pc:sldMk cId="3560175579" sldId="1575"/>
        </pc:sldMkLst>
        <pc:spChg chg="mod">
          <ac:chgData name="Aurelien Domont" userId="6da7715ce44349b3" providerId="LiveId" clId="{900ED9AA-9E3E-4466-B9E3-DFC8365613D8}" dt="2022-03-17T05:06:32.824" v="1807" actId="27636"/>
          <ac:spMkLst>
            <pc:docMk/>
            <pc:sldMk cId="3560175579" sldId="1575"/>
            <ac:spMk id="2" creationId="{406113FD-AA7D-4249-90D7-70AF85BE48E1}"/>
          </ac:spMkLst>
        </pc:spChg>
        <pc:spChg chg="mod">
          <ac:chgData name="Aurelien Domont" userId="6da7715ce44349b3" providerId="LiveId" clId="{900ED9AA-9E3E-4466-B9E3-DFC8365613D8}" dt="2022-03-17T05:06:20.982" v="1797" actId="20577"/>
          <ac:spMkLst>
            <pc:docMk/>
            <pc:sldMk cId="3560175579" sldId="1575"/>
            <ac:spMk id="8" creationId="{D06C4F56-F1B2-4C29-B27E-D111D276DD08}"/>
          </ac:spMkLst>
        </pc:spChg>
        <pc:spChg chg="mod">
          <ac:chgData name="Aurelien Domont" userId="6da7715ce44349b3" providerId="LiveId" clId="{900ED9AA-9E3E-4466-B9E3-DFC8365613D8}" dt="2022-03-17T03:36:31.348" v="130"/>
          <ac:spMkLst>
            <pc:docMk/>
            <pc:sldMk cId="3560175579" sldId="1575"/>
            <ac:spMk id="9" creationId="{A4C0187A-3E85-4C87-AB6B-7D4F4276FE07}"/>
          </ac:spMkLst>
        </pc:spChg>
      </pc:sldChg>
      <pc:sldChg chg="modSp add mod ord">
        <pc:chgData name="Aurelien Domont" userId="6da7715ce44349b3" providerId="LiveId" clId="{900ED9AA-9E3E-4466-B9E3-DFC8365613D8}" dt="2022-03-17T05:02:32.362" v="1772" actId="14100"/>
        <pc:sldMkLst>
          <pc:docMk/>
          <pc:sldMk cId="3128898479" sldId="1576"/>
        </pc:sldMkLst>
        <pc:spChg chg="mod">
          <ac:chgData name="Aurelien Domont" userId="6da7715ce44349b3" providerId="LiveId" clId="{900ED9AA-9E3E-4466-B9E3-DFC8365613D8}" dt="2022-03-17T05:02:04.810" v="1768" actId="20577"/>
          <ac:spMkLst>
            <pc:docMk/>
            <pc:sldMk cId="3128898479" sldId="1576"/>
            <ac:spMk id="2" creationId="{406113FD-AA7D-4249-90D7-70AF85BE48E1}"/>
          </ac:spMkLst>
        </pc:spChg>
        <pc:spChg chg="mod">
          <ac:chgData name="Aurelien Domont" userId="6da7715ce44349b3" providerId="LiveId" clId="{900ED9AA-9E3E-4466-B9E3-DFC8365613D8}" dt="2022-03-17T05:02:32.362" v="1772" actId="14100"/>
          <ac:spMkLst>
            <pc:docMk/>
            <pc:sldMk cId="3128898479" sldId="1576"/>
            <ac:spMk id="8" creationId="{D06C4F56-F1B2-4C29-B27E-D111D276DD08}"/>
          </ac:spMkLst>
        </pc:spChg>
        <pc:spChg chg="mod">
          <ac:chgData name="Aurelien Domont" userId="6da7715ce44349b3" providerId="LiveId" clId="{900ED9AA-9E3E-4466-B9E3-DFC8365613D8}" dt="2022-03-17T03:36:31.348" v="130"/>
          <ac:spMkLst>
            <pc:docMk/>
            <pc:sldMk cId="3128898479" sldId="1576"/>
            <ac:spMk id="9" creationId="{A4C0187A-3E85-4C87-AB6B-7D4F4276FE07}"/>
          </ac:spMkLst>
        </pc:spChg>
      </pc:sldChg>
      <pc:sldChg chg="modSp add mod ord">
        <pc:chgData name="Aurelien Domont" userId="6da7715ce44349b3" providerId="LiveId" clId="{900ED9AA-9E3E-4466-B9E3-DFC8365613D8}" dt="2022-03-17T04:08:06.885" v="301" actId="20577"/>
        <pc:sldMkLst>
          <pc:docMk/>
          <pc:sldMk cId="2356517374" sldId="1597"/>
        </pc:sldMkLst>
        <pc:spChg chg="mod">
          <ac:chgData name="Aurelien Domont" userId="6da7715ce44349b3" providerId="LiveId" clId="{900ED9AA-9E3E-4466-B9E3-DFC8365613D8}" dt="2022-03-17T03:36:31.348" v="130"/>
          <ac:spMkLst>
            <pc:docMk/>
            <pc:sldMk cId="2356517374" sldId="1597"/>
            <ac:spMk id="2" creationId="{96F69DFC-5251-4AD4-A696-D2EAA298B52B}"/>
          </ac:spMkLst>
        </pc:spChg>
        <pc:spChg chg="mod">
          <ac:chgData name="Aurelien Domont" userId="6da7715ce44349b3" providerId="LiveId" clId="{900ED9AA-9E3E-4466-B9E3-DFC8365613D8}" dt="2022-03-17T04:08:06.885" v="301" actId="20577"/>
          <ac:spMkLst>
            <pc:docMk/>
            <pc:sldMk cId="2356517374" sldId="1597"/>
            <ac:spMk id="16" creationId="{6C2BB713-9637-4B9B-938F-E9768876782A}"/>
          </ac:spMkLst>
        </pc:spChg>
      </pc:sldChg>
      <pc:sldChg chg="modSp add ord">
        <pc:chgData name="Aurelien Domont" userId="6da7715ce44349b3" providerId="LiveId" clId="{900ED9AA-9E3E-4466-B9E3-DFC8365613D8}" dt="2022-03-17T03:51:54.682" v="224"/>
        <pc:sldMkLst>
          <pc:docMk/>
          <pc:sldMk cId="2815671749" sldId="1601"/>
        </pc:sldMkLst>
        <pc:spChg chg="mod">
          <ac:chgData name="Aurelien Domont" userId="6da7715ce44349b3" providerId="LiveId" clId="{900ED9AA-9E3E-4466-B9E3-DFC8365613D8}" dt="2022-03-17T03:36:31.348" v="130"/>
          <ac:spMkLst>
            <pc:docMk/>
            <pc:sldMk cId="2815671749" sldId="1601"/>
            <ac:spMk id="2" creationId="{96F69DFC-5251-4AD4-A696-D2EAA298B52B}"/>
          </ac:spMkLst>
        </pc:spChg>
        <pc:spChg chg="mod">
          <ac:chgData name="Aurelien Domont" userId="6da7715ce44349b3" providerId="LiveId" clId="{900ED9AA-9E3E-4466-B9E3-DFC8365613D8}" dt="2022-03-17T03:36:31.348" v="130"/>
          <ac:spMkLst>
            <pc:docMk/>
            <pc:sldMk cId="2815671749" sldId="1601"/>
            <ac:spMk id="16" creationId="{6C2BB713-9637-4B9B-938F-E9768876782A}"/>
          </ac:spMkLst>
        </pc:spChg>
      </pc:sldChg>
      <pc:sldChg chg="modSp add del">
        <pc:chgData name="Aurelien Domont" userId="6da7715ce44349b3" providerId="LiveId" clId="{900ED9AA-9E3E-4466-B9E3-DFC8365613D8}" dt="2022-03-17T05:01:12.825" v="1750" actId="47"/>
        <pc:sldMkLst>
          <pc:docMk/>
          <pc:sldMk cId="75080109" sldId="1609"/>
        </pc:sldMkLst>
        <pc:spChg chg="mod">
          <ac:chgData name="Aurelien Domont" userId="6da7715ce44349b3" providerId="LiveId" clId="{900ED9AA-9E3E-4466-B9E3-DFC8365613D8}" dt="2022-03-17T03:36:31.348" v="130"/>
          <ac:spMkLst>
            <pc:docMk/>
            <pc:sldMk cId="75080109" sldId="1609"/>
            <ac:spMk id="2" creationId="{A67BEC9B-911F-478E-9C56-72957F18467D}"/>
          </ac:spMkLst>
        </pc:spChg>
        <pc:spChg chg="mod">
          <ac:chgData name="Aurelien Domont" userId="6da7715ce44349b3" providerId="LiveId" clId="{900ED9AA-9E3E-4466-B9E3-DFC8365613D8}" dt="2022-03-17T03:36:31.348" v="130"/>
          <ac:spMkLst>
            <pc:docMk/>
            <pc:sldMk cId="75080109" sldId="1609"/>
            <ac:spMk id="14" creationId="{C9800183-F524-4412-AB39-A6E1A21FF0B3}"/>
          </ac:spMkLst>
        </pc:spChg>
      </pc:sldChg>
      <pc:sldChg chg="modSp add del">
        <pc:chgData name="Aurelien Domont" userId="6da7715ce44349b3" providerId="LiveId" clId="{900ED9AA-9E3E-4466-B9E3-DFC8365613D8}" dt="2022-03-17T05:01:12.825" v="1750" actId="47"/>
        <pc:sldMkLst>
          <pc:docMk/>
          <pc:sldMk cId="221549742" sldId="1610"/>
        </pc:sldMkLst>
        <pc:spChg chg="mod">
          <ac:chgData name="Aurelien Domont" userId="6da7715ce44349b3" providerId="LiveId" clId="{900ED9AA-9E3E-4466-B9E3-DFC8365613D8}" dt="2022-03-17T03:36:31.348" v="130"/>
          <ac:spMkLst>
            <pc:docMk/>
            <pc:sldMk cId="221549742" sldId="1610"/>
            <ac:spMk id="2" creationId="{A67BEC9B-911F-478E-9C56-72957F18467D}"/>
          </ac:spMkLst>
        </pc:spChg>
        <pc:spChg chg="mod">
          <ac:chgData name="Aurelien Domont" userId="6da7715ce44349b3" providerId="LiveId" clId="{900ED9AA-9E3E-4466-B9E3-DFC8365613D8}" dt="2022-03-17T03:36:31.348" v="130"/>
          <ac:spMkLst>
            <pc:docMk/>
            <pc:sldMk cId="221549742" sldId="1610"/>
            <ac:spMk id="14" creationId="{C9800183-F524-4412-AB39-A6E1A21FF0B3}"/>
          </ac:spMkLst>
        </pc:spChg>
      </pc:sldChg>
      <pc:sldChg chg="modSp add del">
        <pc:chgData name="Aurelien Domont" userId="6da7715ce44349b3" providerId="LiveId" clId="{900ED9AA-9E3E-4466-B9E3-DFC8365613D8}" dt="2022-03-17T05:01:12.825" v="1750" actId="47"/>
        <pc:sldMkLst>
          <pc:docMk/>
          <pc:sldMk cId="1430086869" sldId="1611"/>
        </pc:sldMkLst>
        <pc:spChg chg="mod">
          <ac:chgData name="Aurelien Domont" userId="6da7715ce44349b3" providerId="LiveId" clId="{900ED9AA-9E3E-4466-B9E3-DFC8365613D8}" dt="2022-03-17T03:36:31.348" v="130"/>
          <ac:spMkLst>
            <pc:docMk/>
            <pc:sldMk cId="1430086869" sldId="1611"/>
            <ac:spMk id="2" creationId="{A67BEC9B-911F-478E-9C56-72957F18467D}"/>
          </ac:spMkLst>
        </pc:spChg>
        <pc:spChg chg="mod">
          <ac:chgData name="Aurelien Domont" userId="6da7715ce44349b3" providerId="LiveId" clId="{900ED9AA-9E3E-4466-B9E3-DFC8365613D8}" dt="2022-03-17T03:36:31.348" v="130"/>
          <ac:spMkLst>
            <pc:docMk/>
            <pc:sldMk cId="1430086869" sldId="1611"/>
            <ac:spMk id="14" creationId="{C9800183-F524-4412-AB39-A6E1A21FF0B3}"/>
          </ac:spMkLst>
        </pc:spChg>
      </pc:sldChg>
      <pc:sldChg chg="modSp add del">
        <pc:chgData name="Aurelien Domont" userId="6da7715ce44349b3" providerId="LiveId" clId="{900ED9AA-9E3E-4466-B9E3-DFC8365613D8}" dt="2022-03-17T05:01:12.825" v="1750" actId="47"/>
        <pc:sldMkLst>
          <pc:docMk/>
          <pc:sldMk cId="826694542" sldId="1612"/>
        </pc:sldMkLst>
        <pc:spChg chg="mod">
          <ac:chgData name="Aurelien Domont" userId="6da7715ce44349b3" providerId="LiveId" clId="{900ED9AA-9E3E-4466-B9E3-DFC8365613D8}" dt="2022-03-17T03:36:31.348" v="130"/>
          <ac:spMkLst>
            <pc:docMk/>
            <pc:sldMk cId="826694542" sldId="1612"/>
            <ac:spMk id="2" creationId="{A67BEC9B-911F-478E-9C56-72957F18467D}"/>
          </ac:spMkLst>
        </pc:spChg>
        <pc:spChg chg="mod">
          <ac:chgData name="Aurelien Domont" userId="6da7715ce44349b3" providerId="LiveId" clId="{900ED9AA-9E3E-4466-B9E3-DFC8365613D8}" dt="2022-03-17T03:36:31.348" v="130"/>
          <ac:spMkLst>
            <pc:docMk/>
            <pc:sldMk cId="826694542" sldId="1612"/>
            <ac:spMk id="14" creationId="{C9800183-F524-4412-AB39-A6E1A21FF0B3}"/>
          </ac:spMkLst>
        </pc:spChg>
      </pc:sldChg>
      <pc:sldChg chg="modSp add del">
        <pc:chgData name="Aurelien Domont" userId="6da7715ce44349b3" providerId="LiveId" clId="{900ED9AA-9E3E-4466-B9E3-DFC8365613D8}" dt="2022-03-17T05:01:12.825" v="1750" actId="47"/>
        <pc:sldMkLst>
          <pc:docMk/>
          <pc:sldMk cId="1033555564" sldId="1617"/>
        </pc:sldMkLst>
        <pc:spChg chg="mod">
          <ac:chgData name="Aurelien Domont" userId="6da7715ce44349b3" providerId="LiveId" clId="{900ED9AA-9E3E-4466-B9E3-DFC8365613D8}" dt="2022-03-17T03:36:31.348" v="130"/>
          <ac:spMkLst>
            <pc:docMk/>
            <pc:sldMk cId="1033555564" sldId="1617"/>
            <ac:spMk id="2" creationId="{A67BEC9B-911F-478E-9C56-72957F18467D}"/>
          </ac:spMkLst>
        </pc:spChg>
        <pc:spChg chg="mod">
          <ac:chgData name="Aurelien Domont" userId="6da7715ce44349b3" providerId="LiveId" clId="{900ED9AA-9E3E-4466-B9E3-DFC8365613D8}" dt="2022-03-17T03:36:31.348" v="130"/>
          <ac:spMkLst>
            <pc:docMk/>
            <pc:sldMk cId="1033555564" sldId="1617"/>
            <ac:spMk id="14" creationId="{C9800183-F524-4412-AB39-A6E1A21FF0B3}"/>
          </ac:spMkLst>
        </pc:spChg>
      </pc:sldChg>
      <pc:sldChg chg="modSp del">
        <pc:chgData name="Aurelien Domont" userId="6da7715ce44349b3" providerId="LiveId" clId="{900ED9AA-9E3E-4466-B9E3-DFC8365613D8}" dt="2022-03-17T05:39:04.606" v="2198" actId="47"/>
        <pc:sldMkLst>
          <pc:docMk/>
          <pc:sldMk cId="1758832436" sldId="1951"/>
        </pc:sldMkLst>
        <pc:spChg chg="mod">
          <ac:chgData name="Aurelien Domont" userId="6da7715ce44349b3" providerId="LiveId" clId="{900ED9AA-9E3E-4466-B9E3-DFC8365613D8}" dt="2022-03-17T03:36:31.348" v="130"/>
          <ac:spMkLst>
            <pc:docMk/>
            <pc:sldMk cId="1758832436" sldId="1951"/>
            <ac:spMk id="2" creationId="{98205034-64E8-4435-BFA1-43956B7507D0}"/>
          </ac:spMkLst>
        </pc:spChg>
        <pc:spChg chg="mod">
          <ac:chgData name="Aurelien Domont" userId="6da7715ce44349b3" providerId="LiveId" clId="{900ED9AA-9E3E-4466-B9E3-DFC8365613D8}" dt="2022-03-17T03:36:31.348" v="130"/>
          <ac:spMkLst>
            <pc:docMk/>
            <pc:sldMk cId="1758832436" sldId="1951"/>
            <ac:spMk id="16" creationId="{AB0723E2-2BCC-475F-B6CC-F876EF6C96C1}"/>
          </ac:spMkLst>
        </pc:spChg>
      </pc:sldChg>
      <pc:sldChg chg="modSp del">
        <pc:chgData name="Aurelien Domont" userId="6da7715ce44349b3" providerId="LiveId" clId="{900ED9AA-9E3E-4466-B9E3-DFC8365613D8}" dt="2022-03-17T05:39:04.606" v="2198" actId="47"/>
        <pc:sldMkLst>
          <pc:docMk/>
          <pc:sldMk cId="1289725493" sldId="2149"/>
        </pc:sldMkLst>
        <pc:spChg chg="mod">
          <ac:chgData name="Aurelien Domont" userId="6da7715ce44349b3" providerId="LiveId" clId="{900ED9AA-9E3E-4466-B9E3-DFC8365613D8}" dt="2022-03-17T03:36:31.348" v="130"/>
          <ac:spMkLst>
            <pc:docMk/>
            <pc:sldMk cId="1289725493" sldId="2149"/>
            <ac:spMk id="8" creationId="{3D029769-9B2F-4A51-8446-2206A9A2EF30}"/>
          </ac:spMkLst>
        </pc:spChg>
      </pc:sldChg>
      <pc:sldChg chg="modSp del">
        <pc:chgData name="Aurelien Domont" userId="6da7715ce44349b3" providerId="LiveId" clId="{900ED9AA-9E3E-4466-B9E3-DFC8365613D8}" dt="2022-03-17T05:39:04.606" v="2198" actId="47"/>
        <pc:sldMkLst>
          <pc:docMk/>
          <pc:sldMk cId="1584994079" sldId="2190"/>
        </pc:sldMkLst>
        <pc:spChg chg="mod">
          <ac:chgData name="Aurelien Domont" userId="6da7715ce44349b3" providerId="LiveId" clId="{900ED9AA-9E3E-4466-B9E3-DFC8365613D8}" dt="2022-03-17T03:36:31.348" v="130"/>
          <ac:spMkLst>
            <pc:docMk/>
            <pc:sldMk cId="1584994079" sldId="2190"/>
            <ac:spMk id="3" creationId="{CE2529A3-BA97-486F-9E02-8DFAAA7D8D38}"/>
          </ac:spMkLst>
        </pc:spChg>
        <pc:spChg chg="mod">
          <ac:chgData name="Aurelien Domont" userId="6da7715ce44349b3" providerId="LiveId" clId="{900ED9AA-9E3E-4466-B9E3-DFC8365613D8}" dt="2022-03-17T03:36:31.348" v="130"/>
          <ac:spMkLst>
            <pc:docMk/>
            <pc:sldMk cId="1584994079" sldId="2190"/>
            <ac:spMk id="24" creationId="{4CB6071C-F4C5-4DCC-8EC9-A1AE81968866}"/>
          </ac:spMkLst>
        </pc:spChg>
      </pc:sldChg>
      <pc:sldChg chg="modSp add del">
        <pc:chgData name="Aurelien Domont" userId="6da7715ce44349b3" providerId="LiveId" clId="{900ED9AA-9E3E-4466-B9E3-DFC8365613D8}" dt="2022-03-17T05:01:12.825" v="1750" actId="47"/>
        <pc:sldMkLst>
          <pc:docMk/>
          <pc:sldMk cId="1547606376" sldId="2224"/>
        </pc:sldMkLst>
        <pc:spChg chg="mod">
          <ac:chgData name="Aurelien Domont" userId="6da7715ce44349b3" providerId="LiveId" clId="{900ED9AA-9E3E-4466-B9E3-DFC8365613D8}" dt="2022-03-17T03:36:31.348" v="130"/>
          <ac:spMkLst>
            <pc:docMk/>
            <pc:sldMk cId="1547606376" sldId="2224"/>
            <ac:spMk id="2" creationId="{A67BEC9B-911F-478E-9C56-72957F18467D}"/>
          </ac:spMkLst>
        </pc:spChg>
        <pc:spChg chg="mod">
          <ac:chgData name="Aurelien Domont" userId="6da7715ce44349b3" providerId="LiveId" clId="{900ED9AA-9E3E-4466-B9E3-DFC8365613D8}" dt="2022-03-17T03:36:31.348" v="130"/>
          <ac:spMkLst>
            <pc:docMk/>
            <pc:sldMk cId="1547606376" sldId="2224"/>
            <ac:spMk id="14" creationId="{C9800183-F524-4412-AB39-A6E1A21FF0B3}"/>
          </ac:spMkLst>
        </pc:spChg>
      </pc:sldChg>
      <pc:sldChg chg="modSp add ord">
        <pc:chgData name="Aurelien Domont" userId="6da7715ce44349b3" providerId="LiveId" clId="{900ED9AA-9E3E-4466-B9E3-DFC8365613D8}" dt="2022-03-17T03:51:54.682" v="224"/>
        <pc:sldMkLst>
          <pc:docMk/>
          <pc:sldMk cId="506849499" sldId="2230"/>
        </pc:sldMkLst>
        <pc:spChg chg="mod">
          <ac:chgData name="Aurelien Domont" userId="6da7715ce44349b3" providerId="LiveId" clId="{900ED9AA-9E3E-4466-B9E3-DFC8365613D8}" dt="2022-03-17T03:36:31.348" v="130"/>
          <ac:spMkLst>
            <pc:docMk/>
            <pc:sldMk cId="506849499" sldId="2230"/>
            <ac:spMk id="2" creationId="{96F69DFC-5251-4AD4-A696-D2EAA298B52B}"/>
          </ac:spMkLst>
        </pc:spChg>
        <pc:spChg chg="mod">
          <ac:chgData name="Aurelien Domont" userId="6da7715ce44349b3" providerId="LiveId" clId="{900ED9AA-9E3E-4466-B9E3-DFC8365613D8}" dt="2022-03-17T03:36:31.348" v="130"/>
          <ac:spMkLst>
            <pc:docMk/>
            <pc:sldMk cId="506849499" sldId="2230"/>
            <ac:spMk id="16" creationId="{6C2BB713-9637-4B9B-938F-E9768876782A}"/>
          </ac:spMkLst>
        </pc:spChg>
      </pc:sldChg>
      <pc:sldChg chg="modSp add ord">
        <pc:chgData name="Aurelien Domont" userId="6da7715ce44349b3" providerId="LiveId" clId="{900ED9AA-9E3E-4466-B9E3-DFC8365613D8}" dt="2022-03-17T03:51:54.682" v="224"/>
        <pc:sldMkLst>
          <pc:docMk/>
          <pc:sldMk cId="679090537" sldId="2232"/>
        </pc:sldMkLst>
        <pc:spChg chg="mod">
          <ac:chgData name="Aurelien Domont" userId="6da7715ce44349b3" providerId="LiveId" clId="{900ED9AA-9E3E-4466-B9E3-DFC8365613D8}" dt="2022-03-17T03:36:31.348" v="130"/>
          <ac:spMkLst>
            <pc:docMk/>
            <pc:sldMk cId="679090537" sldId="2232"/>
            <ac:spMk id="2" creationId="{96F69DFC-5251-4AD4-A696-D2EAA298B52B}"/>
          </ac:spMkLst>
        </pc:spChg>
        <pc:spChg chg="mod">
          <ac:chgData name="Aurelien Domont" userId="6da7715ce44349b3" providerId="LiveId" clId="{900ED9AA-9E3E-4466-B9E3-DFC8365613D8}" dt="2022-03-17T03:36:31.348" v="130"/>
          <ac:spMkLst>
            <pc:docMk/>
            <pc:sldMk cId="679090537" sldId="2232"/>
            <ac:spMk id="16" creationId="{6C2BB713-9637-4B9B-938F-E9768876782A}"/>
          </ac:spMkLst>
        </pc:spChg>
      </pc:sldChg>
      <pc:sldChg chg="modSp add ord">
        <pc:chgData name="Aurelien Domont" userId="6da7715ce44349b3" providerId="LiveId" clId="{900ED9AA-9E3E-4466-B9E3-DFC8365613D8}" dt="2022-03-17T03:51:54.682" v="224"/>
        <pc:sldMkLst>
          <pc:docMk/>
          <pc:sldMk cId="2582080201" sldId="2233"/>
        </pc:sldMkLst>
        <pc:spChg chg="mod">
          <ac:chgData name="Aurelien Domont" userId="6da7715ce44349b3" providerId="LiveId" clId="{900ED9AA-9E3E-4466-B9E3-DFC8365613D8}" dt="2022-03-17T03:36:31.348" v="130"/>
          <ac:spMkLst>
            <pc:docMk/>
            <pc:sldMk cId="2582080201" sldId="2233"/>
            <ac:spMk id="2" creationId="{96F69DFC-5251-4AD4-A696-D2EAA298B52B}"/>
          </ac:spMkLst>
        </pc:spChg>
        <pc:spChg chg="mod">
          <ac:chgData name="Aurelien Domont" userId="6da7715ce44349b3" providerId="LiveId" clId="{900ED9AA-9E3E-4466-B9E3-DFC8365613D8}" dt="2022-03-17T03:36:31.348" v="130"/>
          <ac:spMkLst>
            <pc:docMk/>
            <pc:sldMk cId="2582080201" sldId="2233"/>
            <ac:spMk id="16" creationId="{6C2BB713-9637-4B9B-938F-E9768876782A}"/>
          </ac:spMkLst>
        </pc:spChg>
      </pc:sldChg>
      <pc:sldChg chg="modSp del">
        <pc:chgData name="Aurelien Domont" userId="6da7715ce44349b3" providerId="LiveId" clId="{900ED9AA-9E3E-4466-B9E3-DFC8365613D8}" dt="2022-03-17T05:39:04.606" v="2198" actId="47"/>
        <pc:sldMkLst>
          <pc:docMk/>
          <pc:sldMk cId="1151422424" sldId="2269"/>
        </pc:sldMkLst>
        <pc:spChg chg="mod">
          <ac:chgData name="Aurelien Domont" userId="6da7715ce44349b3" providerId="LiveId" clId="{900ED9AA-9E3E-4466-B9E3-DFC8365613D8}" dt="2022-03-17T03:36:31.348" v="130"/>
          <ac:spMkLst>
            <pc:docMk/>
            <pc:sldMk cId="1151422424" sldId="2269"/>
            <ac:spMk id="3" creationId="{CE2529A3-BA97-486F-9E02-8DFAAA7D8D38}"/>
          </ac:spMkLst>
        </pc:spChg>
        <pc:spChg chg="mod">
          <ac:chgData name="Aurelien Domont" userId="6da7715ce44349b3" providerId="LiveId" clId="{900ED9AA-9E3E-4466-B9E3-DFC8365613D8}" dt="2022-03-17T03:36:31.348" v="130"/>
          <ac:spMkLst>
            <pc:docMk/>
            <pc:sldMk cId="1151422424" sldId="2269"/>
            <ac:spMk id="16" creationId="{6C2BB713-9637-4B9B-938F-E9768876782A}"/>
          </ac:spMkLst>
        </pc:spChg>
      </pc:sldChg>
      <pc:sldChg chg="modSp del">
        <pc:chgData name="Aurelien Domont" userId="6da7715ce44349b3" providerId="LiveId" clId="{900ED9AA-9E3E-4466-B9E3-DFC8365613D8}" dt="2022-03-17T05:39:04.606" v="2198" actId="47"/>
        <pc:sldMkLst>
          <pc:docMk/>
          <pc:sldMk cId="2259517003" sldId="2274"/>
        </pc:sldMkLst>
        <pc:spChg chg="mod">
          <ac:chgData name="Aurelien Domont" userId="6da7715ce44349b3" providerId="LiveId" clId="{900ED9AA-9E3E-4466-B9E3-DFC8365613D8}" dt="2022-03-17T03:36:31.348" v="130"/>
          <ac:spMkLst>
            <pc:docMk/>
            <pc:sldMk cId="2259517003" sldId="2274"/>
            <ac:spMk id="3" creationId="{CE2529A3-BA97-486F-9E02-8DFAAA7D8D38}"/>
          </ac:spMkLst>
        </pc:spChg>
        <pc:spChg chg="mod">
          <ac:chgData name="Aurelien Domont" userId="6da7715ce44349b3" providerId="LiveId" clId="{900ED9AA-9E3E-4466-B9E3-DFC8365613D8}" dt="2022-03-17T03:36:31.348" v="130"/>
          <ac:spMkLst>
            <pc:docMk/>
            <pc:sldMk cId="2259517003" sldId="2274"/>
            <ac:spMk id="10" creationId="{6C2476CE-53F4-4775-BF84-153B200E44EF}"/>
          </ac:spMkLst>
        </pc:spChg>
      </pc:sldChg>
      <pc:sldChg chg="modSp del">
        <pc:chgData name="Aurelien Domont" userId="6da7715ce44349b3" providerId="LiveId" clId="{900ED9AA-9E3E-4466-B9E3-DFC8365613D8}" dt="2022-03-17T05:39:04.606" v="2198" actId="47"/>
        <pc:sldMkLst>
          <pc:docMk/>
          <pc:sldMk cId="1378197914" sldId="2276"/>
        </pc:sldMkLst>
        <pc:spChg chg="mod">
          <ac:chgData name="Aurelien Domont" userId="6da7715ce44349b3" providerId="LiveId" clId="{900ED9AA-9E3E-4466-B9E3-DFC8365613D8}" dt="2022-03-17T03:36:31.348" v="130"/>
          <ac:spMkLst>
            <pc:docMk/>
            <pc:sldMk cId="1378197914" sldId="2276"/>
            <ac:spMk id="3" creationId="{CE2529A3-BA97-486F-9E02-8DFAAA7D8D38}"/>
          </ac:spMkLst>
        </pc:spChg>
        <pc:spChg chg="mod">
          <ac:chgData name="Aurelien Domont" userId="6da7715ce44349b3" providerId="LiveId" clId="{900ED9AA-9E3E-4466-B9E3-DFC8365613D8}" dt="2022-03-17T03:36:31.348" v="130"/>
          <ac:spMkLst>
            <pc:docMk/>
            <pc:sldMk cId="1378197914" sldId="2276"/>
            <ac:spMk id="7" creationId="{D863B668-B075-47AC-8B1E-AFC8279BBFC4}"/>
          </ac:spMkLst>
        </pc:spChg>
      </pc:sldChg>
      <pc:sldChg chg="modSp del">
        <pc:chgData name="Aurelien Domont" userId="6da7715ce44349b3" providerId="LiveId" clId="{900ED9AA-9E3E-4466-B9E3-DFC8365613D8}" dt="2022-03-17T05:39:04.606" v="2198" actId="47"/>
        <pc:sldMkLst>
          <pc:docMk/>
          <pc:sldMk cId="1822005724" sldId="2277"/>
        </pc:sldMkLst>
        <pc:spChg chg="mod">
          <ac:chgData name="Aurelien Domont" userId="6da7715ce44349b3" providerId="LiveId" clId="{900ED9AA-9E3E-4466-B9E3-DFC8365613D8}" dt="2022-03-17T03:36:31.348" v="130"/>
          <ac:spMkLst>
            <pc:docMk/>
            <pc:sldMk cId="1822005724" sldId="2277"/>
            <ac:spMk id="3" creationId="{CE2529A3-BA97-486F-9E02-8DFAAA7D8D38}"/>
          </ac:spMkLst>
        </pc:spChg>
        <pc:spChg chg="mod">
          <ac:chgData name="Aurelien Domont" userId="6da7715ce44349b3" providerId="LiveId" clId="{900ED9AA-9E3E-4466-B9E3-DFC8365613D8}" dt="2022-03-17T03:36:31.348" v="130"/>
          <ac:spMkLst>
            <pc:docMk/>
            <pc:sldMk cId="1822005724" sldId="2277"/>
            <ac:spMk id="7" creationId="{AA0B2623-76EF-43A3-AEB2-04AA4ADDB8B4}"/>
          </ac:spMkLst>
        </pc:spChg>
      </pc:sldChg>
      <pc:sldChg chg="modSp del">
        <pc:chgData name="Aurelien Domont" userId="6da7715ce44349b3" providerId="LiveId" clId="{900ED9AA-9E3E-4466-B9E3-DFC8365613D8}" dt="2022-03-17T05:39:04.606" v="2198" actId="47"/>
        <pc:sldMkLst>
          <pc:docMk/>
          <pc:sldMk cId="226683660" sldId="2279"/>
        </pc:sldMkLst>
        <pc:spChg chg="mod">
          <ac:chgData name="Aurelien Domont" userId="6da7715ce44349b3" providerId="LiveId" clId="{900ED9AA-9E3E-4466-B9E3-DFC8365613D8}" dt="2022-03-17T03:36:31.348" v="130"/>
          <ac:spMkLst>
            <pc:docMk/>
            <pc:sldMk cId="226683660" sldId="2279"/>
            <ac:spMk id="3" creationId="{CE2529A3-BA97-486F-9E02-8DFAAA7D8D38}"/>
          </ac:spMkLst>
        </pc:spChg>
        <pc:spChg chg="mod">
          <ac:chgData name="Aurelien Domont" userId="6da7715ce44349b3" providerId="LiveId" clId="{900ED9AA-9E3E-4466-B9E3-DFC8365613D8}" dt="2022-03-17T03:36:31.348" v="130"/>
          <ac:spMkLst>
            <pc:docMk/>
            <pc:sldMk cId="226683660" sldId="2279"/>
            <ac:spMk id="26" creationId="{64F41B1C-7D2A-4FF2-AF75-DEA97C63CCF2}"/>
          </ac:spMkLst>
        </pc:spChg>
      </pc:sldChg>
      <pc:sldChg chg="modSp del">
        <pc:chgData name="Aurelien Domont" userId="6da7715ce44349b3" providerId="LiveId" clId="{900ED9AA-9E3E-4466-B9E3-DFC8365613D8}" dt="2022-03-17T05:39:04.606" v="2198" actId="47"/>
        <pc:sldMkLst>
          <pc:docMk/>
          <pc:sldMk cId="59208737" sldId="2280"/>
        </pc:sldMkLst>
        <pc:spChg chg="mod">
          <ac:chgData name="Aurelien Domont" userId="6da7715ce44349b3" providerId="LiveId" clId="{900ED9AA-9E3E-4466-B9E3-DFC8365613D8}" dt="2022-03-17T03:36:31.348" v="130"/>
          <ac:spMkLst>
            <pc:docMk/>
            <pc:sldMk cId="59208737" sldId="2280"/>
            <ac:spMk id="3" creationId="{CE2529A3-BA97-486F-9E02-8DFAAA7D8D38}"/>
          </ac:spMkLst>
        </pc:spChg>
        <pc:spChg chg="mod">
          <ac:chgData name="Aurelien Domont" userId="6da7715ce44349b3" providerId="LiveId" clId="{900ED9AA-9E3E-4466-B9E3-DFC8365613D8}" dt="2022-03-17T03:36:31.348" v="130"/>
          <ac:spMkLst>
            <pc:docMk/>
            <pc:sldMk cId="59208737" sldId="2280"/>
            <ac:spMk id="25" creationId="{570388DA-B047-4D50-BE9C-7EE83E3946E0}"/>
          </ac:spMkLst>
        </pc:spChg>
      </pc:sldChg>
      <pc:sldChg chg="modSp del">
        <pc:chgData name="Aurelien Domont" userId="6da7715ce44349b3" providerId="LiveId" clId="{900ED9AA-9E3E-4466-B9E3-DFC8365613D8}" dt="2022-03-17T05:39:04.606" v="2198" actId="47"/>
        <pc:sldMkLst>
          <pc:docMk/>
          <pc:sldMk cId="4136476167" sldId="2282"/>
        </pc:sldMkLst>
        <pc:spChg chg="mod">
          <ac:chgData name="Aurelien Domont" userId="6da7715ce44349b3" providerId="LiveId" clId="{900ED9AA-9E3E-4466-B9E3-DFC8365613D8}" dt="2022-03-17T03:36:31.348" v="130"/>
          <ac:spMkLst>
            <pc:docMk/>
            <pc:sldMk cId="4136476167" sldId="2282"/>
            <ac:spMk id="3" creationId="{CE2529A3-BA97-486F-9E02-8DFAAA7D8D38}"/>
          </ac:spMkLst>
        </pc:spChg>
        <pc:spChg chg="mod">
          <ac:chgData name="Aurelien Domont" userId="6da7715ce44349b3" providerId="LiveId" clId="{900ED9AA-9E3E-4466-B9E3-DFC8365613D8}" dt="2022-03-17T03:36:31.348" v="130"/>
          <ac:spMkLst>
            <pc:docMk/>
            <pc:sldMk cId="4136476167" sldId="2282"/>
            <ac:spMk id="5" creationId="{CD648240-75CF-4489-9829-A9A534D01FCC}"/>
          </ac:spMkLst>
        </pc:spChg>
      </pc:sldChg>
      <pc:sldChg chg="modSp del">
        <pc:chgData name="Aurelien Domont" userId="6da7715ce44349b3" providerId="LiveId" clId="{900ED9AA-9E3E-4466-B9E3-DFC8365613D8}" dt="2022-03-17T05:39:04.606" v="2198" actId="47"/>
        <pc:sldMkLst>
          <pc:docMk/>
          <pc:sldMk cId="3946360952" sldId="2283"/>
        </pc:sldMkLst>
        <pc:spChg chg="mod">
          <ac:chgData name="Aurelien Domont" userId="6da7715ce44349b3" providerId="LiveId" clId="{900ED9AA-9E3E-4466-B9E3-DFC8365613D8}" dt="2022-03-17T03:36:31.348" v="130"/>
          <ac:spMkLst>
            <pc:docMk/>
            <pc:sldMk cId="3946360952" sldId="2283"/>
            <ac:spMk id="3" creationId="{CE2529A3-BA97-486F-9E02-8DFAAA7D8D38}"/>
          </ac:spMkLst>
        </pc:spChg>
        <pc:spChg chg="mod">
          <ac:chgData name="Aurelien Domont" userId="6da7715ce44349b3" providerId="LiveId" clId="{900ED9AA-9E3E-4466-B9E3-DFC8365613D8}" dt="2022-03-17T03:36:31.348" v="130"/>
          <ac:spMkLst>
            <pc:docMk/>
            <pc:sldMk cId="3946360952" sldId="2283"/>
            <ac:spMk id="5" creationId="{B4383BCE-47B4-4895-BF4F-A92DDC42F50C}"/>
          </ac:spMkLst>
        </pc:spChg>
      </pc:sldChg>
      <pc:sldChg chg="modSp del">
        <pc:chgData name="Aurelien Domont" userId="6da7715ce44349b3" providerId="LiveId" clId="{900ED9AA-9E3E-4466-B9E3-DFC8365613D8}" dt="2022-03-17T05:39:04.606" v="2198" actId="47"/>
        <pc:sldMkLst>
          <pc:docMk/>
          <pc:sldMk cId="1922352650" sldId="2284"/>
        </pc:sldMkLst>
        <pc:spChg chg="mod">
          <ac:chgData name="Aurelien Domont" userId="6da7715ce44349b3" providerId="LiveId" clId="{900ED9AA-9E3E-4466-B9E3-DFC8365613D8}" dt="2022-03-17T03:36:31.348" v="130"/>
          <ac:spMkLst>
            <pc:docMk/>
            <pc:sldMk cId="1922352650" sldId="2284"/>
            <ac:spMk id="3" creationId="{CE2529A3-BA97-486F-9E02-8DFAAA7D8D38}"/>
          </ac:spMkLst>
        </pc:spChg>
        <pc:spChg chg="mod">
          <ac:chgData name="Aurelien Domont" userId="6da7715ce44349b3" providerId="LiveId" clId="{900ED9AA-9E3E-4466-B9E3-DFC8365613D8}" dt="2022-03-17T03:36:31.348" v="130"/>
          <ac:spMkLst>
            <pc:docMk/>
            <pc:sldMk cId="1922352650" sldId="2284"/>
            <ac:spMk id="5" creationId="{687FDC42-91D6-4F84-A274-1521EF17BD8A}"/>
          </ac:spMkLst>
        </pc:spChg>
      </pc:sldChg>
      <pc:sldChg chg="modSp del">
        <pc:chgData name="Aurelien Domont" userId="6da7715ce44349b3" providerId="LiveId" clId="{900ED9AA-9E3E-4466-B9E3-DFC8365613D8}" dt="2022-03-17T05:39:04.606" v="2198" actId="47"/>
        <pc:sldMkLst>
          <pc:docMk/>
          <pc:sldMk cId="3864359509" sldId="2285"/>
        </pc:sldMkLst>
        <pc:spChg chg="mod">
          <ac:chgData name="Aurelien Domont" userId="6da7715ce44349b3" providerId="LiveId" clId="{900ED9AA-9E3E-4466-B9E3-DFC8365613D8}" dt="2022-03-17T03:36:31.348" v="130"/>
          <ac:spMkLst>
            <pc:docMk/>
            <pc:sldMk cId="3864359509" sldId="2285"/>
            <ac:spMk id="3" creationId="{CE2529A3-BA97-486F-9E02-8DFAAA7D8D38}"/>
          </ac:spMkLst>
        </pc:spChg>
        <pc:spChg chg="mod">
          <ac:chgData name="Aurelien Domont" userId="6da7715ce44349b3" providerId="LiveId" clId="{900ED9AA-9E3E-4466-B9E3-DFC8365613D8}" dt="2022-03-17T03:36:31.348" v="130"/>
          <ac:spMkLst>
            <pc:docMk/>
            <pc:sldMk cId="3864359509" sldId="2285"/>
            <ac:spMk id="4" creationId="{779297D3-1B90-44AB-9BD5-6E6A7C66566A}"/>
          </ac:spMkLst>
        </pc:spChg>
      </pc:sldChg>
      <pc:sldChg chg="modSp del">
        <pc:chgData name="Aurelien Domont" userId="6da7715ce44349b3" providerId="LiveId" clId="{900ED9AA-9E3E-4466-B9E3-DFC8365613D8}" dt="2022-03-17T05:39:04.606" v="2198" actId="47"/>
        <pc:sldMkLst>
          <pc:docMk/>
          <pc:sldMk cId="3312582643" sldId="2287"/>
        </pc:sldMkLst>
        <pc:spChg chg="mod">
          <ac:chgData name="Aurelien Domont" userId="6da7715ce44349b3" providerId="LiveId" clId="{900ED9AA-9E3E-4466-B9E3-DFC8365613D8}" dt="2022-03-17T03:36:31.348" v="130"/>
          <ac:spMkLst>
            <pc:docMk/>
            <pc:sldMk cId="3312582643" sldId="2287"/>
            <ac:spMk id="3" creationId="{CE2529A3-BA97-486F-9E02-8DFAAA7D8D38}"/>
          </ac:spMkLst>
        </pc:spChg>
        <pc:spChg chg="mod">
          <ac:chgData name="Aurelien Domont" userId="6da7715ce44349b3" providerId="LiveId" clId="{900ED9AA-9E3E-4466-B9E3-DFC8365613D8}" dt="2022-03-17T03:36:31.348" v="130"/>
          <ac:spMkLst>
            <pc:docMk/>
            <pc:sldMk cId="3312582643" sldId="2287"/>
            <ac:spMk id="4" creationId="{938C06C8-3711-4D38-ADB7-3F8B94453E97}"/>
          </ac:spMkLst>
        </pc:spChg>
      </pc:sldChg>
      <pc:sldChg chg="modSp del">
        <pc:chgData name="Aurelien Domont" userId="6da7715ce44349b3" providerId="LiveId" clId="{900ED9AA-9E3E-4466-B9E3-DFC8365613D8}" dt="2022-03-17T05:39:04.606" v="2198" actId="47"/>
        <pc:sldMkLst>
          <pc:docMk/>
          <pc:sldMk cId="2661989470" sldId="2288"/>
        </pc:sldMkLst>
        <pc:spChg chg="mod">
          <ac:chgData name="Aurelien Domont" userId="6da7715ce44349b3" providerId="LiveId" clId="{900ED9AA-9E3E-4466-B9E3-DFC8365613D8}" dt="2022-03-17T03:36:31.348" v="130"/>
          <ac:spMkLst>
            <pc:docMk/>
            <pc:sldMk cId="2661989470" sldId="2288"/>
            <ac:spMk id="3" creationId="{CE2529A3-BA97-486F-9E02-8DFAAA7D8D38}"/>
          </ac:spMkLst>
        </pc:spChg>
        <pc:spChg chg="mod">
          <ac:chgData name="Aurelien Domont" userId="6da7715ce44349b3" providerId="LiveId" clId="{900ED9AA-9E3E-4466-B9E3-DFC8365613D8}" dt="2022-03-17T03:36:31.348" v="130"/>
          <ac:spMkLst>
            <pc:docMk/>
            <pc:sldMk cId="2661989470" sldId="2288"/>
            <ac:spMk id="4" creationId="{B6E5AC10-6C0A-463E-BA0E-A71D2128251A}"/>
          </ac:spMkLst>
        </pc:spChg>
      </pc:sldChg>
      <pc:sldChg chg="modSp del">
        <pc:chgData name="Aurelien Domont" userId="6da7715ce44349b3" providerId="LiveId" clId="{900ED9AA-9E3E-4466-B9E3-DFC8365613D8}" dt="2022-03-17T05:39:04.606" v="2198" actId="47"/>
        <pc:sldMkLst>
          <pc:docMk/>
          <pc:sldMk cId="1244464422" sldId="2289"/>
        </pc:sldMkLst>
        <pc:spChg chg="mod">
          <ac:chgData name="Aurelien Domont" userId="6da7715ce44349b3" providerId="LiveId" clId="{900ED9AA-9E3E-4466-B9E3-DFC8365613D8}" dt="2022-03-17T03:36:31.348" v="130"/>
          <ac:spMkLst>
            <pc:docMk/>
            <pc:sldMk cId="1244464422" sldId="2289"/>
            <ac:spMk id="3" creationId="{CE2529A3-BA97-486F-9E02-8DFAAA7D8D38}"/>
          </ac:spMkLst>
        </pc:spChg>
        <pc:spChg chg="mod">
          <ac:chgData name="Aurelien Domont" userId="6da7715ce44349b3" providerId="LiveId" clId="{900ED9AA-9E3E-4466-B9E3-DFC8365613D8}" dt="2022-03-17T03:36:31.348" v="130"/>
          <ac:spMkLst>
            <pc:docMk/>
            <pc:sldMk cId="1244464422" sldId="2289"/>
            <ac:spMk id="4" creationId="{B7856889-900B-41B5-95D5-4E7CD3639ACB}"/>
          </ac:spMkLst>
        </pc:spChg>
      </pc:sldChg>
      <pc:sldChg chg="modSp del">
        <pc:chgData name="Aurelien Domont" userId="6da7715ce44349b3" providerId="LiveId" clId="{900ED9AA-9E3E-4466-B9E3-DFC8365613D8}" dt="2022-03-17T05:39:04.606" v="2198" actId="47"/>
        <pc:sldMkLst>
          <pc:docMk/>
          <pc:sldMk cId="3071288905" sldId="2290"/>
        </pc:sldMkLst>
        <pc:spChg chg="mod">
          <ac:chgData name="Aurelien Domont" userId="6da7715ce44349b3" providerId="LiveId" clId="{900ED9AA-9E3E-4466-B9E3-DFC8365613D8}" dt="2022-03-17T03:36:31.348" v="130"/>
          <ac:spMkLst>
            <pc:docMk/>
            <pc:sldMk cId="3071288905" sldId="2290"/>
            <ac:spMk id="2" creationId="{98205034-64E8-4435-BFA1-43956B7507D0}"/>
          </ac:spMkLst>
        </pc:spChg>
        <pc:spChg chg="mod">
          <ac:chgData name="Aurelien Domont" userId="6da7715ce44349b3" providerId="LiveId" clId="{900ED9AA-9E3E-4466-B9E3-DFC8365613D8}" dt="2022-03-17T03:36:31.348" v="130"/>
          <ac:spMkLst>
            <pc:docMk/>
            <pc:sldMk cId="3071288905" sldId="2290"/>
            <ac:spMk id="16" creationId="{AB0723E2-2BCC-475F-B6CC-F876EF6C96C1}"/>
          </ac:spMkLst>
        </pc:spChg>
      </pc:sldChg>
      <pc:sldChg chg="modSp del">
        <pc:chgData name="Aurelien Domont" userId="6da7715ce44349b3" providerId="LiveId" clId="{900ED9AA-9E3E-4466-B9E3-DFC8365613D8}" dt="2022-03-17T05:39:04.606" v="2198" actId="47"/>
        <pc:sldMkLst>
          <pc:docMk/>
          <pc:sldMk cId="1932387921" sldId="2291"/>
        </pc:sldMkLst>
        <pc:spChg chg="mod">
          <ac:chgData name="Aurelien Domont" userId="6da7715ce44349b3" providerId="LiveId" clId="{900ED9AA-9E3E-4466-B9E3-DFC8365613D8}" dt="2022-03-17T03:36:31.348" v="130"/>
          <ac:spMkLst>
            <pc:docMk/>
            <pc:sldMk cId="1932387921" sldId="2291"/>
            <ac:spMk id="2" creationId="{98205034-64E8-4435-BFA1-43956B7507D0}"/>
          </ac:spMkLst>
        </pc:spChg>
        <pc:spChg chg="mod">
          <ac:chgData name="Aurelien Domont" userId="6da7715ce44349b3" providerId="LiveId" clId="{900ED9AA-9E3E-4466-B9E3-DFC8365613D8}" dt="2022-03-17T03:36:31.348" v="130"/>
          <ac:spMkLst>
            <pc:docMk/>
            <pc:sldMk cId="1932387921" sldId="2291"/>
            <ac:spMk id="16" creationId="{AB0723E2-2BCC-475F-B6CC-F876EF6C96C1}"/>
          </ac:spMkLst>
        </pc:spChg>
      </pc:sldChg>
      <pc:sldChg chg="modSp del">
        <pc:chgData name="Aurelien Domont" userId="6da7715ce44349b3" providerId="LiveId" clId="{900ED9AA-9E3E-4466-B9E3-DFC8365613D8}" dt="2022-03-17T05:39:04.606" v="2198" actId="47"/>
        <pc:sldMkLst>
          <pc:docMk/>
          <pc:sldMk cId="2334046866" sldId="2292"/>
        </pc:sldMkLst>
        <pc:spChg chg="mod">
          <ac:chgData name="Aurelien Domont" userId="6da7715ce44349b3" providerId="LiveId" clId="{900ED9AA-9E3E-4466-B9E3-DFC8365613D8}" dt="2022-03-17T03:36:31.348" v="130"/>
          <ac:spMkLst>
            <pc:docMk/>
            <pc:sldMk cId="2334046866" sldId="2292"/>
            <ac:spMk id="2" creationId="{98205034-64E8-4435-BFA1-43956B7507D0}"/>
          </ac:spMkLst>
        </pc:spChg>
        <pc:spChg chg="mod">
          <ac:chgData name="Aurelien Domont" userId="6da7715ce44349b3" providerId="LiveId" clId="{900ED9AA-9E3E-4466-B9E3-DFC8365613D8}" dt="2022-03-17T03:36:31.348" v="130"/>
          <ac:spMkLst>
            <pc:docMk/>
            <pc:sldMk cId="2334046866" sldId="2292"/>
            <ac:spMk id="16" creationId="{AB0723E2-2BCC-475F-B6CC-F876EF6C96C1}"/>
          </ac:spMkLst>
        </pc:spChg>
      </pc:sldChg>
      <pc:sldChg chg="modSp del">
        <pc:chgData name="Aurelien Domont" userId="6da7715ce44349b3" providerId="LiveId" clId="{900ED9AA-9E3E-4466-B9E3-DFC8365613D8}" dt="2022-03-17T05:39:04.606" v="2198" actId="47"/>
        <pc:sldMkLst>
          <pc:docMk/>
          <pc:sldMk cId="1061959404" sldId="2293"/>
        </pc:sldMkLst>
        <pc:spChg chg="mod">
          <ac:chgData name="Aurelien Domont" userId="6da7715ce44349b3" providerId="LiveId" clId="{900ED9AA-9E3E-4466-B9E3-DFC8365613D8}" dt="2022-03-17T03:36:31.348" v="130"/>
          <ac:spMkLst>
            <pc:docMk/>
            <pc:sldMk cId="1061959404" sldId="2293"/>
            <ac:spMk id="2" creationId="{98205034-64E8-4435-BFA1-43956B7507D0}"/>
          </ac:spMkLst>
        </pc:spChg>
        <pc:spChg chg="mod">
          <ac:chgData name="Aurelien Domont" userId="6da7715ce44349b3" providerId="LiveId" clId="{900ED9AA-9E3E-4466-B9E3-DFC8365613D8}" dt="2022-03-17T03:36:31.348" v="130"/>
          <ac:spMkLst>
            <pc:docMk/>
            <pc:sldMk cId="1061959404" sldId="2293"/>
            <ac:spMk id="16" creationId="{AB0723E2-2BCC-475F-B6CC-F876EF6C96C1}"/>
          </ac:spMkLst>
        </pc:spChg>
      </pc:sldChg>
      <pc:sldChg chg="modSp del">
        <pc:chgData name="Aurelien Domont" userId="6da7715ce44349b3" providerId="LiveId" clId="{900ED9AA-9E3E-4466-B9E3-DFC8365613D8}" dt="2022-03-17T05:39:04.606" v="2198" actId="47"/>
        <pc:sldMkLst>
          <pc:docMk/>
          <pc:sldMk cId="844271115" sldId="2294"/>
        </pc:sldMkLst>
        <pc:spChg chg="mod">
          <ac:chgData name="Aurelien Domont" userId="6da7715ce44349b3" providerId="LiveId" clId="{900ED9AA-9E3E-4466-B9E3-DFC8365613D8}" dt="2022-03-17T03:36:31.348" v="130"/>
          <ac:spMkLst>
            <pc:docMk/>
            <pc:sldMk cId="844271115" sldId="2294"/>
            <ac:spMk id="3" creationId="{CE2529A3-BA97-486F-9E02-8DFAAA7D8D38}"/>
          </ac:spMkLst>
        </pc:spChg>
        <pc:spChg chg="mod">
          <ac:chgData name="Aurelien Domont" userId="6da7715ce44349b3" providerId="LiveId" clId="{900ED9AA-9E3E-4466-B9E3-DFC8365613D8}" dt="2022-03-17T03:36:31.348" v="130"/>
          <ac:spMkLst>
            <pc:docMk/>
            <pc:sldMk cId="844271115" sldId="2294"/>
            <ac:spMk id="7" creationId="{D2A702BE-20E2-426E-B2A2-CA20A6057A08}"/>
          </ac:spMkLst>
        </pc:spChg>
      </pc:sldChg>
      <pc:sldChg chg="modSp del">
        <pc:chgData name="Aurelien Domont" userId="6da7715ce44349b3" providerId="LiveId" clId="{900ED9AA-9E3E-4466-B9E3-DFC8365613D8}" dt="2022-03-17T05:39:04.606" v="2198" actId="47"/>
        <pc:sldMkLst>
          <pc:docMk/>
          <pc:sldMk cId="126483250" sldId="2295"/>
        </pc:sldMkLst>
        <pc:spChg chg="mod">
          <ac:chgData name="Aurelien Domont" userId="6da7715ce44349b3" providerId="LiveId" clId="{900ED9AA-9E3E-4466-B9E3-DFC8365613D8}" dt="2022-03-17T03:36:31.348" v="130"/>
          <ac:spMkLst>
            <pc:docMk/>
            <pc:sldMk cId="126483250" sldId="2295"/>
            <ac:spMk id="2" creationId="{98205034-64E8-4435-BFA1-43956B7507D0}"/>
          </ac:spMkLst>
        </pc:spChg>
        <pc:spChg chg="mod">
          <ac:chgData name="Aurelien Domont" userId="6da7715ce44349b3" providerId="LiveId" clId="{900ED9AA-9E3E-4466-B9E3-DFC8365613D8}" dt="2022-03-17T03:36:31.348" v="130"/>
          <ac:spMkLst>
            <pc:docMk/>
            <pc:sldMk cId="126483250" sldId="2295"/>
            <ac:spMk id="16" creationId="{AB0723E2-2BCC-475F-B6CC-F876EF6C96C1}"/>
          </ac:spMkLst>
        </pc:spChg>
      </pc:sldChg>
      <pc:sldChg chg="modSp del">
        <pc:chgData name="Aurelien Domont" userId="6da7715ce44349b3" providerId="LiveId" clId="{900ED9AA-9E3E-4466-B9E3-DFC8365613D8}" dt="2022-03-17T05:39:04.606" v="2198" actId="47"/>
        <pc:sldMkLst>
          <pc:docMk/>
          <pc:sldMk cId="1243033627" sldId="2296"/>
        </pc:sldMkLst>
        <pc:spChg chg="mod">
          <ac:chgData name="Aurelien Domont" userId="6da7715ce44349b3" providerId="LiveId" clId="{900ED9AA-9E3E-4466-B9E3-DFC8365613D8}" dt="2022-03-17T03:36:31.348" v="130"/>
          <ac:spMkLst>
            <pc:docMk/>
            <pc:sldMk cId="1243033627" sldId="2296"/>
            <ac:spMk id="3" creationId="{CE2529A3-BA97-486F-9E02-8DFAAA7D8D38}"/>
          </ac:spMkLst>
        </pc:spChg>
        <pc:spChg chg="mod">
          <ac:chgData name="Aurelien Domont" userId="6da7715ce44349b3" providerId="LiveId" clId="{900ED9AA-9E3E-4466-B9E3-DFC8365613D8}" dt="2022-03-17T03:36:31.348" v="130"/>
          <ac:spMkLst>
            <pc:docMk/>
            <pc:sldMk cId="1243033627" sldId="2296"/>
            <ac:spMk id="4" creationId="{36F431ED-BE1A-42DE-82FB-C88D56CC618E}"/>
          </ac:spMkLst>
        </pc:spChg>
      </pc:sldChg>
      <pc:sldChg chg="modSp del">
        <pc:chgData name="Aurelien Domont" userId="6da7715ce44349b3" providerId="LiveId" clId="{900ED9AA-9E3E-4466-B9E3-DFC8365613D8}" dt="2022-03-17T05:39:04.606" v="2198" actId="47"/>
        <pc:sldMkLst>
          <pc:docMk/>
          <pc:sldMk cId="3856026295" sldId="2297"/>
        </pc:sldMkLst>
        <pc:spChg chg="mod">
          <ac:chgData name="Aurelien Domont" userId="6da7715ce44349b3" providerId="LiveId" clId="{900ED9AA-9E3E-4466-B9E3-DFC8365613D8}" dt="2022-03-17T03:36:31.348" v="130"/>
          <ac:spMkLst>
            <pc:docMk/>
            <pc:sldMk cId="3856026295" sldId="2297"/>
            <ac:spMk id="3" creationId="{CE2529A3-BA97-486F-9E02-8DFAAA7D8D38}"/>
          </ac:spMkLst>
        </pc:spChg>
        <pc:spChg chg="mod">
          <ac:chgData name="Aurelien Domont" userId="6da7715ce44349b3" providerId="LiveId" clId="{900ED9AA-9E3E-4466-B9E3-DFC8365613D8}" dt="2022-03-17T03:36:31.348" v="130"/>
          <ac:spMkLst>
            <pc:docMk/>
            <pc:sldMk cId="3856026295" sldId="2297"/>
            <ac:spMk id="4" creationId="{BEC36023-142F-4A49-A71C-D0722021EB4A}"/>
          </ac:spMkLst>
        </pc:spChg>
      </pc:sldChg>
      <pc:sldChg chg="modSp del">
        <pc:chgData name="Aurelien Domont" userId="6da7715ce44349b3" providerId="LiveId" clId="{900ED9AA-9E3E-4466-B9E3-DFC8365613D8}" dt="2022-03-17T05:39:04.606" v="2198" actId="47"/>
        <pc:sldMkLst>
          <pc:docMk/>
          <pc:sldMk cId="3166620107" sldId="2298"/>
        </pc:sldMkLst>
        <pc:spChg chg="mod">
          <ac:chgData name="Aurelien Domont" userId="6da7715ce44349b3" providerId="LiveId" clId="{900ED9AA-9E3E-4466-B9E3-DFC8365613D8}" dt="2022-03-17T03:36:31.348" v="130"/>
          <ac:spMkLst>
            <pc:docMk/>
            <pc:sldMk cId="3166620107" sldId="2298"/>
            <ac:spMk id="3" creationId="{CE2529A3-BA97-486F-9E02-8DFAAA7D8D38}"/>
          </ac:spMkLst>
        </pc:spChg>
        <pc:spChg chg="mod">
          <ac:chgData name="Aurelien Domont" userId="6da7715ce44349b3" providerId="LiveId" clId="{900ED9AA-9E3E-4466-B9E3-DFC8365613D8}" dt="2022-03-17T03:36:31.348" v="130"/>
          <ac:spMkLst>
            <pc:docMk/>
            <pc:sldMk cId="3166620107" sldId="2298"/>
            <ac:spMk id="4" creationId="{6B2CDE5D-F8E9-4291-916B-0055B33EDB18}"/>
          </ac:spMkLst>
        </pc:spChg>
      </pc:sldChg>
      <pc:sldChg chg="modSp del">
        <pc:chgData name="Aurelien Domont" userId="6da7715ce44349b3" providerId="LiveId" clId="{900ED9AA-9E3E-4466-B9E3-DFC8365613D8}" dt="2022-03-17T05:39:04.606" v="2198" actId="47"/>
        <pc:sldMkLst>
          <pc:docMk/>
          <pc:sldMk cId="2970543153" sldId="2299"/>
        </pc:sldMkLst>
        <pc:spChg chg="mod">
          <ac:chgData name="Aurelien Domont" userId="6da7715ce44349b3" providerId="LiveId" clId="{900ED9AA-9E3E-4466-B9E3-DFC8365613D8}" dt="2022-03-17T03:36:31.348" v="130"/>
          <ac:spMkLst>
            <pc:docMk/>
            <pc:sldMk cId="2970543153" sldId="2299"/>
            <ac:spMk id="3" creationId="{CE2529A3-BA97-486F-9E02-8DFAAA7D8D38}"/>
          </ac:spMkLst>
        </pc:spChg>
        <pc:spChg chg="mod">
          <ac:chgData name="Aurelien Domont" userId="6da7715ce44349b3" providerId="LiveId" clId="{900ED9AA-9E3E-4466-B9E3-DFC8365613D8}" dt="2022-03-17T03:36:31.348" v="130"/>
          <ac:spMkLst>
            <pc:docMk/>
            <pc:sldMk cId="2970543153" sldId="2299"/>
            <ac:spMk id="4" creationId="{BF27DA9E-BF76-435B-ACDF-DDC0D8E0AF9C}"/>
          </ac:spMkLst>
        </pc:spChg>
      </pc:sldChg>
      <pc:sldChg chg="modSp del">
        <pc:chgData name="Aurelien Domont" userId="6da7715ce44349b3" providerId="LiveId" clId="{900ED9AA-9E3E-4466-B9E3-DFC8365613D8}" dt="2022-03-17T05:39:04.606" v="2198" actId="47"/>
        <pc:sldMkLst>
          <pc:docMk/>
          <pc:sldMk cId="125206595" sldId="2300"/>
        </pc:sldMkLst>
        <pc:spChg chg="mod">
          <ac:chgData name="Aurelien Domont" userId="6da7715ce44349b3" providerId="LiveId" clId="{900ED9AA-9E3E-4466-B9E3-DFC8365613D8}" dt="2022-03-17T03:36:31.348" v="130"/>
          <ac:spMkLst>
            <pc:docMk/>
            <pc:sldMk cId="125206595" sldId="2300"/>
            <ac:spMk id="3" creationId="{CE2529A3-BA97-486F-9E02-8DFAAA7D8D38}"/>
          </ac:spMkLst>
        </pc:spChg>
        <pc:spChg chg="mod">
          <ac:chgData name="Aurelien Domont" userId="6da7715ce44349b3" providerId="LiveId" clId="{900ED9AA-9E3E-4466-B9E3-DFC8365613D8}" dt="2022-03-17T03:36:31.348" v="130"/>
          <ac:spMkLst>
            <pc:docMk/>
            <pc:sldMk cId="125206595" sldId="2300"/>
            <ac:spMk id="4" creationId="{A6ACA4B2-3812-4F91-901B-2C42DCB0DD06}"/>
          </ac:spMkLst>
        </pc:spChg>
      </pc:sldChg>
      <pc:sldChg chg="addSp modSp new del mod">
        <pc:chgData name="Aurelien Domont" userId="6da7715ce44349b3" providerId="LiveId" clId="{900ED9AA-9E3E-4466-B9E3-DFC8365613D8}" dt="2022-03-17T05:39:04.606" v="2198" actId="47"/>
        <pc:sldMkLst>
          <pc:docMk/>
          <pc:sldMk cId="840980354" sldId="2301"/>
        </pc:sldMkLst>
        <pc:spChg chg="mod">
          <ac:chgData name="Aurelien Domont" userId="6da7715ce44349b3" providerId="LiveId" clId="{900ED9AA-9E3E-4466-B9E3-DFC8365613D8}" dt="2022-03-17T03:36:31.348" v="130"/>
          <ac:spMkLst>
            <pc:docMk/>
            <pc:sldMk cId="840980354" sldId="2301"/>
            <ac:spMk id="2" creationId="{C7A7E876-AEF8-45B6-9701-36FD9D599319}"/>
          </ac:spMkLst>
        </pc:spChg>
        <pc:spChg chg="add mod">
          <ac:chgData name="Aurelien Domont" userId="6da7715ce44349b3" providerId="LiveId" clId="{900ED9AA-9E3E-4466-B9E3-DFC8365613D8}" dt="2022-03-17T03:22:24.715" v="3" actId="207"/>
          <ac:spMkLst>
            <pc:docMk/>
            <pc:sldMk cId="840980354" sldId="2301"/>
            <ac:spMk id="3" creationId="{9E69C8B4-5053-4B5D-94B0-8A4FB5E6615A}"/>
          </ac:spMkLst>
        </pc:spChg>
      </pc:sldChg>
      <pc:sldChg chg="new del">
        <pc:chgData name="Aurelien Domont" userId="6da7715ce44349b3" providerId="LiveId" clId="{900ED9AA-9E3E-4466-B9E3-DFC8365613D8}" dt="2022-03-17T03:22:36.678" v="5" actId="47"/>
        <pc:sldMkLst>
          <pc:docMk/>
          <pc:sldMk cId="3388194198" sldId="2302"/>
        </pc:sldMkLst>
      </pc:sldChg>
      <pc:sldChg chg="addSp delSp modSp add mod ord">
        <pc:chgData name="Aurelien Domont" userId="6da7715ce44349b3" providerId="LiveId" clId="{900ED9AA-9E3E-4466-B9E3-DFC8365613D8}" dt="2022-03-17T03:49:00.429" v="204" actId="948"/>
        <pc:sldMkLst>
          <pc:docMk/>
          <pc:sldMk cId="4217328411" sldId="2309"/>
        </pc:sldMkLst>
        <pc:spChg chg="mod">
          <ac:chgData name="Aurelien Domont" userId="6da7715ce44349b3" providerId="LiveId" clId="{900ED9AA-9E3E-4466-B9E3-DFC8365613D8}" dt="2022-03-17T03:36:31.348" v="130"/>
          <ac:spMkLst>
            <pc:docMk/>
            <pc:sldMk cId="4217328411" sldId="2309"/>
            <ac:spMk id="2" creationId="{7837E1C4-A2D7-4558-A504-36AC8920218D}"/>
          </ac:spMkLst>
        </pc:spChg>
        <pc:spChg chg="add del">
          <ac:chgData name="Aurelien Domont" userId="6da7715ce44349b3" providerId="LiveId" clId="{900ED9AA-9E3E-4466-B9E3-DFC8365613D8}" dt="2022-03-17T03:48:32.584" v="198" actId="478"/>
          <ac:spMkLst>
            <pc:docMk/>
            <pc:sldMk cId="4217328411" sldId="2309"/>
            <ac:spMk id="9" creationId="{B769D6F6-AFD9-4EA9-B80A-33F28CA11BE0}"/>
          </ac:spMkLst>
        </pc:spChg>
        <pc:spChg chg="add del">
          <ac:chgData name="Aurelien Domont" userId="6da7715ce44349b3" providerId="LiveId" clId="{900ED9AA-9E3E-4466-B9E3-DFC8365613D8}" dt="2022-03-17T03:48:32.584" v="198" actId="478"/>
          <ac:spMkLst>
            <pc:docMk/>
            <pc:sldMk cId="4217328411" sldId="2309"/>
            <ac:spMk id="10" creationId="{5B7FFB86-AF8B-42F2-8248-7F825E9729B5}"/>
          </ac:spMkLst>
        </pc:spChg>
        <pc:spChg chg="add del">
          <ac:chgData name="Aurelien Domont" userId="6da7715ce44349b3" providerId="LiveId" clId="{900ED9AA-9E3E-4466-B9E3-DFC8365613D8}" dt="2022-03-17T03:48:32.584" v="198" actId="478"/>
          <ac:spMkLst>
            <pc:docMk/>
            <pc:sldMk cId="4217328411" sldId="2309"/>
            <ac:spMk id="11" creationId="{9BCB142E-72D8-4305-9096-885998A95FB3}"/>
          </ac:spMkLst>
        </pc:spChg>
        <pc:spChg chg="add del">
          <ac:chgData name="Aurelien Domont" userId="6da7715ce44349b3" providerId="LiveId" clId="{900ED9AA-9E3E-4466-B9E3-DFC8365613D8}" dt="2022-03-17T03:48:32.584" v="198" actId="478"/>
          <ac:spMkLst>
            <pc:docMk/>
            <pc:sldMk cId="4217328411" sldId="2309"/>
            <ac:spMk id="12" creationId="{9A65ADC9-0635-434B-9829-EA26E50BCCAC}"/>
          </ac:spMkLst>
        </pc:spChg>
        <pc:spChg chg="add del">
          <ac:chgData name="Aurelien Domont" userId="6da7715ce44349b3" providerId="LiveId" clId="{900ED9AA-9E3E-4466-B9E3-DFC8365613D8}" dt="2022-03-17T03:48:32.584" v="198" actId="478"/>
          <ac:spMkLst>
            <pc:docMk/>
            <pc:sldMk cId="4217328411" sldId="2309"/>
            <ac:spMk id="14" creationId="{01AF693B-D65B-427E-AB73-775C9CA6F9F8}"/>
          </ac:spMkLst>
        </pc:spChg>
        <pc:spChg chg="mod">
          <ac:chgData name="Aurelien Domont" userId="6da7715ce44349b3" providerId="LiveId" clId="{900ED9AA-9E3E-4466-B9E3-DFC8365613D8}" dt="2022-03-17T03:36:31.348" v="130"/>
          <ac:spMkLst>
            <pc:docMk/>
            <pc:sldMk cId="4217328411" sldId="2309"/>
            <ac:spMk id="16" creationId="{6C2BB713-9637-4B9B-938F-E9768876782A}"/>
          </ac:spMkLst>
        </pc:spChg>
        <pc:spChg chg="add del">
          <ac:chgData name="Aurelien Domont" userId="6da7715ce44349b3" providerId="LiveId" clId="{900ED9AA-9E3E-4466-B9E3-DFC8365613D8}" dt="2022-03-17T03:48:32.584" v="198" actId="478"/>
          <ac:spMkLst>
            <pc:docMk/>
            <pc:sldMk cId="4217328411" sldId="2309"/>
            <ac:spMk id="17" creationId="{D7CB83BD-BA5C-429A-B579-008A442C4480}"/>
          </ac:spMkLst>
        </pc:spChg>
        <pc:spChg chg="add del mod">
          <ac:chgData name="Aurelien Domont" userId="6da7715ce44349b3" providerId="LiveId" clId="{900ED9AA-9E3E-4466-B9E3-DFC8365613D8}" dt="2022-03-17T03:48:45.272" v="202" actId="20577"/>
          <ac:spMkLst>
            <pc:docMk/>
            <pc:sldMk cId="4217328411" sldId="2309"/>
            <ac:spMk id="18" creationId="{6690B5F9-90B9-4DDB-8F95-51D207BE3335}"/>
          </ac:spMkLst>
        </pc:spChg>
        <pc:spChg chg="add del">
          <ac:chgData name="Aurelien Domont" userId="6da7715ce44349b3" providerId="LiveId" clId="{900ED9AA-9E3E-4466-B9E3-DFC8365613D8}" dt="2022-03-17T03:48:32.584" v="198" actId="478"/>
          <ac:spMkLst>
            <pc:docMk/>
            <pc:sldMk cId="4217328411" sldId="2309"/>
            <ac:spMk id="21" creationId="{8887032C-CE4E-4107-8157-6C8608EF9A32}"/>
          </ac:spMkLst>
        </pc:spChg>
        <pc:spChg chg="add del mod">
          <ac:chgData name="Aurelien Domont" userId="6da7715ce44349b3" providerId="LiveId" clId="{900ED9AA-9E3E-4466-B9E3-DFC8365613D8}" dt="2022-03-17T03:49:00.429" v="204" actId="948"/>
          <ac:spMkLst>
            <pc:docMk/>
            <pc:sldMk cId="4217328411" sldId="2309"/>
            <ac:spMk id="22" creationId="{CC39D5EE-40EF-4CFB-9505-D1EFF3AF3535}"/>
          </ac:spMkLst>
        </pc:spChg>
      </pc:sldChg>
      <pc:sldChg chg="modSp add mod ord">
        <pc:chgData name="Aurelien Domont" userId="6da7715ce44349b3" providerId="LiveId" clId="{900ED9AA-9E3E-4466-B9E3-DFC8365613D8}" dt="2022-03-17T04:08:03.761" v="293" actId="20577"/>
        <pc:sldMkLst>
          <pc:docMk/>
          <pc:sldMk cId="3430959687" sldId="2312"/>
        </pc:sldMkLst>
        <pc:spChg chg="mod">
          <ac:chgData name="Aurelien Domont" userId="6da7715ce44349b3" providerId="LiveId" clId="{900ED9AA-9E3E-4466-B9E3-DFC8365613D8}" dt="2022-03-17T04:08:03.761" v="293" actId="20577"/>
          <ac:spMkLst>
            <pc:docMk/>
            <pc:sldMk cId="3430959687" sldId="2312"/>
            <ac:spMk id="2" creationId="{406113FD-AA7D-4249-90D7-70AF85BE48E1}"/>
          </ac:spMkLst>
        </pc:spChg>
        <pc:spChg chg="mod">
          <ac:chgData name="Aurelien Domont" userId="6da7715ce44349b3" providerId="LiveId" clId="{900ED9AA-9E3E-4466-B9E3-DFC8365613D8}" dt="2022-03-17T03:36:31.348" v="130"/>
          <ac:spMkLst>
            <pc:docMk/>
            <pc:sldMk cId="3430959687" sldId="2312"/>
            <ac:spMk id="9" creationId="{A4C0187A-3E85-4C87-AB6B-7D4F4276FE07}"/>
          </ac:spMkLst>
        </pc:spChg>
      </pc:sldChg>
      <pc:sldChg chg="modSp add del">
        <pc:chgData name="Aurelien Domont" userId="6da7715ce44349b3" providerId="LiveId" clId="{900ED9AA-9E3E-4466-B9E3-DFC8365613D8}" dt="2022-03-17T05:04:23.275" v="1776" actId="47"/>
        <pc:sldMkLst>
          <pc:docMk/>
          <pc:sldMk cId="1351308012" sldId="2314"/>
        </pc:sldMkLst>
        <pc:spChg chg="mod">
          <ac:chgData name="Aurelien Domont" userId="6da7715ce44349b3" providerId="LiveId" clId="{900ED9AA-9E3E-4466-B9E3-DFC8365613D8}" dt="2022-03-17T03:36:31.348" v="130"/>
          <ac:spMkLst>
            <pc:docMk/>
            <pc:sldMk cId="1351308012" sldId="2314"/>
            <ac:spMk id="2" creationId="{406113FD-AA7D-4249-90D7-70AF85BE48E1}"/>
          </ac:spMkLst>
        </pc:spChg>
        <pc:spChg chg="mod">
          <ac:chgData name="Aurelien Domont" userId="6da7715ce44349b3" providerId="LiveId" clId="{900ED9AA-9E3E-4466-B9E3-DFC8365613D8}" dt="2022-03-17T03:36:31.348" v="130"/>
          <ac:spMkLst>
            <pc:docMk/>
            <pc:sldMk cId="1351308012" sldId="2314"/>
            <ac:spMk id="9" creationId="{A4C0187A-3E85-4C87-AB6B-7D4F4276FE07}"/>
          </ac:spMkLst>
        </pc:spChg>
      </pc:sldChg>
      <pc:sldChg chg="modSp add del">
        <pc:chgData name="Aurelien Domont" userId="6da7715ce44349b3" providerId="LiveId" clId="{900ED9AA-9E3E-4466-B9E3-DFC8365613D8}" dt="2022-03-17T05:05:58.381" v="1796" actId="47"/>
        <pc:sldMkLst>
          <pc:docMk/>
          <pc:sldMk cId="2320397008" sldId="2315"/>
        </pc:sldMkLst>
        <pc:spChg chg="mod">
          <ac:chgData name="Aurelien Domont" userId="6da7715ce44349b3" providerId="LiveId" clId="{900ED9AA-9E3E-4466-B9E3-DFC8365613D8}" dt="2022-03-17T03:36:31.348" v="130"/>
          <ac:spMkLst>
            <pc:docMk/>
            <pc:sldMk cId="2320397008" sldId="2315"/>
            <ac:spMk id="3" creationId="{E7A26292-23DB-44E5-949D-BAFE0A7919DF}"/>
          </ac:spMkLst>
        </pc:spChg>
        <pc:spChg chg="mod">
          <ac:chgData name="Aurelien Domont" userId="6da7715ce44349b3" providerId="LiveId" clId="{900ED9AA-9E3E-4466-B9E3-DFC8365613D8}" dt="2022-03-17T03:36:31.348" v="130"/>
          <ac:spMkLst>
            <pc:docMk/>
            <pc:sldMk cId="2320397008" sldId="2315"/>
            <ac:spMk id="16" creationId="{6C2BB713-9637-4B9B-938F-E9768876782A}"/>
          </ac:spMkLst>
        </pc:spChg>
      </pc:sldChg>
      <pc:sldChg chg="modSp add del">
        <pc:chgData name="Aurelien Domont" userId="6da7715ce44349b3" providerId="LiveId" clId="{900ED9AA-9E3E-4466-B9E3-DFC8365613D8}" dt="2022-03-17T05:07:05.186" v="1815" actId="47"/>
        <pc:sldMkLst>
          <pc:docMk/>
          <pc:sldMk cId="2507351813" sldId="2316"/>
        </pc:sldMkLst>
        <pc:spChg chg="mod">
          <ac:chgData name="Aurelien Domont" userId="6da7715ce44349b3" providerId="LiveId" clId="{900ED9AA-9E3E-4466-B9E3-DFC8365613D8}" dt="2022-03-17T03:36:31.348" v="130"/>
          <ac:spMkLst>
            <pc:docMk/>
            <pc:sldMk cId="2507351813" sldId="2316"/>
            <ac:spMk id="2" creationId="{406113FD-AA7D-4249-90D7-70AF85BE48E1}"/>
          </ac:spMkLst>
        </pc:spChg>
        <pc:spChg chg="mod">
          <ac:chgData name="Aurelien Domont" userId="6da7715ce44349b3" providerId="LiveId" clId="{900ED9AA-9E3E-4466-B9E3-DFC8365613D8}" dt="2022-03-17T03:36:31.348" v="130"/>
          <ac:spMkLst>
            <pc:docMk/>
            <pc:sldMk cId="2507351813" sldId="2316"/>
            <ac:spMk id="9" creationId="{A4C0187A-3E85-4C87-AB6B-7D4F4276FE07}"/>
          </ac:spMkLst>
        </pc:spChg>
      </pc:sldChg>
      <pc:sldChg chg="modSp add mod ord">
        <pc:chgData name="Aurelien Domont" userId="6da7715ce44349b3" providerId="LiveId" clId="{900ED9AA-9E3E-4466-B9E3-DFC8365613D8}" dt="2022-03-17T04:05:46.383" v="263"/>
        <pc:sldMkLst>
          <pc:docMk/>
          <pc:sldMk cId="1770060775" sldId="2320"/>
        </pc:sldMkLst>
        <pc:spChg chg="mod">
          <ac:chgData name="Aurelien Domont" userId="6da7715ce44349b3" providerId="LiveId" clId="{900ED9AA-9E3E-4466-B9E3-DFC8365613D8}" dt="2022-03-17T03:36:31.348" v="130"/>
          <ac:spMkLst>
            <pc:docMk/>
            <pc:sldMk cId="1770060775" sldId="2320"/>
            <ac:spMk id="3" creationId="{CE2529A3-BA97-486F-9E02-8DFAAA7D8D38}"/>
          </ac:spMkLst>
        </pc:spChg>
        <pc:spChg chg="mod">
          <ac:chgData name="Aurelien Domont" userId="6da7715ce44349b3" providerId="LiveId" clId="{900ED9AA-9E3E-4466-B9E3-DFC8365613D8}" dt="2022-03-17T04:04:57.403" v="261" actId="20577"/>
          <ac:spMkLst>
            <pc:docMk/>
            <pc:sldMk cId="1770060775" sldId="2320"/>
            <ac:spMk id="16" creationId="{6C2BB713-9637-4B9B-938F-E9768876782A}"/>
          </ac:spMkLst>
        </pc:spChg>
      </pc:sldChg>
      <pc:sldChg chg="modSp add del">
        <pc:chgData name="Aurelien Domont" userId="6da7715ce44349b3" providerId="LiveId" clId="{900ED9AA-9E3E-4466-B9E3-DFC8365613D8}" dt="2022-03-17T04:41:28.843" v="854" actId="47"/>
        <pc:sldMkLst>
          <pc:docMk/>
          <pc:sldMk cId="1947126593" sldId="2321"/>
        </pc:sldMkLst>
        <pc:spChg chg="mod">
          <ac:chgData name="Aurelien Domont" userId="6da7715ce44349b3" providerId="LiveId" clId="{900ED9AA-9E3E-4466-B9E3-DFC8365613D8}" dt="2022-03-17T03:36:31.348" v="130"/>
          <ac:spMkLst>
            <pc:docMk/>
            <pc:sldMk cId="1947126593" sldId="2321"/>
            <ac:spMk id="2" creationId="{406113FD-AA7D-4249-90D7-70AF85BE48E1}"/>
          </ac:spMkLst>
        </pc:spChg>
        <pc:spChg chg="mod">
          <ac:chgData name="Aurelien Domont" userId="6da7715ce44349b3" providerId="LiveId" clId="{900ED9AA-9E3E-4466-B9E3-DFC8365613D8}" dt="2022-03-17T03:36:31.348" v="130"/>
          <ac:spMkLst>
            <pc:docMk/>
            <pc:sldMk cId="1947126593" sldId="2321"/>
            <ac:spMk id="9" creationId="{A4C0187A-3E85-4C87-AB6B-7D4F4276FE07}"/>
          </ac:spMkLst>
        </pc:spChg>
      </pc:sldChg>
      <pc:sldChg chg="modSp add del">
        <pc:chgData name="Aurelien Domont" userId="6da7715ce44349b3" providerId="LiveId" clId="{900ED9AA-9E3E-4466-B9E3-DFC8365613D8}" dt="2022-03-17T04:41:31.340" v="855" actId="47"/>
        <pc:sldMkLst>
          <pc:docMk/>
          <pc:sldMk cId="604110494" sldId="2322"/>
        </pc:sldMkLst>
        <pc:spChg chg="mod">
          <ac:chgData name="Aurelien Domont" userId="6da7715ce44349b3" providerId="LiveId" clId="{900ED9AA-9E3E-4466-B9E3-DFC8365613D8}" dt="2022-03-17T03:36:31.348" v="130"/>
          <ac:spMkLst>
            <pc:docMk/>
            <pc:sldMk cId="604110494" sldId="2322"/>
            <ac:spMk id="2" creationId="{406113FD-AA7D-4249-90D7-70AF85BE48E1}"/>
          </ac:spMkLst>
        </pc:spChg>
        <pc:spChg chg="mod">
          <ac:chgData name="Aurelien Domont" userId="6da7715ce44349b3" providerId="LiveId" clId="{900ED9AA-9E3E-4466-B9E3-DFC8365613D8}" dt="2022-03-17T03:36:31.348" v="130"/>
          <ac:spMkLst>
            <pc:docMk/>
            <pc:sldMk cId="604110494" sldId="2322"/>
            <ac:spMk id="9" creationId="{A4C0187A-3E85-4C87-AB6B-7D4F4276FE07}"/>
          </ac:spMkLst>
        </pc:spChg>
      </pc:sldChg>
      <pc:sldChg chg="modSp add mod ord">
        <pc:chgData name="Aurelien Domont" userId="6da7715ce44349b3" providerId="LiveId" clId="{900ED9AA-9E3E-4466-B9E3-DFC8365613D8}" dt="2022-03-17T05:37:43.101" v="2174"/>
        <pc:sldMkLst>
          <pc:docMk/>
          <pc:sldMk cId="2726258025" sldId="2324"/>
        </pc:sldMkLst>
        <pc:spChg chg="mod">
          <ac:chgData name="Aurelien Domont" userId="6da7715ce44349b3" providerId="LiveId" clId="{900ED9AA-9E3E-4466-B9E3-DFC8365613D8}" dt="2022-03-17T03:36:31.348" v="130"/>
          <ac:spMkLst>
            <pc:docMk/>
            <pc:sldMk cId="2726258025" sldId="2324"/>
            <ac:spMk id="3" creationId="{CE2529A3-BA97-486F-9E02-8DFAAA7D8D38}"/>
          </ac:spMkLst>
        </pc:spChg>
        <pc:spChg chg="mod">
          <ac:chgData name="Aurelien Domont" userId="6da7715ce44349b3" providerId="LiveId" clId="{900ED9AA-9E3E-4466-B9E3-DFC8365613D8}" dt="2022-03-17T05:29:53.682" v="2098" actId="20577"/>
          <ac:spMkLst>
            <pc:docMk/>
            <pc:sldMk cId="2726258025" sldId="2324"/>
            <ac:spMk id="16" creationId="{6C2BB713-9637-4B9B-938F-E9768876782A}"/>
          </ac:spMkLst>
        </pc:spChg>
      </pc:sldChg>
      <pc:sldChg chg="modSp add mod ord">
        <pc:chgData name="Aurelien Domont" userId="6da7715ce44349b3" providerId="LiveId" clId="{900ED9AA-9E3E-4466-B9E3-DFC8365613D8}" dt="2022-03-17T05:37:46.819" v="2176"/>
        <pc:sldMkLst>
          <pc:docMk/>
          <pc:sldMk cId="1101361176" sldId="2325"/>
        </pc:sldMkLst>
        <pc:spChg chg="mod">
          <ac:chgData name="Aurelien Domont" userId="6da7715ce44349b3" providerId="LiveId" clId="{900ED9AA-9E3E-4466-B9E3-DFC8365613D8}" dt="2022-03-17T03:36:31.348" v="130"/>
          <ac:spMkLst>
            <pc:docMk/>
            <pc:sldMk cId="1101361176" sldId="2325"/>
            <ac:spMk id="3" creationId="{CE2529A3-BA97-486F-9E02-8DFAAA7D8D38}"/>
          </ac:spMkLst>
        </pc:spChg>
        <pc:spChg chg="mod">
          <ac:chgData name="Aurelien Domont" userId="6da7715ce44349b3" providerId="LiveId" clId="{900ED9AA-9E3E-4466-B9E3-DFC8365613D8}" dt="2022-03-17T05:34:16.432" v="2103"/>
          <ac:spMkLst>
            <pc:docMk/>
            <pc:sldMk cId="1101361176" sldId="2325"/>
            <ac:spMk id="8" creationId="{AACC707B-7DF4-4BD3-8C2B-1CB9E338575A}"/>
          </ac:spMkLst>
        </pc:spChg>
        <pc:spChg chg="mod">
          <ac:chgData name="Aurelien Domont" userId="6da7715ce44349b3" providerId="LiveId" clId="{900ED9AA-9E3E-4466-B9E3-DFC8365613D8}" dt="2022-03-17T05:36:59.969" v="2160" actId="6549"/>
          <ac:spMkLst>
            <pc:docMk/>
            <pc:sldMk cId="1101361176" sldId="2325"/>
            <ac:spMk id="10" creationId="{F58E5573-4B43-45C3-B54E-7F40AC706F25}"/>
          </ac:spMkLst>
        </pc:spChg>
        <pc:spChg chg="mod">
          <ac:chgData name="Aurelien Domont" userId="6da7715ce44349b3" providerId="LiveId" clId="{900ED9AA-9E3E-4466-B9E3-DFC8365613D8}" dt="2022-03-17T05:34:32.277" v="2105"/>
          <ac:spMkLst>
            <pc:docMk/>
            <pc:sldMk cId="1101361176" sldId="2325"/>
            <ac:spMk id="12" creationId="{37C69335-5146-4A43-8A66-3D812CCEE71C}"/>
          </ac:spMkLst>
        </pc:spChg>
        <pc:spChg chg="mod">
          <ac:chgData name="Aurelien Domont" userId="6da7715ce44349b3" providerId="LiveId" clId="{900ED9AA-9E3E-4466-B9E3-DFC8365613D8}" dt="2022-03-17T05:35:03.615" v="2111"/>
          <ac:spMkLst>
            <pc:docMk/>
            <pc:sldMk cId="1101361176" sldId="2325"/>
            <ac:spMk id="15" creationId="{9062EAF1-FB94-40E1-84A8-0E20771138DD}"/>
          </ac:spMkLst>
        </pc:spChg>
        <pc:spChg chg="mod">
          <ac:chgData name="Aurelien Domont" userId="6da7715ce44349b3" providerId="LiveId" clId="{900ED9AA-9E3E-4466-B9E3-DFC8365613D8}" dt="2022-03-17T05:30:01.834" v="2099"/>
          <ac:spMkLst>
            <pc:docMk/>
            <pc:sldMk cId="1101361176" sldId="2325"/>
            <ac:spMk id="16" creationId="{6C2BB713-9637-4B9B-938F-E9768876782A}"/>
          </ac:spMkLst>
        </pc:spChg>
        <pc:spChg chg="mod">
          <ac:chgData name="Aurelien Domont" userId="6da7715ce44349b3" providerId="LiveId" clId="{900ED9AA-9E3E-4466-B9E3-DFC8365613D8}" dt="2022-03-17T05:35:40.457" v="2147" actId="20577"/>
          <ac:spMkLst>
            <pc:docMk/>
            <pc:sldMk cId="1101361176" sldId="2325"/>
            <ac:spMk id="18" creationId="{52C4EDF7-1E42-49A5-8C69-0510341BC7DE}"/>
          </ac:spMkLst>
        </pc:spChg>
        <pc:spChg chg="mod">
          <ac:chgData name="Aurelien Domont" userId="6da7715ce44349b3" providerId="LiveId" clId="{900ED9AA-9E3E-4466-B9E3-DFC8365613D8}" dt="2022-03-17T05:37:30.829" v="2171" actId="20577"/>
          <ac:spMkLst>
            <pc:docMk/>
            <pc:sldMk cId="1101361176" sldId="2325"/>
            <ac:spMk id="20" creationId="{C67663DF-A355-45E3-8516-D6C8CD1488D3}"/>
          </ac:spMkLst>
        </pc:spChg>
      </pc:sldChg>
      <pc:sldChg chg="modSp add del">
        <pc:chgData name="Aurelien Domont" userId="6da7715ce44349b3" providerId="LiveId" clId="{900ED9AA-9E3E-4466-B9E3-DFC8365613D8}" dt="2022-03-17T03:55:45.130" v="254" actId="47"/>
        <pc:sldMkLst>
          <pc:docMk/>
          <pc:sldMk cId="2193234168" sldId="2328"/>
        </pc:sldMkLst>
        <pc:spChg chg="mod">
          <ac:chgData name="Aurelien Domont" userId="6da7715ce44349b3" providerId="LiveId" clId="{900ED9AA-9E3E-4466-B9E3-DFC8365613D8}" dt="2022-03-17T03:36:31.348" v="130"/>
          <ac:spMkLst>
            <pc:docMk/>
            <pc:sldMk cId="2193234168" sldId="2328"/>
            <ac:spMk id="3" creationId="{CE2529A3-BA97-486F-9E02-8DFAAA7D8D38}"/>
          </ac:spMkLst>
        </pc:spChg>
        <pc:spChg chg="mod">
          <ac:chgData name="Aurelien Domont" userId="6da7715ce44349b3" providerId="LiveId" clId="{900ED9AA-9E3E-4466-B9E3-DFC8365613D8}" dt="2022-03-17T03:36:31.348" v="130"/>
          <ac:spMkLst>
            <pc:docMk/>
            <pc:sldMk cId="2193234168" sldId="2328"/>
            <ac:spMk id="16" creationId="{6C2BB713-9637-4B9B-938F-E9768876782A}"/>
          </ac:spMkLst>
        </pc:spChg>
      </pc:sldChg>
      <pc:sldChg chg="modSp add del">
        <pc:chgData name="Aurelien Domont" userId="6da7715ce44349b3" providerId="LiveId" clId="{900ED9AA-9E3E-4466-B9E3-DFC8365613D8}" dt="2022-03-17T03:55:50.779" v="256" actId="47"/>
        <pc:sldMkLst>
          <pc:docMk/>
          <pc:sldMk cId="3297884978" sldId="2329"/>
        </pc:sldMkLst>
        <pc:spChg chg="mod">
          <ac:chgData name="Aurelien Domont" userId="6da7715ce44349b3" providerId="LiveId" clId="{900ED9AA-9E3E-4466-B9E3-DFC8365613D8}" dt="2022-03-17T03:36:31.348" v="130"/>
          <ac:spMkLst>
            <pc:docMk/>
            <pc:sldMk cId="3297884978" sldId="2329"/>
            <ac:spMk id="2" creationId="{406113FD-AA7D-4249-90D7-70AF85BE48E1}"/>
          </ac:spMkLst>
        </pc:spChg>
      </pc:sldChg>
      <pc:sldChg chg="modSp add del">
        <pc:chgData name="Aurelien Domont" userId="6da7715ce44349b3" providerId="LiveId" clId="{900ED9AA-9E3E-4466-B9E3-DFC8365613D8}" dt="2022-03-17T03:55:47.286" v="255" actId="47"/>
        <pc:sldMkLst>
          <pc:docMk/>
          <pc:sldMk cId="4059825337" sldId="2330"/>
        </pc:sldMkLst>
        <pc:spChg chg="mod">
          <ac:chgData name="Aurelien Domont" userId="6da7715ce44349b3" providerId="LiveId" clId="{900ED9AA-9E3E-4466-B9E3-DFC8365613D8}" dt="2022-03-17T03:36:31.348" v="130"/>
          <ac:spMkLst>
            <pc:docMk/>
            <pc:sldMk cId="4059825337" sldId="2330"/>
            <ac:spMk id="3" creationId="{CE2529A3-BA97-486F-9E02-8DFAAA7D8D38}"/>
          </ac:spMkLst>
        </pc:spChg>
        <pc:spChg chg="mod">
          <ac:chgData name="Aurelien Domont" userId="6da7715ce44349b3" providerId="LiveId" clId="{900ED9AA-9E3E-4466-B9E3-DFC8365613D8}" dt="2022-03-17T03:36:31.348" v="130"/>
          <ac:spMkLst>
            <pc:docMk/>
            <pc:sldMk cId="4059825337" sldId="2330"/>
            <ac:spMk id="16" creationId="{6C2BB713-9637-4B9B-938F-E9768876782A}"/>
          </ac:spMkLst>
        </pc:spChg>
      </pc:sldChg>
      <pc:sldChg chg="modSp add del">
        <pc:chgData name="Aurelien Domont" userId="6da7715ce44349b3" providerId="LiveId" clId="{900ED9AA-9E3E-4466-B9E3-DFC8365613D8}" dt="2022-03-17T03:56:03.548" v="258" actId="47"/>
        <pc:sldMkLst>
          <pc:docMk/>
          <pc:sldMk cId="2689311263" sldId="2331"/>
        </pc:sldMkLst>
        <pc:spChg chg="mod">
          <ac:chgData name="Aurelien Domont" userId="6da7715ce44349b3" providerId="LiveId" clId="{900ED9AA-9E3E-4466-B9E3-DFC8365613D8}" dt="2022-03-17T03:36:31.348" v="130"/>
          <ac:spMkLst>
            <pc:docMk/>
            <pc:sldMk cId="2689311263" sldId="2331"/>
            <ac:spMk id="2" creationId="{406113FD-AA7D-4249-90D7-70AF85BE48E1}"/>
          </ac:spMkLst>
        </pc:spChg>
      </pc:sldChg>
      <pc:sldChg chg="modSp add del">
        <pc:chgData name="Aurelien Domont" userId="6da7715ce44349b3" providerId="LiveId" clId="{900ED9AA-9E3E-4466-B9E3-DFC8365613D8}" dt="2022-03-17T03:55:52.685" v="257" actId="47"/>
        <pc:sldMkLst>
          <pc:docMk/>
          <pc:sldMk cId="936905113" sldId="2332"/>
        </pc:sldMkLst>
        <pc:spChg chg="mod">
          <ac:chgData name="Aurelien Domont" userId="6da7715ce44349b3" providerId="LiveId" clId="{900ED9AA-9E3E-4466-B9E3-DFC8365613D8}" dt="2022-03-17T03:36:31.348" v="130"/>
          <ac:spMkLst>
            <pc:docMk/>
            <pc:sldMk cId="936905113" sldId="2332"/>
            <ac:spMk id="2" creationId="{406113FD-AA7D-4249-90D7-70AF85BE48E1}"/>
          </ac:spMkLst>
        </pc:spChg>
      </pc:sldChg>
      <pc:sldChg chg="modSp add del mod">
        <pc:chgData name="Aurelien Domont" userId="6da7715ce44349b3" providerId="LiveId" clId="{900ED9AA-9E3E-4466-B9E3-DFC8365613D8}" dt="2022-03-17T04:27:57.718" v="541" actId="47"/>
        <pc:sldMkLst>
          <pc:docMk/>
          <pc:sldMk cId="3129624522" sldId="2334"/>
        </pc:sldMkLst>
        <pc:spChg chg="mod">
          <ac:chgData name="Aurelien Domont" userId="6da7715ce44349b3" providerId="LiveId" clId="{900ED9AA-9E3E-4466-B9E3-DFC8365613D8}" dt="2022-03-17T03:36:31.348" v="130"/>
          <ac:spMkLst>
            <pc:docMk/>
            <pc:sldMk cId="3129624522" sldId="2334"/>
            <ac:spMk id="2" creationId="{406113FD-AA7D-4249-90D7-70AF85BE48E1}"/>
          </ac:spMkLst>
        </pc:spChg>
        <pc:spChg chg="mod">
          <ac:chgData name="Aurelien Domont" userId="6da7715ce44349b3" providerId="LiveId" clId="{900ED9AA-9E3E-4466-B9E3-DFC8365613D8}" dt="2022-03-17T03:36:31.348" v="130"/>
          <ac:spMkLst>
            <pc:docMk/>
            <pc:sldMk cId="3129624522" sldId="2334"/>
            <ac:spMk id="9" creationId="{A4C0187A-3E85-4C87-AB6B-7D4F4276FE07}"/>
          </ac:spMkLst>
        </pc:spChg>
        <pc:spChg chg="mod">
          <ac:chgData name="Aurelien Domont" userId="6da7715ce44349b3" providerId="LiveId" clId="{900ED9AA-9E3E-4466-B9E3-DFC8365613D8}" dt="2022-03-17T04:25:48.310" v="511" actId="20577"/>
          <ac:spMkLst>
            <pc:docMk/>
            <pc:sldMk cId="3129624522" sldId="2334"/>
            <ac:spMk id="33" creationId="{4D422577-8A0F-450C-8F7C-31DA343B1E85}"/>
          </ac:spMkLst>
        </pc:spChg>
      </pc:sldChg>
      <pc:sldChg chg="addSp delSp modSp add mod ord">
        <pc:chgData name="Aurelien Domont" userId="6da7715ce44349b3" providerId="LiveId" clId="{900ED9AA-9E3E-4466-B9E3-DFC8365613D8}" dt="2022-03-17T04:54:44.121" v="1627"/>
        <pc:sldMkLst>
          <pc:docMk/>
          <pc:sldMk cId="3206766822" sldId="2337"/>
        </pc:sldMkLst>
        <pc:spChg chg="mod">
          <ac:chgData name="Aurelien Domont" userId="6da7715ce44349b3" providerId="LiveId" clId="{900ED9AA-9E3E-4466-B9E3-DFC8365613D8}" dt="2022-03-17T03:36:31.348" v="130"/>
          <ac:spMkLst>
            <pc:docMk/>
            <pc:sldMk cId="3206766822" sldId="2337"/>
            <ac:spMk id="2" creationId="{7837E1C4-A2D7-4558-A504-36AC8920218D}"/>
          </ac:spMkLst>
        </pc:spChg>
        <pc:spChg chg="add mod">
          <ac:chgData name="Aurelien Domont" userId="6da7715ce44349b3" providerId="LiveId" clId="{900ED9AA-9E3E-4466-B9E3-DFC8365613D8}" dt="2022-03-17T04:54:44.121" v="1627"/>
          <ac:spMkLst>
            <pc:docMk/>
            <pc:sldMk cId="3206766822" sldId="2337"/>
            <ac:spMk id="15" creationId="{38E9AEF6-4009-4E5E-9FAA-2A4E4F9B4B77}"/>
          </ac:spMkLst>
        </pc:spChg>
        <pc:spChg chg="mod">
          <ac:chgData name="Aurelien Domont" userId="6da7715ce44349b3" providerId="LiveId" clId="{900ED9AA-9E3E-4466-B9E3-DFC8365613D8}" dt="2022-03-17T04:52:48.270" v="1618" actId="20577"/>
          <ac:spMkLst>
            <pc:docMk/>
            <pc:sldMk cId="3206766822" sldId="2337"/>
            <ac:spMk id="16" creationId="{6C2BB713-9637-4B9B-938F-E9768876782A}"/>
          </ac:spMkLst>
        </pc:spChg>
        <pc:spChg chg="del">
          <ac:chgData name="Aurelien Domont" userId="6da7715ce44349b3" providerId="LiveId" clId="{900ED9AA-9E3E-4466-B9E3-DFC8365613D8}" dt="2022-03-17T04:54:41.345" v="1625" actId="478"/>
          <ac:spMkLst>
            <pc:docMk/>
            <pc:sldMk cId="3206766822" sldId="2337"/>
            <ac:spMk id="17" creationId="{D7CB83BD-BA5C-429A-B579-008A442C4480}"/>
          </ac:spMkLst>
        </pc:spChg>
        <pc:spChg chg="del mod">
          <ac:chgData name="Aurelien Domont" userId="6da7715ce44349b3" providerId="LiveId" clId="{900ED9AA-9E3E-4466-B9E3-DFC8365613D8}" dt="2022-03-17T04:54:43.696" v="1626" actId="478"/>
          <ac:spMkLst>
            <pc:docMk/>
            <pc:sldMk cId="3206766822" sldId="2337"/>
            <ac:spMk id="18" creationId="{6690B5F9-90B9-4DDB-8F95-51D207BE3335}"/>
          </ac:spMkLst>
        </pc:spChg>
        <pc:spChg chg="add mod">
          <ac:chgData name="Aurelien Domont" userId="6da7715ce44349b3" providerId="LiveId" clId="{900ED9AA-9E3E-4466-B9E3-DFC8365613D8}" dt="2022-03-17T04:54:44.121" v="1627"/>
          <ac:spMkLst>
            <pc:docMk/>
            <pc:sldMk cId="3206766822" sldId="2337"/>
            <ac:spMk id="19" creationId="{F770A081-EFAA-427A-8A17-B86A89EBC7F8}"/>
          </ac:spMkLst>
        </pc:spChg>
        <pc:spChg chg="add mod">
          <ac:chgData name="Aurelien Domont" userId="6da7715ce44349b3" providerId="LiveId" clId="{900ED9AA-9E3E-4466-B9E3-DFC8365613D8}" dt="2022-03-17T04:54:44.121" v="1627"/>
          <ac:spMkLst>
            <pc:docMk/>
            <pc:sldMk cId="3206766822" sldId="2337"/>
            <ac:spMk id="20" creationId="{BFE38795-6462-4A87-B366-17E1AB23DAC0}"/>
          </ac:spMkLst>
        </pc:spChg>
        <pc:spChg chg="del">
          <ac:chgData name="Aurelien Domont" userId="6da7715ce44349b3" providerId="LiveId" clId="{900ED9AA-9E3E-4466-B9E3-DFC8365613D8}" dt="2022-03-17T04:54:41.345" v="1625" actId="478"/>
          <ac:spMkLst>
            <pc:docMk/>
            <pc:sldMk cId="3206766822" sldId="2337"/>
            <ac:spMk id="21" creationId="{8887032C-CE4E-4107-8157-6C8608EF9A32}"/>
          </ac:spMkLst>
        </pc:spChg>
        <pc:spChg chg="del">
          <ac:chgData name="Aurelien Domont" userId="6da7715ce44349b3" providerId="LiveId" clId="{900ED9AA-9E3E-4466-B9E3-DFC8365613D8}" dt="2022-03-17T04:54:41.345" v="1625" actId="478"/>
          <ac:spMkLst>
            <pc:docMk/>
            <pc:sldMk cId="3206766822" sldId="2337"/>
            <ac:spMk id="22" creationId="{CC39D5EE-40EF-4CFB-9505-D1EFF3AF3535}"/>
          </ac:spMkLst>
        </pc:spChg>
        <pc:spChg chg="add mod">
          <ac:chgData name="Aurelien Domont" userId="6da7715ce44349b3" providerId="LiveId" clId="{900ED9AA-9E3E-4466-B9E3-DFC8365613D8}" dt="2022-03-17T04:54:44.121" v="1627"/>
          <ac:spMkLst>
            <pc:docMk/>
            <pc:sldMk cId="3206766822" sldId="2337"/>
            <ac:spMk id="23" creationId="{2AD6F4B5-69A0-4580-9176-A84789AA85F2}"/>
          </ac:spMkLst>
        </pc:spChg>
      </pc:sldChg>
      <pc:sldChg chg="modSp add del">
        <pc:chgData name="Aurelien Domont" userId="6da7715ce44349b3" providerId="LiveId" clId="{900ED9AA-9E3E-4466-B9E3-DFC8365613D8}" dt="2022-03-17T04:57:15.758" v="1667" actId="47"/>
        <pc:sldMkLst>
          <pc:docMk/>
          <pc:sldMk cId="1859826929" sldId="2339"/>
        </pc:sldMkLst>
        <pc:spChg chg="mod">
          <ac:chgData name="Aurelien Domont" userId="6da7715ce44349b3" providerId="LiveId" clId="{900ED9AA-9E3E-4466-B9E3-DFC8365613D8}" dt="2022-03-17T03:36:31.348" v="130"/>
          <ac:spMkLst>
            <pc:docMk/>
            <pc:sldMk cId="1859826929" sldId="2339"/>
            <ac:spMk id="2" creationId="{7837E1C4-A2D7-4558-A504-36AC8920218D}"/>
          </ac:spMkLst>
        </pc:spChg>
        <pc:spChg chg="mod">
          <ac:chgData name="Aurelien Domont" userId="6da7715ce44349b3" providerId="LiveId" clId="{900ED9AA-9E3E-4466-B9E3-DFC8365613D8}" dt="2022-03-17T03:36:31.348" v="130"/>
          <ac:spMkLst>
            <pc:docMk/>
            <pc:sldMk cId="1859826929" sldId="2339"/>
            <ac:spMk id="16" creationId="{6C2BB713-9637-4B9B-938F-E9768876782A}"/>
          </ac:spMkLst>
        </pc:spChg>
      </pc:sldChg>
      <pc:sldChg chg="modSp add del">
        <pc:chgData name="Aurelien Domont" userId="6da7715ce44349b3" providerId="LiveId" clId="{900ED9AA-9E3E-4466-B9E3-DFC8365613D8}" dt="2022-03-17T03:39:10.422" v="177" actId="47"/>
        <pc:sldMkLst>
          <pc:docMk/>
          <pc:sldMk cId="265813371" sldId="2340"/>
        </pc:sldMkLst>
        <pc:spChg chg="mod">
          <ac:chgData name="Aurelien Domont" userId="6da7715ce44349b3" providerId="LiveId" clId="{900ED9AA-9E3E-4466-B9E3-DFC8365613D8}" dt="2022-03-17T03:36:31.348" v="130"/>
          <ac:spMkLst>
            <pc:docMk/>
            <pc:sldMk cId="265813371" sldId="2340"/>
            <ac:spMk id="3" creationId="{CE2529A3-BA97-486F-9E02-8DFAAA7D8D38}"/>
          </ac:spMkLst>
        </pc:spChg>
        <pc:spChg chg="mod">
          <ac:chgData name="Aurelien Domont" userId="6da7715ce44349b3" providerId="LiveId" clId="{900ED9AA-9E3E-4466-B9E3-DFC8365613D8}" dt="2022-03-17T03:36:31.348" v="130"/>
          <ac:spMkLst>
            <pc:docMk/>
            <pc:sldMk cId="265813371" sldId="2340"/>
            <ac:spMk id="16" creationId="{6C2BB713-9637-4B9B-938F-E9768876782A}"/>
          </ac:spMkLst>
        </pc:spChg>
      </pc:sldChg>
      <pc:sldChg chg="modSp add mod ord">
        <pc:chgData name="Aurelien Domont" userId="6da7715ce44349b3" providerId="LiveId" clId="{900ED9AA-9E3E-4466-B9E3-DFC8365613D8}" dt="2022-03-17T04:59:20.128" v="1749" actId="20577"/>
        <pc:sldMkLst>
          <pc:docMk/>
          <pc:sldMk cId="1835460928" sldId="2343"/>
        </pc:sldMkLst>
        <pc:spChg chg="mod">
          <ac:chgData name="Aurelien Domont" userId="6da7715ce44349b3" providerId="LiveId" clId="{900ED9AA-9E3E-4466-B9E3-DFC8365613D8}" dt="2022-03-17T03:36:31.348" v="130"/>
          <ac:spMkLst>
            <pc:docMk/>
            <pc:sldMk cId="1835460928" sldId="2343"/>
            <ac:spMk id="2" creationId="{96F69DFC-5251-4AD4-A696-D2EAA298B52B}"/>
          </ac:spMkLst>
        </pc:spChg>
        <pc:spChg chg="mod">
          <ac:chgData name="Aurelien Domont" userId="6da7715ce44349b3" providerId="LiveId" clId="{900ED9AA-9E3E-4466-B9E3-DFC8365613D8}" dt="2022-03-17T04:59:20.128" v="1749" actId="20577"/>
          <ac:spMkLst>
            <pc:docMk/>
            <pc:sldMk cId="1835460928" sldId="2343"/>
            <ac:spMk id="16" creationId="{6C2BB713-9637-4B9B-938F-E9768876782A}"/>
          </ac:spMkLst>
        </pc:spChg>
      </pc:sldChg>
      <pc:sldChg chg="modSp add del">
        <pc:chgData name="Aurelien Domont" userId="6da7715ce44349b3" providerId="LiveId" clId="{900ED9AA-9E3E-4466-B9E3-DFC8365613D8}" dt="2022-03-17T05:01:12.825" v="1750" actId="47"/>
        <pc:sldMkLst>
          <pc:docMk/>
          <pc:sldMk cId="384037932" sldId="2344"/>
        </pc:sldMkLst>
        <pc:spChg chg="mod">
          <ac:chgData name="Aurelien Domont" userId="6da7715ce44349b3" providerId="LiveId" clId="{900ED9AA-9E3E-4466-B9E3-DFC8365613D8}" dt="2022-03-17T03:36:31.348" v="130"/>
          <ac:spMkLst>
            <pc:docMk/>
            <pc:sldMk cId="384037932" sldId="2344"/>
            <ac:spMk id="2" creationId="{96F69DFC-5251-4AD4-A696-D2EAA298B52B}"/>
          </ac:spMkLst>
        </pc:spChg>
        <pc:spChg chg="mod">
          <ac:chgData name="Aurelien Domont" userId="6da7715ce44349b3" providerId="LiveId" clId="{900ED9AA-9E3E-4466-B9E3-DFC8365613D8}" dt="2022-03-17T03:36:31.348" v="130"/>
          <ac:spMkLst>
            <pc:docMk/>
            <pc:sldMk cId="384037932" sldId="2344"/>
            <ac:spMk id="16" creationId="{6C2BB713-9637-4B9B-938F-E9768876782A}"/>
          </ac:spMkLst>
        </pc:spChg>
      </pc:sldChg>
      <pc:sldChg chg="modSp add ord">
        <pc:chgData name="Aurelien Domont" userId="6da7715ce44349b3" providerId="LiveId" clId="{900ED9AA-9E3E-4466-B9E3-DFC8365613D8}" dt="2022-03-17T03:51:54.682" v="224"/>
        <pc:sldMkLst>
          <pc:docMk/>
          <pc:sldMk cId="996013072" sldId="2346"/>
        </pc:sldMkLst>
        <pc:spChg chg="mod">
          <ac:chgData name="Aurelien Domont" userId="6da7715ce44349b3" providerId="LiveId" clId="{900ED9AA-9E3E-4466-B9E3-DFC8365613D8}" dt="2022-03-17T03:36:31.348" v="130"/>
          <ac:spMkLst>
            <pc:docMk/>
            <pc:sldMk cId="996013072" sldId="2346"/>
            <ac:spMk id="2" creationId="{96F69DFC-5251-4AD4-A696-D2EAA298B52B}"/>
          </ac:spMkLst>
        </pc:spChg>
        <pc:spChg chg="mod">
          <ac:chgData name="Aurelien Domont" userId="6da7715ce44349b3" providerId="LiveId" clId="{900ED9AA-9E3E-4466-B9E3-DFC8365613D8}" dt="2022-03-17T03:36:31.348" v="130"/>
          <ac:spMkLst>
            <pc:docMk/>
            <pc:sldMk cId="996013072" sldId="2346"/>
            <ac:spMk id="16" creationId="{6C2BB713-9637-4B9B-938F-E9768876782A}"/>
          </ac:spMkLst>
        </pc:spChg>
      </pc:sldChg>
      <pc:sldChg chg="addSp delSp modSp add mod">
        <pc:chgData name="Aurelien Domont" userId="6da7715ce44349b3" providerId="LiveId" clId="{900ED9AA-9E3E-4466-B9E3-DFC8365613D8}" dt="2022-03-17T03:37:19.356" v="167" actId="207"/>
        <pc:sldMkLst>
          <pc:docMk/>
          <pc:sldMk cId="2872911886" sldId="2348"/>
        </pc:sldMkLst>
        <pc:spChg chg="mod">
          <ac:chgData name="Aurelien Domont" userId="6da7715ce44349b3" providerId="LiveId" clId="{900ED9AA-9E3E-4466-B9E3-DFC8365613D8}" dt="2022-03-17T03:36:31.348" v="130"/>
          <ac:spMkLst>
            <pc:docMk/>
            <pc:sldMk cId="2872911886" sldId="2348"/>
            <ac:spMk id="3" creationId="{CE2529A3-BA97-486F-9E02-8DFAAA7D8D38}"/>
          </ac:spMkLst>
        </pc:spChg>
        <pc:spChg chg="add mod">
          <ac:chgData name="Aurelien Domont" userId="6da7715ce44349b3" providerId="LiveId" clId="{900ED9AA-9E3E-4466-B9E3-DFC8365613D8}" dt="2022-03-17T03:37:13.600" v="166" actId="1036"/>
          <ac:spMkLst>
            <pc:docMk/>
            <pc:sldMk cId="2872911886" sldId="2348"/>
            <ac:spMk id="14" creationId="{F4C7F968-1261-4E5F-90D6-3DD87E5D3284}"/>
          </ac:spMkLst>
        </pc:spChg>
        <pc:spChg chg="add mod">
          <ac:chgData name="Aurelien Domont" userId="6da7715ce44349b3" providerId="LiveId" clId="{900ED9AA-9E3E-4466-B9E3-DFC8365613D8}" dt="2022-03-17T03:37:13.600" v="166" actId="1036"/>
          <ac:spMkLst>
            <pc:docMk/>
            <pc:sldMk cId="2872911886" sldId="2348"/>
            <ac:spMk id="15" creationId="{0EDDC19E-5E9E-4730-A724-F214DB8579F1}"/>
          </ac:spMkLst>
        </pc:spChg>
        <pc:spChg chg="mod">
          <ac:chgData name="Aurelien Domont" userId="6da7715ce44349b3" providerId="LiveId" clId="{900ED9AA-9E3E-4466-B9E3-DFC8365613D8}" dt="2022-03-17T03:36:31.348" v="130"/>
          <ac:spMkLst>
            <pc:docMk/>
            <pc:sldMk cId="2872911886" sldId="2348"/>
            <ac:spMk id="16" creationId="{6C2BB713-9637-4B9B-938F-E9768876782A}"/>
          </ac:spMkLst>
        </pc:spChg>
        <pc:spChg chg="add mod">
          <ac:chgData name="Aurelien Domont" userId="6da7715ce44349b3" providerId="LiveId" clId="{900ED9AA-9E3E-4466-B9E3-DFC8365613D8}" dt="2022-03-17T03:37:13.600" v="166" actId="1036"/>
          <ac:spMkLst>
            <pc:docMk/>
            <pc:sldMk cId="2872911886" sldId="2348"/>
            <ac:spMk id="17" creationId="{4E4AD717-266C-478F-8237-E69A86C4CB75}"/>
          </ac:spMkLst>
        </pc:spChg>
        <pc:spChg chg="add mod">
          <ac:chgData name="Aurelien Domont" userId="6da7715ce44349b3" providerId="LiveId" clId="{900ED9AA-9E3E-4466-B9E3-DFC8365613D8}" dt="2022-03-17T03:37:13.600" v="166" actId="1036"/>
          <ac:spMkLst>
            <pc:docMk/>
            <pc:sldMk cId="2872911886" sldId="2348"/>
            <ac:spMk id="18" creationId="{0562D663-AD67-4819-A41B-4C3008605AB5}"/>
          </ac:spMkLst>
        </pc:spChg>
        <pc:spChg chg="del">
          <ac:chgData name="Aurelien Domont" userId="6da7715ce44349b3" providerId="LiveId" clId="{900ED9AA-9E3E-4466-B9E3-DFC8365613D8}" dt="2022-03-17T03:37:08.569" v="132" actId="478"/>
          <ac:spMkLst>
            <pc:docMk/>
            <pc:sldMk cId="2872911886" sldId="2348"/>
            <ac:spMk id="19" creationId="{2733A715-C7B7-45B1-B87D-BEC0E5027DD6}"/>
          </ac:spMkLst>
        </pc:spChg>
        <pc:spChg chg="del">
          <ac:chgData name="Aurelien Domont" userId="6da7715ce44349b3" providerId="LiveId" clId="{900ED9AA-9E3E-4466-B9E3-DFC8365613D8}" dt="2022-03-17T03:37:08.569" v="132" actId="478"/>
          <ac:spMkLst>
            <pc:docMk/>
            <pc:sldMk cId="2872911886" sldId="2348"/>
            <ac:spMk id="20" creationId="{5AEBBB34-28E0-4466-B72A-810C1D1D639C}"/>
          </ac:spMkLst>
        </pc:spChg>
        <pc:spChg chg="del">
          <ac:chgData name="Aurelien Domont" userId="6da7715ce44349b3" providerId="LiveId" clId="{900ED9AA-9E3E-4466-B9E3-DFC8365613D8}" dt="2022-03-17T03:37:08.569" v="132" actId="478"/>
          <ac:spMkLst>
            <pc:docMk/>
            <pc:sldMk cId="2872911886" sldId="2348"/>
            <ac:spMk id="21" creationId="{E5D637C6-BCC6-4E5E-BB5A-5EADEB2AF1FA}"/>
          </ac:spMkLst>
        </pc:spChg>
        <pc:spChg chg="del">
          <ac:chgData name="Aurelien Domont" userId="6da7715ce44349b3" providerId="LiveId" clId="{900ED9AA-9E3E-4466-B9E3-DFC8365613D8}" dt="2022-03-17T03:37:08.569" v="132" actId="478"/>
          <ac:spMkLst>
            <pc:docMk/>
            <pc:sldMk cId="2872911886" sldId="2348"/>
            <ac:spMk id="22" creationId="{70CE2BE1-CC29-44A8-A5F3-BB6ED7A79D11}"/>
          </ac:spMkLst>
        </pc:spChg>
        <pc:picChg chg="add mod">
          <ac:chgData name="Aurelien Domont" userId="6da7715ce44349b3" providerId="LiveId" clId="{900ED9AA-9E3E-4466-B9E3-DFC8365613D8}" dt="2022-03-17T03:37:19.356" v="167" actId="207"/>
          <ac:picMkLst>
            <pc:docMk/>
            <pc:sldMk cId="2872911886" sldId="2348"/>
            <ac:picMk id="23" creationId="{91567E4C-8895-4ADC-B2BB-831870CC4EE6}"/>
          </ac:picMkLst>
        </pc:picChg>
        <pc:picChg chg="add mod">
          <ac:chgData name="Aurelien Domont" userId="6da7715ce44349b3" providerId="LiveId" clId="{900ED9AA-9E3E-4466-B9E3-DFC8365613D8}" dt="2022-03-17T03:37:19.356" v="167" actId="207"/>
          <ac:picMkLst>
            <pc:docMk/>
            <pc:sldMk cId="2872911886" sldId="2348"/>
            <ac:picMk id="24" creationId="{FF341462-60E9-447A-9D10-AB1DC0D46A43}"/>
          </ac:picMkLst>
        </pc:picChg>
        <pc:picChg chg="add mod">
          <ac:chgData name="Aurelien Domont" userId="6da7715ce44349b3" providerId="LiveId" clId="{900ED9AA-9E3E-4466-B9E3-DFC8365613D8}" dt="2022-03-17T03:37:19.356" v="167" actId="207"/>
          <ac:picMkLst>
            <pc:docMk/>
            <pc:sldMk cId="2872911886" sldId="2348"/>
            <ac:picMk id="25" creationId="{E8D431F3-4D66-413A-9B33-4E55CC96CB73}"/>
          </ac:picMkLst>
        </pc:picChg>
        <pc:picChg chg="add mod">
          <ac:chgData name="Aurelien Domont" userId="6da7715ce44349b3" providerId="LiveId" clId="{900ED9AA-9E3E-4466-B9E3-DFC8365613D8}" dt="2022-03-17T03:37:13.600" v="166" actId="1036"/>
          <ac:picMkLst>
            <pc:docMk/>
            <pc:sldMk cId="2872911886" sldId="2348"/>
            <ac:picMk id="26" creationId="{52FF373F-AF56-4DE0-8FC9-CF8EAA38CCA9}"/>
          </ac:picMkLst>
        </pc:picChg>
        <pc:picChg chg="del">
          <ac:chgData name="Aurelien Domont" userId="6da7715ce44349b3" providerId="LiveId" clId="{900ED9AA-9E3E-4466-B9E3-DFC8365613D8}" dt="2022-03-17T03:37:08.569" v="132" actId="478"/>
          <ac:picMkLst>
            <pc:docMk/>
            <pc:sldMk cId="2872911886" sldId="2348"/>
            <ac:picMk id="27" creationId="{D0DDAA69-8D60-4359-BD63-D5AF6334A983}"/>
          </ac:picMkLst>
        </pc:picChg>
        <pc:picChg chg="del">
          <ac:chgData name="Aurelien Domont" userId="6da7715ce44349b3" providerId="LiveId" clId="{900ED9AA-9E3E-4466-B9E3-DFC8365613D8}" dt="2022-03-17T03:37:08.569" v="132" actId="478"/>
          <ac:picMkLst>
            <pc:docMk/>
            <pc:sldMk cId="2872911886" sldId="2348"/>
            <ac:picMk id="28" creationId="{E8062F75-BD40-4CB4-801C-C3ABE4B815DE}"/>
          </ac:picMkLst>
        </pc:picChg>
        <pc:picChg chg="del">
          <ac:chgData name="Aurelien Domont" userId="6da7715ce44349b3" providerId="LiveId" clId="{900ED9AA-9E3E-4466-B9E3-DFC8365613D8}" dt="2022-03-17T03:37:08.569" v="132" actId="478"/>
          <ac:picMkLst>
            <pc:docMk/>
            <pc:sldMk cId="2872911886" sldId="2348"/>
            <ac:picMk id="29" creationId="{DCDC7A05-F81B-48F4-BE00-518F169B07D0}"/>
          </ac:picMkLst>
        </pc:picChg>
        <pc:picChg chg="del">
          <ac:chgData name="Aurelien Domont" userId="6da7715ce44349b3" providerId="LiveId" clId="{900ED9AA-9E3E-4466-B9E3-DFC8365613D8}" dt="2022-03-17T03:37:08.569" v="132" actId="478"/>
          <ac:picMkLst>
            <pc:docMk/>
            <pc:sldMk cId="2872911886" sldId="2348"/>
            <ac:picMk id="30" creationId="{67BDA47E-D0FC-4D75-A22D-B6096F12DB8B}"/>
          </ac:picMkLst>
        </pc:picChg>
      </pc:sldChg>
      <pc:sldChg chg="modSp add del">
        <pc:chgData name="Aurelien Domont" userId="6da7715ce44349b3" providerId="LiveId" clId="{900ED9AA-9E3E-4466-B9E3-DFC8365613D8}" dt="2022-03-17T03:40:09.167" v="192" actId="47"/>
        <pc:sldMkLst>
          <pc:docMk/>
          <pc:sldMk cId="1845502205" sldId="2349"/>
        </pc:sldMkLst>
        <pc:spChg chg="mod">
          <ac:chgData name="Aurelien Domont" userId="6da7715ce44349b3" providerId="LiveId" clId="{900ED9AA-9E3E-4466-B9E3-DFC8365613D8}" dt="2022-03-17T03:36:31.348" v="130"/>
          <ac:spMkLst>
            <pc:docMk/>
            <pc:sldMk cId="1845502205" sldId="2349"/>
            <ac:spMk id="3" creationId="{CE2529A3-BA97-486F-9E02-8DFAAA7D8D38}"/>
          </ac:spMkLst>
        </pc:spChg>
        <pc:spChg chg="mod">
          <ac:chgData name="Aurelien Domont" userId="6da7715ce44349b3" providerId="LiveId" clId="{900ED9AA-9E3E-4466-B9E3-DFC8365613D8}" dt="2022-03-17T03:36:31.348" v="130"/>
          <ac:spMkLst>
            <pc:docMk/>
            <pc:sldMk cId="1845502205" sldId="2349"/>
            <ac:spMk id="16" creationId="{6C2BB713-9637-4B9B-938F-E9768876782A}"/>
          </ac:spMkLst>
        </pc:spChg>
      </pc:sldChg>
      <pc:sldChg chg="modSp add del">
        <pc:chgData name="Aurelien Domont" userId="6da7715ce44349b3" providerId="LiveId" clId="{900ED9AA-9E3E-4466-B9E3-DFC8365613D8}" dt="2022-03-17T03:55:43.598" v="253" actId="47"/>
        <pc:sldMkLst>
          <pc:docMk/>
          <pc:sldMk cId="128230452" sldId="2350"/>
        </pc:sldMkLst>
        <pc:spChg chg="mod">
          <ac:chgData name="Aurelien Domont" userId="6da7715ce44349b3" providerId="LiveId" clId="{900ED9AA-9E3E-4466-B9E3-DFC8365613D8}" dt="2022-03-17T03:36:31.348" v="130"/>
          <ac:spMkLst>
            <pc:docMk/>
            <pc:sldMk cId="128230452" sldId="2350"/>
            <ac:spMk id="3" creationId="{CE2529A3-BA97-486F-9E02-8DFAAA7D8D38}"/>
          </ac:spMkLst>
        </pc:spChg>
        <pc:spChg chg="mod">
          <ac:chgData name="Aurelien Domont" userId="6da7715ce44349b3" providerId="LiveId" clId="{900ED9AA-9E3E-4466-B9E3-DFC8365613D8}" dt="2022-03-17T03:36:31.348" v="130"/>
          <ac:spMkLst>
            <pc:docMk/>
            <pc:sldMk cId="128230452" sldId="2350"/>
            <ac:spMk id="16" creationId="{6C2BB713-9637-4B9B-938F-E9768876782A}"/>
          </ac:spMkLst>
        </pc:spChg>
      </pc:sldChg>
      <pc:sldChg chg="modSp add del">
        <pc:chgData name="Aurelien Domont" userId="6da7715ce44349b3" providerId="LiveId" clId="{900ED9AA-9E3E-4466-B9E3-DFC8365613D8}" dt="2022-03-17T03:56:27.399" v="259" actId="47"/>
        <pc:sldMkLst>
          <pc:docMk/>
          <pc:sldMk cId="147627486" sldId="2351"/>
        </pc:sldMkLst>
        <pc:spChg chg="mod">
          <ac:chgData name="Aurelien Domont" userId="6da7715ce44349b3" providerId="LiveId" clId="{900ED9AA-9E3E-4466-B9E3-DFC8365613D8}" dt="2022-03-17T03:36:31.348" v="130"/>
          <ac:spMkLst>
            <pc:docMk/>
            <pc:sldMk cId="147627486" sldId="2351"/>
            <ac:spMk id="3" creationId="{CE2529A3-BA97-486F-9E02-8DFAAA7D8D38}"/>
          </ac:spMkLst>
        </pc:spChg>
        <pc:spChg chg="mod">
          <ac:chgData name="Aurelien Domont" userId="6da7715ce44349b3" providerId="LiveId" clId="{900ED9AA-9E3E-4466-B9E3-DFC8365613D8}" dt="2022-03-17T03:36:31.348" v="130"/>
          <ac:spMkLst>
            <pc:docMk/>
            <pc:sldMk cId="147627486" sldId="2351"/>
            <ac:spMk id="16" creationId="{6C2BB713-9637-4B9B-938F-E9768876782A}"/>
          </ac:spMkLst>
        </pc:spChg>
      </pc:sldChg>
      <pc:sldChg chg="modSp add del">
        <pc:chgData name="Aurelien Domont" userId="6da7715ce44349b3" providerId="LiveId" clId="{900ED9AA-9E3E-4466-B9E3-DFC8365613D8}" dt="2022-03-17T04:41:39.250" v="856" actId="47"/>
        <pc:sldMkLst>
          <pc:docMk/>
          <pc:sldMk cId="3333388882" sldId="2352"/>
        </pc:sldMkLst>
        <pc:spChg chg="mod">
          <ac:chgData name="Aurelien Domont" userId="6da7715ce44349b3" providerId="LiveId" clId="{900ED9AA-9E3E-4466-B9E3-DFC8365613D8}" dt="2022-03-17T03:36:31.348" v="130"/>
          <ac:spMkLst>
            <pc:docMk/>
            <pc:sldMk cId="3333388882" sldId="2352"/>
            <ac:spMk id="3" creationId="{CE2529A3-BA97-486F-9E02-8DFAAA7D8D38}"/>
          </ac:spMkLst>
        </pc:spChg>
        <pc:spChg chg="mod">
          <ac:chgData name="Aurelien Domont" userId="6da7715ce44349b3" providerId="LiveId" clId="{900ED9AA-9E3E-4466-B9E3-DFC8365613D8}" dt="2022-03-17T03:36:31.348" v="130"/>
          <ac:spMkLst>
            <pc:docMk/>
            <pc:sldMk cId="3333388882" sldId="2352"/>
            <ac:spMk id="16" creationId="{6C2BB713-9637-4B9B-938F-E9768876782A}"/>
          </ac:spMkLst>
        </pc:spChg>
      </pc:sldChg>
      <pc:sldChg chg="modSp add del">
        <pc:chgData name="Aurelien Domont" userId="6da7715ce44349b3" providerId="LiveId" clId="{900ED9AA-9E3E-4466-B9E3-DFC8365613D8}" dt="2022-03-17T04:57:34.136" v="1691" actId="47"/>
        <pc:sldMkLst>
          <pc:docMk/>
          <pc:sldMk cId="1919992121" sldId="2353"/>
        </pc:sldMkLst>
        <pc:spChg chg="mod">
          <ac:chgData name="Aurelien Domont" userId="6da7715ce44349b3" providerId="LiveId" clId="{900ED9AA-9E3E-4466-B9E3-DFC8365613D8}" dt="2022-03-17T03:36:31.348" v="130"/>
          <ac:spMkLst>
            <pc:docMk/>
            <pc:sldMk cId="1919992121" sldId="2353"/>
            <ac:spMk id="3" creationId="{CE2529A3-BA97-486F-9E02-8DFAAA7D8D38}"/>
          </ac:spMkLst>
        </pc:spChg>
        <pc:spChg chg="mod">
          <ac:chgData name="Aurelien Domont" userId="6da7715ce44349b3" providerId="LiveId" clId="{900ED9AA-9E3E-4466-B9E3-DFC8365613D8}" dt="2022-03-17T03:36:31.348" v="130"/>
          <ac:spMkLst>
            <pc:docMk/>
            <pc:sldMk cId="1919992121" sldId="2353"/>
            <ac:spMk id="16" creationId="{6C2BB713-9637-4B9B-938F-E9768876782A}"/>
          </ac:spMkLst>
        </pc:spChg>
      </pc:sldChg>
      <pc:sldChg chg="modSp add del">
        <pc:chgData name="Aurelien Domont" userId="6da7715ce44349b3" providerId="LiveId" clId="{900ED9AA-9E3E-4466-B9E3-DFC8365613D8}" dt="2022-03-17T05:01:12.825" v="1750" actId="47"/>
        <pc:sldMkLst>
          <pc:docMk/>
          <pc:sldMk cId="3467795225" sldId="2354"/>
        </pc:sldMkLst>
        <pc:spChg chg="mod">
          <ac:chgData name="Aurelien Domont" userId="6da7715ce44349b3" providerId="LiveId" clId="{900ED9AA-9E3E-4466-B9E3-DFC8365613D8}" dt="2022-03-17T03:36:31.348" v="130"/>
          <ac:spMkLst>
            <pc:docMk/>
            <pc:sldMk cId="3467795225" sldId="2354"/>
            <ac:spMk id="3" creationId="{CE2529A3-BA97-486F-9E02-8DFAAA7D8D38}"/>
          </ac:spMkLst>
        </pc:spChg>
        <pc:spChg chg="mod">
          <ac:chgData name="Aurelien Domont" userId="6da7715ce44349b3" providerId="LiveId" clId="{900ED9AA-9E3E-4466-B9E3-DFC8365613D8}" dt="2022-03-17T03:36:31.348" v="130"/>
          <ac:spMkLst>
            <pc:docMk/>
            <pc:sldMk cId="3467795225" sldId="2354"/>
            <ac:spMk id="16" creationId="{6C2BB713-9637-4B9B-938F-E9768876782A}"/>
          </ac:spMkLst>
        </pc:spChg>
      </pc:sldChg>
      <pc:sldChg chg="modSp add del">
        <pc:chgData name="Aurelien Domont" userId="6da7715ce44349b3" providerId="LiveId" clId="{900ED9AA-9E3E-4466-B9E3-DFC8365613D8}" dt="2022-03-17T05:01:15.677" v="1751" actId="47"/>
        <pc:sldMkLst>
          <pc:docMk/>
          <pc:sldMk cId="3671332780" sldId="2355"/>
        </pc:sldMkLst>
        <pc:spChg chg="mod">
          <ac:chgData name="Aurelien Domont" userId="6da7715ce44349b3" providerId="LiveId" clId="{900ED9AA-9E3E-4466-B9E3-DFC8365613D8}" dt="2022-03-17T03:36:31.348" v="130"/>
          <ac:spMkLst>
            <pc:docMk/>
            <pc:sldMk cId="3671332780" sldId="2355"/>
            <ac:spMk id="3" creationId="{CE2529A3-BA97-486F-9E02-8DFAAA7D8D38}"/>
          </ac:spMkLst>
        </pc:spChg>
        <pc:spChg chg="mod">
          <ac:chgData name="Aurelien Domont" userId="6da7715ce44349b3" providerId="LiveId" clId="{900ED9AA-9E3E-4466-B9E3-DFC8365613D8}" dt="2022-03-17T03:36:31.348" v="130"/>
          <ac:spMkLst>
            <pc:docMk/>
            <pc:sldMk cId="3671332780" sldId="2355"/>
            <ac:spMk id="16" creationId="{6C2BB713-9637-4B9B-938F-E9768876782A}"/>
          </ac:spMkLst>
        </pc:spChg>
      </pc:sldChg>
      <pc:sldChg chg="modSp add del">
        <pc:chgData name="Aurelien Domont" userId="6da7715ce44349b3" providerId="LiveId" clId="{900ED9AA-9E3E-4466-B9E3-DFC8365613D8}" dt="2022-03-17T05:29:12.543" v="2081" actId="47"/>
        <pc:sldMkLst>
          <pc:docMk/>
          <pc:sldMk cId="3904547461" sldId="2356"/>
        </pc:sldMkLst>
        <pc:spChg chg="mod">
          <ac:chgData name="Aurelien Domont" userId="6da7715ce44349b3" providerId="LiveId" clId="{900ED9AA-9E3E-4466-B9E3-DFC8365613D8}" dt="2022-03-17T03:36:31.348" v="130"/>
          <ac:spMkLst>
            <pc:docMk/>
            <pc:sldMk cId="3904547461" sldId="2356"/>
            <ac:spMk id="3" creationId="{CE2529A3-BA97-486F-9E02-8DFAAA7D8D38}"/>
          </ac:spMkLst>
        </pc:spChg>
        <pc:spChg chg="mod">
          <ac:chgData name="Aurelien Domont" userId="6da7715ce44349b3" providerId="LiveId" clId="{900ED9AA-9E3E-4466-B9E3-DFC8365613D8}" dt="2022-03-17T03:36:31.348" v="130"/>
          <ac:spMkLst>
            <pc:docMk/>
            <pc:sldMk cId="3904547461" sldId="2356"/>
            <ac:spMk id="16" creationId="{6C2BB713-9637-4B9B-938F-E9768876782A}"/>
          </ac:spMkLst>
        </pc:spChg>
      </pc:sldChg>
      <pc:sldChg chg="modSp add del">
        <pc:chgData name="Aurelien Domont" userId="6da7715ce44349b3" providerId="LiveId" clId="{900ED9AA-9E3E-4466-B9E3-DFC8365613D8}" dt="2022-03-17T05:37:52.741" v="2177" actId="47"/>
        <pc:sldMkLst>
          <pc:docMk/>
          <pc:sldMk cId="4262398931" sldId="2357"/>
        </pc:sldMkLst>
        <pc:spChg chg="mod">
          <ac:chgData name="Aurelien Domont" userId="6da7715ce44349b3" providerId="LiveId" clId="{900ED9AA-9E3E-4466-B9E3-DFC8365613D8}" dt="2022-03-17T03:36:31.348" v="130"/>
          <ac:spMkLst>
            <pc:docMk/>
            <pc:sldMk cId="4262398931" sldId="2357"/>
            <ac:spMk id="3" creationId="{CE2529A3-BA97-486F-9E02-8DFAAA7D8D38}"/>
          </ac:spMkLst>
        </pc:spChg>
        <pc:spChg chg="mod">
          <ac:chgData name="Aurelien Domont" userId="6da7715ce44349b3" providerId="LiveId" clId="{900ED9AA-9E3E-4466-B9E3-DFC8365613D8}" dt="2022-03-17T03:36:31.348" v="130"/>
          <ac:spMkLst>
            <pc:docMk/>
            <pc:sldMk cId="4262398931" sldId="2357"/>
            <ac:spMk id="16" creationId="{6C2BB713-9637-4B9B-938F-E9768876782A}"/>
          </ac:spMkLst>
        </pc:spChg>
      </pc:sldChg>
      <pc:sldChg chg="modSp add del">
        <pc:chgData name="Aurelien Domont" userId="6da7715ce44349b3" providerId="LiveId" clId="{900ED9AA-9E3E-4466-B9E3-DFC8365613D8}" dt="2022-03-17T05:07:51.503" v="1837" actId="47"/>
        <pc:sldMkLst>
          <pc:docMk/>
          <pc:sldMk cId="244230900" sldId="2358"/>
        </pc:sldMkLst>
        <pc:spChg chg="mod">
          <ac:chgData name="Aurelien Domont" userId="6da7715ce44349b3" providerId="LiveId" clId="{900ED9AA-9E3E-4466-B9E3-DFC8365613D8}" dt="2022-03-17T03:36:31.348" v="130"/>
          <ac:spMkLst>
            <pc:docMk/>
            <pc:sldMk cId="244230900" sldId="2358"/>
            <ac:spMk id="3" creationId="{CE2529A3-BA97-486F-9E02-8DFAAA7D8D38}"/>
          </ac:spMkLst>
        </pc:spChg>
        <pc:spChg chg="mod">
          <ac:chgData name="Aurelien Domont" userId="6da7715ce44349b3" providerId="LiveId" clId="{900ED9AA-9E3E-4466-B9E3-DFC8365613D8}" dt="2022-03-17T03:36:31.348" v="130"/>
          <ac:spMkLst>
            <pc:docMk/>
            <pc:sldMk cId="244230900" sldId="2358"/>
            <ac:spMk id="16" creationId="{6C2BB713-9637-4B9B-938F-E9768876782A}"/>
          </ac:spMkLst>
        </pc:spChg>
      </pc:sldChg>
      <pc:sldChg chg="modSp add mod ord">
        <pc:chgData name="Aurelien Domont" userId="6da7715ce44349b3" providerId="LiveId" clId="{900ED9AA-9E3E-4466-B9E3-DFC8365613D8}" dt="2022-03-17T05:13:06.312" v="1854"/>
        <pc:sldMkLst>
          <pc:docMk/>
          <pc:sldMk cId="2029122538" sldId="2359"/>
        </pc:sldMkLst>
        <pc:spChg chg="mod">
          <ac:chgData name="Aurelien Domont" userId="6da7715ce44349b3" providerId="LiveId" clId="{900ED9AA-9E3E-4466-B9E3-DFC8365613D8}" dt="2022-03-17T03:36:31.348" v="130"/>
          <ac:spMkLst>
            <pc:docMk/>
            <pc:sldMk cId="2029122538" sldId="2359"/>
            <ac:spMk id="3" creationId="{CE2529A3-BA97-486F-9E02-8DFAAA7D8D38}"/>
          </ac:spMkLst>
        </pc:spChg>
        <pc:spChg chg="mod">
          <ac:chgData name="Aurelien Domont" userId="6da7715ce44349b3" providerId="LiveId" clId="{900ED9AA-9E3E-4466-B9E3-DFC8365613D8}" dt="2022-03-17T05:12:29.615" v="1851" actId="20577"/>
          <ac:spMkLst>
            <pc:docMk/>
            <pc:sldMk cId="2029122538" sldId="2359"/>
            <ac:spMk id="6" creationId="{73F8416A-AC64-451F-8B00-C47D484A1B81}"/>
          </ac:spMkLst>
        </pc:spChg>
        <pc:spChg chg="mod">
          <ac:chgData name="Aurelien Domont" userId="6da7715ce44349b3" providerId="LiveId" clId="{900ED9AA-9E3E-4466-B9E3-DFC8365613D8}" dt="2022-03-17T05:11:38.739" v="1840" actId="20577"/>
          <ac:spMkLst>
            <pc:docMk/>
            <pc:sldMk cId="2029122538" sldId="2359"/>
            <ac:spMk id="16" creationId="{6C2BB713-9637-4B9B-938F-E9768876782A}"/>
          </ac:spMkLst>
        </pc:spChg>
      </pc:sldChg>
      <pc:sldChg chg="modSp add del">
        <pc:chgData name="Aurelien Domont" userId="6da7715ce44349b3" providerId="LiveId" clId="{900ED9AA-9E3E-4466-B9E3-DFC8365613D8}" dt="2022-03-17T05:29:06.627" v="2079" actId="47"/>
        <pc:sldMkLst>
          <pc:docMk/>
          <pc:sldMk cId="1682140889" sldId="2360"/>
        </pc:sldMkLst>
        <pc:spChg chg="mod">
          <ac:chgData name="Aurelien Domont" userId="6da7715ce44349b3" providerId="LiveId" clId="{900ED9AA-9E3E-4466-B9E3-DFC8365613D8}" dt="2022-03-17T03:36:31.348" v="130"/>
          <ac:spMkLst>
            <pc:docMk/>
            <pc:sldMk cId="1682140889" sldId="2360"/>
            <ac:spMk id="3" creationId="{CE2529A3-BA97-486F-9E02-8DFAAA7D8D38}"/>
          </ac:spMkLst>
        </pc:spChg>
        <pc:spChg chg="mod">
          <ac:chgData name="Aurelien Domont" userId="6da7715ce44349b3" providerId="LiveId" clId="{900ED9AA-9E3E-4466-B9E3-DFC8365613D8}" dt="2022-03-17T03:36:31.348" v="130"/>
          <ac:spMkLst>
            <pc:docMk/>
            <pc:sldMk cId="1682140889" sldId="2360"/>
            <ac:spMk id="16" creationId="{6C2BB713-9637-4B9B-938F-E9768876782A}"/>
          </ac:spMkLst>
        </pc:spChg>
      </pc:sldChg>
      <pc:sldChg chg="modSp add del">
        <pc:chgData name="Aurelien Domont" userId="6da7715ce44349b3" providerId="LiveId" clId="{900ED9AA-9E3E-4466-B9E3-DFC8365613D8}" dt="2022-03-17T05:29:07.760" v="2080" actId="47"/>
        <pc:sldMkLst>
          <pc:docMk/>
          <pc:sldMk cId="407281055" sldId="2361"/>
        </pc:sldMkLst>
        <pc:spChg chg="mod">
          <ac:chgData name="Aurelien Domont" userId="6da7715ce44349b3" providerId="LiveId" clId="{900ED9AA-9E3E-4466-B9E3-DFC8365613D8}" dt="2022-03-17T03:36:31.348" v="130"/>
          <ac:spMkLst>
            <pc:docMk/>
            <pc:sldMk cId="407281055" sldId="2361"/>
            <ac:spMk id="3" creationId="{CE2529A3-BA97-486F-9E02-8DFAAA7D8D38}"/>
          </ac:spMkLst>
        </pc:spChg>
        <pc:spChg chg="mod">
          <ac:chgData name="Aurelien Domont" userId="6da7715ce44349b3" providerId="LiveId" clId="{900ED9AA-9E3E-4466-B9E3-DFC8365613D8}" dt="2022-03-17T03:36:31.348" v="130"/>
          <ac:spMkLst>
            <pc:docMk/>
            <pc:sldMk cId="407281055" sldId="2361"/>
            <ac:spMk id="16" creationId="{6C2BB713-9637-4B9B-938F-E9768876782A}"/>
          </ac:spMkLst>
        </pc:spChg>
      </pc:sldChg>
      <pc:sldChg chg="modSp add del">
        <pc:chgData name="Aurelien Domont" userId="6da7715ce44349b3" providerId="LiveId" clId="{900ED9AA-9E3E-4466-B9E3-DFC8365613D8}" dt="2022-03-17T05:37:56.848" v="2178" actId="47"/>
        <pc:sldMkLst>
          <pc:docMk/>
          <pc:sldMk cId="3062356868" sldId="2362"/>
        </pc:sldMkLst>
        <pc:spChg chg="mod">
          <ac:chgData name="Aurelien Domont" userId="6da7715ce44349b3" providerId="LiveId" clId="{900ED9AA-9E3E-4466-B9E3-DFC8365613D8}" dt="2022-03-17T03:36:31.348" v="130"/>
          <ac:spMkLst>
            <pc:docMk/>
            <pc:sldMk cId="3062356868" sldId="2362"/>
            <ac:spMk id="3" creationId="{CE2529A3-BA97-486F-9E02-8DFAAA7D8D38}"/>
          </ac:spMkLst>
        </pc:spChg>
        <pc:spChg chg="mod">
          <ac:chgData name="Aurelien Domont" userId="6da7715ce44349b3" providerId="LiveId" clId="{900ED9AA-9E3E-4466-B9E3-DFC8365613D8}" dt="2022-03-17T03:36:31.348" v="130"/>
          <ac:spMkLst>
            <pc:docMk/>
            <pc:sldMk cId="3062356868" sldId="2362"/>
            <ac:spMk id="16" creationId="{6C2BB713-9637-4B9B-938F-E9768876782A}"/>
          </ac:spMkLst>
        </pc:spChg>
      </pc:sldChg>
      <pc:sldChg chg="delSp modSp add del mod">
        <pc:chgData name="Aurelien Domont" userId="6da7715ce44349b3" providerId="LiveId" clId="{900ED9AA-9E3E-4466-B9E3-DFC8365613D8}" dt="2022-03-17T05:37:39.612" v="2172" actId="47"/>
        <pc:sldMkLst>
          <pc:docMk/>
          <pc:sldMk cId="2733897967" sldId="2363"/>
        </pc:sldMkLst>
        <pc:spChg chg="mod">
          <ac:chgData name="Aurelien Domont" userId="6da7715ce44349b3" providerId="LiveId" clId="{900ED9AA-9E3E-4466-B9E3-DFC8365613D8}" dt="2022-03-17T03:36:31.348" v="130"/>
          <ac:spMkLst>
            <pc:docMk/>
            <pc:sldMk cId="2733897967" sldId="2363"/>
            <ac:spMk id="3" creationId="{CE2529A3-BA97-486F-9E02-8DFAAA7D8D38}"/>
          </ac:spMkLst>
        </pc:spChg>
        <pc:spChg chg="del">
          <ac:chgData name="Aurelien Domont" userId="6da7715ce44349b3" providerId="LiveId" clId="{900ED9AA-9E3E-4466-B9E3-DFC8365613D8}" dt="2022-03-17T05:37:05.352" v="2161" actId="478"/>
          <ac:spMkLst>
            <pc:docMk/>
            <pc:sldMk cId="2733897967" sldId="2363"/>
            <ac:spMk id="8" creationId="{AACC707B-7DF4-4BD3-8C2B-1CB9E338575A}"/>
          </ac:spMkLst>
        </pc:spChg>
        <pc:spChg chg="del">
          <ac:chgData name="Aurelien Domont" userId="6da7715ce44349b3" providerId="LiveId" clId="{900ED9AA-9E3E-4466-B9E3-DFC8365613D8}" dt="2022-03-17T05:37:05.352" v="2161" actId="478"/>
          <ac:spMkLst>
            <pc:docMk/>
            <pc:sldMk cId="2733897967" sldId="2363"/>
            <ac:spMk id="10" creationId="{F58E5573-4B43-45C3-B54E-7F40AC706F25}"/>
          </ac:spMkLst>
        </pc:spChg>
        <pc:spChg chg="mod">
          <ac:chgData name="Aurelien Domont" userId="6da7715ce44349b3" providerId="LiveId" clId="{900ED9AA-9E3E-4466-B9E3-DFC8365613D8}" dt="2022-03-17T05:30:04.929" v="2100"/>
          <ac:spMkLst>
            <pc:docMk/>
            <pc:sldMk cId="2733897967" sldId="2363"/>
            <ac:spMk id="16" creationId="{6C2BB713-9637-4B9B-938F-E9768876782A}"/>
          </ac:spMkLst>
        </pc:spChg>
      </pc:sldChg>
      <pc:sldChg chg="addSp modSp add del mod">
        <pc:chgData name="Aurelien Domont" userId="6da7715ce44349b3" providerId="LiveId" clId="{900ED9AA-9E3E-4466-B9E3-DFC8365613D8}" dt="2022-03-17T05:51:43.043" v="2611" actId="47"/>
        <pc:sldMkLst>
          <pc:docMk/>
          <pc:sldMk cId="4188618523" sldId="2364"/>
        </pc:sldMkLst>
        <pc:spChg chg="mod">
          <ac:chgData name="Aurelien Domont" userId="6da7715ce44349b3" providerId="LiveId" clId="{900ED9AA-9E3E-4466-B9E3-DFC8365613D8}" dt="2022-03-17T03:36:31.348" v="130"/>
          <ac:spMkLst>
            <pc:docMk/>
            <pc:sldMk cId="4188618523" sldId="2364"/>
            <ac:spMk id="2" creationId="{33B7D08D-8A81-4B37-A493-66D238A31F7F}"/>
          </ac:spMkLst>
        </pc:spChg>
        <pc:spChg chg="mod">
          <ac:chgData name="Aurelien Domont" userId="6da7715ce44349b3" providerId="LiveId" clId="{900ED9AA-9E3E-4466-B9E3-DFC8365613D8}" dt="2022-03-17T03:36:31.348" v="130"/>
          <ac:spMkLst>
            <pc:docMk/>
            <pc:sldMk cId="4188618523" sldId="2364"/>
            <ac:spMk id="3" creationId="{0904B9C0-08C4-4AFF-BA7F-ABC59310733A}"/>
          </ac:spMkLst>
        </pc:spChg>
        <pc:spChg chg="mod">
          <ac:chgData name="Aurelien Domont" userId="6da7715ce44349b3" providerId="LiveId" clId="{900ED9AA-9E3E-4466-B9E3-DFC8365613D8}" dt="2022-03-17T03:36:31.348" v="130"/>
          <ac:spMkLst>
            <pc:docMk/>
            <pc:sldMk cId="4188618523" sldId="2364"/>
            <ac:spMk id="4" creationId="{F7D74AF6-A633-4787-B38D-03E655D54587}"/>
          </ac:spMkLst>
        </pc:spChg>
        <pc:spChg chg="mod">
          <ac:chgData name="Aurelien Domont" userId="6da7715ce44349b3" providerId="LiveId" clId="{900ED9AA-9E3E-4466-B9E3-DFC8365613D8}" dt="2022-03-17T03:36:31.348" v="130"/>
          <ac:spMkLst>
            <pc:docMk/>
            <pc:sldMk cId="4188618523" sldId="2364"/>
            <ac:spMk id="5" creationId="{9926C631-127D-4198-B961-143BC33BBF7B}"/>
          </ac:spMkLst>
        </pc:spChg>
        <pc:spChg chg="mod">
          <ac:chgData name="Aurelien Domont" userId="6da7715ce44349b3" providerId="LiveId" clId="{900ED9AA-9E3E-4466-B9E3-DFC8365613D8}" dt="2022-03-17T03:36:31.348" v="130"/>
          <ac:spMkLst>
            <pc:docMk/>
            <pc:sldMk cId="4188618523" sldId="2364"/>
            <ac:spMk id="6" creationId="{C47CA6F3-8640-4F2B-8F33-97479D2A5B60}"/>
          </ac:spMkLst>
        </pc:spChg>
        <pc:spChg chg="mod">
          <ac:chgData name="Aurelien Domont" userId="6da7715ce44349b3" providerId="LiveId" clId="{900ED9AA-9E3E-4466-B9E3-DFC8365613D8}" dt="2022-03-17T03:36:31.348" v="130"/>
          <ac:spMkLst>
            <pc:docMk/>
            <pc:sldMk cId="4188618523" sldId="2364"/>
            <ac:spMk id="7" creationId="{B135FDB9-E5CD-468B-BB9A-1D11A808DA5B}"/>
          </ac:spMkLst>
        </pc:spChg>
        <pc:spChg chg="add mod">
          <ac:chgData name="Aurelien Domont" userId="6da7715ce44349b3" providerId="LiveId" clId="{900ED9AA-9E3E-4466-B9E3-DFC8365613D8}" dt="2022-03-17T03:28:33.709" v="10" actId="207"/>
          <ac:spMkLst>
            <pc:docMk/>
            <pc:sldMk cId="4188618523" sldId="2364"/>
            <ac:spMk id="8" creationId="{7985BFEE-8C5F-4CAB-917B-0EEDFC0CFD1C}"/>
          </ac:spMkLst>
        </pc:spChg>
      </pc:sldChg>
      <pc:sldChg chg="modSp add mod ord">
        <pc:chgData name="Aurelien Domont" userId="6da7715ce44349b3" providerId="LiveId" clId="{900ED9AA-9E3E-4466-B9E3-DFC8365613D8}" dt="2022-03-17T05:45:45.207" v="2439" actId="20577"/>
        <pc:sldMkLst>
          <pc:docMk/>
          <pc:sldMk cId="654898064" sldId="2365"/>
        </pc:sldMkLst>
        <pc:spChg chg="mod">
          <ac:chgData name="Aurelien Domont" userId="6da7715ce44349b3" providerId="LiveId" clId="{900ED9AA-9E3E-4466-B9E3-DFC8365613D8}" dt="2022-03-17T03:36:31.348" v="130"/>
          <ac:spMkLst>
            <pc:docMk/>
            <pc:sldMk cId="654898064" sldId="2365"/>
            <ac:spMk id="3" creationId="{CE2529A3-BA97-486F-9E02-8DFAAA7D8D38}"/>
          </ac:spMkLst>
        </pc:spChg>
        <pc:spChg chg="mod">
          <ac:chgData name="Aurelien Domont" userId="6da7715ce44349b3" providerId="LiveId" clId="{900ED9AA-9E3E-4466-B9E3-DFC8365613D8}" dt="2022-03-17T03:30:15.346" v="27"/>
          <ac:spMkLst>
            <pc:docMk/>
            <pc:sldMk cId="654898064" sldId="2365"/>
            <ac:spMk id="6" creationId="{73F8416A-AC64-451F-8B00-C47D484A1B81}"/>
          </ac:spMkLst>
        </pc:spChg>
        <pc:spChg chg="mod">
          <ac:chgData name="Aurelien Domont" userId="6da7715ce44349b3" providerId="LiveId" clId="{900ED9AA-9E3E-4466-B9E3-DFC8365613D8}" dt="2022-03-17T05:45:45.207" v="2439" actId="20577"/>
          <ac:spMkLst>
            <pc:docMk/>
            <pc:sldMk cId="654898064" sldId="2365"/>
            <ac:spMk id="16" creationId="{6C2BB713-9637-4B9B-938F-E9768876782A}"/>
          </ac:spMkLst>
        </pc:spChg>
      </pc:sldChg>
      <pc:sldChg chg="modSp add del">
        <pc:chgData name="Aurelien Domont" userId="6da7715ce44349b3" providerId="LiveId" clId="{900ED9AA-9E3E-4466-B9E3-DFC8365613D8}" dt="2022-03-17T05:01:12.825" v="1750" actId="47"/>
        <pc:sldMkLst>
          <pc:docMk/>
          <pc:sldMk cId="815182536" sldId="2366"/>
        </pc:sldMkLst>
        <pc:spChg chg="mod">
          <ac:chgData name="Aurelien Domont" userId="6da7715ce44349b3" providerId="LiveId" clId="{900ED9AA-9E3E-4466-B9E3-DFC8365613D8}" dt="2022-03-17T03:36:31.348" v="130"/>
          <ac:spMkLst>
            <pc:docMk/>
            <pc:sldMk cId="815182536" sldId="2366"/>
            <ac:spMk id="3" creationId="{CE2529A3-BA97-486F-9E02-8DFAAA7D8D38}"/>
          </ac:spMkLst>
        </pc:spChg>
        <pc:spChg chg="mod">
          <ac:chgData name="Aurelien Domont" userId="6da7715ce44349b3" providerId="LiveId" clId="{900ED9AA-9E3E-4466-B9E3-DFC8365613D8}" dt="2022-03-17T03:36:31.348" v="130"/>
          <ac:spMkLst>
            <pc:docMk/>
            <pc:sldMk cId="815182536" sldId="2366"/>
            <ac:spMk id="16" creationId="{6C2BB713-9637-4B9B-938F-E9768876782A}"/>
          </ac:spMkLst>
        </pc:spChg>
      </pc:sldChg>
      <pc:sldChg chg="modSp add ord">
        <pc:chgData name="Aurelien Domont" userId="6da7715ce44349b3" providerId="LiveId" clId="{900ED9AA-9E3E-4466-B9E3-DFC8365613D8}" dt="2022-03-17T05:49:08.447" v="2541"/>
        <pc:sldMkLst>
          <pc:docMk/>
          <pc:sldMk cId="3491690442" sldId="2367"/>
        </pc:sldMkLst>
        <pc:spChg chg="mod">
          <ac:chgData name="Aurelien Domont" userId="6da7715ce44349b3" providerId="LiveId" clId="{900ED9AA-9E3E-4466-B9E3-DFC8365613D8}" dt="2022-03-17T03:36:31.348" v="130"/>
          <ac:spMkLst>
            <pc:docMk/>
            <pc:sldMk cId="3491690442" sldId="2367"/>
            <ac:spMk id="8" creationId="{3D029769-9B2F-4A51-8446-2206A9A2EF30}"/>
          </ac:spMkLst>
        </pc:spChg>
      </pc:sldChg>
      <pc:sldChg chg="addSp delSp modSp add mod">
        <pc:chgData name="Aurelien Domont" userId="6da7715ce44349b3" providerId="LiveId" clId="{900ED9AA-9E3E-4466-B9E3-DFC8365613D8}" dt="2022-03-22T03:50:23.785" v="3336"/>
        <pc:sldMkLst>
          <pc:docMk/>
          <pc:sldMk cId="283455328" sldId="2368"/>
        </pc:sldMkLst>
        <pc:spChg chg="mod">
          <ac:chgData name="Aurelien Domont" userId="6da7715ce44349b3" providerId="LiveId" clId="{900ED9AA-9E3E-4466-B9E3-DFC8365613D8}" dt="2022-03-17T03:36:31.348" v="130"/>
          <ac:spMkLst>
            <pc:docMk/>
            <pc:sldMk cId="283455328" sldId="2368"/>
            <ac:spMk id="3" creationId="{CE2529A3-BA97-486F-9E02-8DFAAA7D8D38}"/>
          </ac:spMkLst>
        </pc:spChg>
        <pc:spChg chg="mod">
          <ac:chgData name="Aurelien Domont" userId="6da7715ce44349b3" providerId="LiveId" clId="{900ED9AA-9E3E-4466-B9E3-DFC8365613D8}" dt="2022-03-17T03:36:31.348" v="130"/>
          <ac:spMkLst>
            <pc:docMk/>
            <pc:sldMk cId="283455328" sldId="2368"/>
            <ac:spMk id="16" creationId="{6C2BB713-9637-4B9B-938F-E9768876782A}"/>
          </ac:spMkLst>
        </pc:spChg>
        <pc:spChg chg="add mod">
          <ac:chgData name="Aurelien Domont" userId="6da7715ce44349b3" providerId="LiveId" clId="{900ED9AA-9E3E-4466-B9E3-DFC8365613D8}" dt="2022-03-22T03:33:14.067" v="3158"/>
          <ac:spMkLst>
            <pc:docMk/>
            <pc:sldMk cId="283455328" sldId="2368"/>
            <ac:spMk id="17" creationId="{394677CF-CBF0-462F-AB74-91B63239101D}"/>
          </ac:spMkLst>
        </pc:spChg>
        <pc:spChg chg="add mod">
          <ac:chgData name="Aurelien Domont" userId="6da7715ce44349b3" providerId="LiveId" clId="{900ED9AA-9E3E-4466-B9E3-DFC8365613D8}" dt="2022-03-22T03:33:14.067" v="3158"/>
          <ac:spMkLst>
            <pc:docMk/>
            <pc:sldMk cId="283455328" sldId="2368"/>
            <ac:spMk id="18" creationId="{B258473D-56F0-42CC-9475-DC04AC14F46A}"/>
          </ac:spMkLst>
        </pc:spChg>
        <pc:spChg chg="add mod">
          <ac:chgData name="Aurelien Domont" userId="6da7715ce44349b3" providerId="LiveId" clId="{900ED9AA-9E3E-4466-B9E3-DFC8365613D8}" dt="2022-03-22T03:33:14.067" v="3158"/>
          <ac:spMkLst>
            <pc:docMk/>
            <pc:sldMk cId="283455328" sldId="2368"/>
            <ac:spMk id="19" creationId="{5BF2D039-1B5F-4F0D-B4EE-46304BC15CAC}"/>
          </ac:spMkLst>
        </pc:spChg>
        <pc:spChg chg="add mod">
          <ac:chgData name="Aurelien Domont" userId="6da7715ce44349b3" providerId="LiveId" clId="{900ED9AA-9E3E-4466-B9E3-DFC8365613D8}" dt="2022-03-22T03:33:14.067" v="3158"/>
          <ac:spMkLst>
            <pc:docMk/>
            <pc:sldMk cId="283455328" sldId="2368"/>
            <ac:spMk id="20" creationId="{9C5C8CD0-CBEC-43F8-955A-0A571FDE2511}"/>
          </ac:spMkLst>
        </pc:spChg>
        <pc:spChg chg="del">
          <ac:chgData name="Aurelien Domont" userId="6da7715ce44349b3" providerId="LiveId" clId="{900ED9AA-9E3E-4466-B9E3-DFC8365613D8}" dt="2022-03-17T03:32:52.365" v="127" actId="478"/>
          <ac:spMkLst>
            <pc:docMk/>
            <pc:sldMk cId="283455328" sldId="2368"/>
            <ac:spMk id="21" creationId="{8BC996FB-D7B5-4930-ABB7-68ABA93F7136}"/>
          </ac:spMkLst>
        </pc:spChg>
        <pc:spChg chg="add mod">
          <ac:chgData name="Aurelien Domont" userId="6da7715ce44349b3" providerId="LiveId" clId="{900ED9AA-9E3E-4466-B9E3-DFC8365613D8}" dt="2022-03-22T03:33:14.067" v="3158"/>
          <ac:spMkLst>
            <pc:docMk/>
            <pc:sldMk cId="283455328" sldId="2368"/>
            <ac:spMk id="21" creationId="{EB6D649A-3365-48E7-8F57-71ADBB3999B0}"/>
          </ac:spMkLst>
        </pc:spChg>
        <pc:spChg chg="add mod">
          <ac:chgData name="Aurelien Domont" userId="6da7715ce44349b3" providerId="LiveId" clId="{900ED9AA-9E3E-4466-B9E3-DFC8365613D8}" dt="2022-03-22T03:33:14.067" v="3158"/>
          <ac:spMkLst>
            <pc:docMk/>
            <pc:sldMk cId="283455328" sldId="2368"/>
            <ac:spMk id="22" creationId="{E69BB3F1-6E48-4523-9349-BD5C2169D54A}"/>
          </ac:spMkLst>
        </pc:spChg>
        <pc:spChg chg="add mod">
          <ac:chgData name="Aurelien Domont" userId="6da7715ce44349b3" providerId="LiveId" clId="{900ED9AA-9E3E-4466-B9E3-DFC8365613D8}" dt="2022-03-22T03:33:14.067" v="3158"/>
          <ac:spMkLst>
            <pc:docMk/>
            <pc:sldMk cId="283455328" sldId="2368"/>
            <ac:spMk id="23" creationId="{AD82C29D-5474-40DB-AA84-19A65AA26BE0}"/>
          </ac:spMkLst>
        </pc:spChg>
        <pc:spChg chg="del">
          <ac:chgData name="Aurelien Domont" userId="6da7715ce44349b3" providerId="LiveId" clId="{900ED9AA-9E3E-4466-B9E3-DFC8365613D8}" dt="2022-03-17T03:32:52.365" v="127" actId="478"/>
          <ac:spMkLst>
            <pc:docMk/>
            <pc:sldMk cId="283455328" sldId="2368"/>
            <ac:spMk id="23" creationId="{BFB33608-CE3B-4791-99C7-35304CF56E59}"/>
          </ac:spMkLst>
        </pc:spChg>
        <pc:spChg chg="add mod">
          <ac:chgData name="Aurelien Domont" userId="6da7715ce44349b3" providerId="LiveId" clId="{900ED9AA-9E3E-4466-B9E3-DFC8365613D8}" dt="2022-03-22T03:50:23.785" v="3336"/>
          <ac:spMkLst>
            <pc:docMk/>
            <pc:sldMk cId="283455328" sldId="2368"/>
            <ac:spMk id="24" creationId="{E2E2B69D-D4CD-4D18-8AD9-709B42984A2C}"/>
          </ac:spMkLst>
        </pc:spChg>
        <pc:spChg chg="del">
          <ac:chgData name="Aurelien Domont" userId="6da7715ce44349b3" providerId="LiveId" clId="{900ED9AA-9E3E-4466-B9E3-DFC8365613D8}" dt="2022-03-17T03:32:52.365" v="127" actId="478"/>
          <ac:spMkLst>
            <pc:docMk/>
            <pc:sldMk cId="283455328" sldId="2368"/>
            <ac:spMk id="25" creationId="{71B7B549-6CB4-4B53-9909-2456A34F2FAC}"/>
          </ac:spMkLst>
        </pc:spChg>
        <pc:spChg chg="del">
          <ac:chgData name="Aurelien Domont" userId="6da7715ce44349b3" providerId="LiveId" clId="{900ED9AA-9E3E-4466-B9E3-DFC8365613D8}" dt="2022-03-17T03:32:52.365" v="127" actId="478"/>
          <ac:spMkLst>
            <pc:docMk/>
            <pc:sldMk cId="283455328" sldId="2368"/>
            <ac:spMk id="27" creationId="{7C6A9743-565D-4195-AF09-59F214E23323}"/>
          </ac:spMkLst>
        </pc:spChg>
        <pc:spChg chg="del">
          <ac:chgData name="Aurelien Domont" userId="6da7715ce44349b3" providerId="LiveId" clId="{900ED9AA-9E3E-4466-B9E3-DFC8365613D8}" dt="2022-03-17T03:32:52.365" v="127" actId="478"/>
          <ac:spMkLst>
            <pc:docMk/>
            <pc:sldMk cId="283455328" sldId="2368"/>
            <ac:spMk id="29" creationId="{81158EDA-96AD-44C9-8B93-0308FBC39404}"/>
          </ac:spMkLst>
        </pc:spChg>
        <pc:spChg chg="del">
          <ac:chgData name="Aurelien Domont" userId="6da7715ce44349b3" providerId="LiveId" clId="{900ED9AA-9E3E-4466-B9E3-DFC8365613D8}" dt="2022-03-17T03:32:52.365" v="127" actId="478"/>
          <ac:spMkLst>
            <pc:docMk/>
            <pc:sldMk cId="283455328" sldId="2368"/>
            <ac:spMk id="31" creationId="{CE123E0B-E92C-4AB0-86B3-39A1300243EF}"/>
          </ac:spMkLst>
        </pc:spChg>
        <pc:spChg chg="add del mod">
          <ac:chgData name="Aurelien Domont" userId="6da7715ce44349b3" providerId="LiveId" clId="{900ED9AA-9E3E-4466-B9E3-DFC8365613D8}" dt="2022-03-22T03:33:05.576" v="3157" actId="478"/>
          <ac:spMkLst>
            <pc:docMk/>
            <pc:sldMk cId="283455328" sldId="2368"/>
            <ac:spMk id="32" creationId="{B7D0F8A0-E330-4211-ADF5-BE22F979AFAB}"/>
          </ac:spMkLst>
        </pc:spChg>
        <pc:spChg chg="del">
          <ac:chgData name="Aurelien Domont" userId="6da7715ce44349b3" providerId="LiveId" clId="{900ED9AA-9E3E-4466-B9E3-DFC8365613D8}" dt="2022-03-17T03:32:52.365" v="127" actId="478"/>
          <ac:spMkLst>
            <pc:docMk/>
            <pc:sldMk cId="283455328" sldId="2368"/>
            <ac:spMk id="33" creationId="{6D641CE2-C736-46BE-BEE6-A0DE5CAB1F38}"/>
          </ac:spMkLst>
        </pc:spChg>
        <pc:spChg chg="del">
          <ac:chgData name="Aurelien Domont" userId="6da7715ce44349b3" providerId="LiveId" clId="{900ED9AA-9E3E-4466-B9E3-DFC8365613D8}" dt="2022-03-17T03:32:52.365" v="127" actId="478"/>
          <ac:spMkLst>
            <pc:docMk/>
            <pc:sldMk cId="283455328" sldId="2368"/>
            <ac:spMk id="34" creationId="{FDBD5CF0-EB02-479A-AD2C-A55DF921BB32}"/>
          </ac:spMkLst>
        </pc:spChg>
        <pc:spChg chg="del">
          <ac:chgData name="Aurelien Domont" userId="6da7715ce44349b3" providerId="LiveId" clId="{900ED9AA-9E3E-4466-B9E3-DFC8365613D8}" dt="2022-03-17T03:32:52.365" v="127" actId="478"/>
          <ac:spMkLst>
            <pc:docMk/>
            <pc:sldMk cId="283455328" sldId="2368"/>
            <ac:spMk id="35" creationId="{EB182DE2-9682-4365-87FD-2E8079067A44}"/>
          </ac:spMkLst>
        </pc:spChg>
        <pc:spChg chg="del">
          <ac:chgData name="Aurelien Domont" userId="6da7715ce44349b3" providerId="LiveId" clId="{900ED9AA-9E3E-4466-B9E3-DFC8365613D8}" dt="2022-03-17T03:32:52.365" v="127" actId="478"/>
          <ac:spMkLst>
            <pc:docMk/>
            <pc:sldMk cId="283455328" sldId="2368"/>
            <ac:spMk id="36" creationId="{AAD30E49-2F81-4273-95C3-7F8C1FE208AA}"/>
          </ac:spMkLst>
        </pc:spChg>
        <pc:spChg chg="add del mod">
          <ac:chgData name="Aurelien Domont" userId="6da7715ce44349b3" providerId="LiveId" clId="{900ED9AA-9E3E-4466-B9E3-DFC8365613D8}" dt="2022-03-22T03:33:05.576" v="3157" actId="478"/>
          <ac:spMkLst>
            <pc:docMk/>
            <pc:sldMk cId="283455328" sldId="2368"/>
            <ac:spMk id="37" creationId="{29A4D3E9-CE65-405A-9E50-0056198ECEC2}"/>
          </ac:spMkLst>
        </pc:spChg>
        <pc:spChg chg="del">
          <ac:chgData name="Aurelien Domont" userId="6da7715ce44349b3" providerId="LiveId" clId="{900ED9AA-9E3E-4466-B9E3-DFC8365613D8}" dt="2022-03-17T03:32:52.365" v="127" actId="478"/>
          <ac:spMkLst>
            <pc:docMk/>
            <pc:sldMk cId="283455328" sldId="2368"/>
            <ac:spMk id="39" creationId="{8F34EF84-E47A-4497-81CF-E7E5AC3810B3}"/>
          </ac:spMkLst>
        </pc:spChg>
        <pc:spChg chg="del">
          <ac:chgData name="Aurelien Domont" userId="6da7715ce44349b3" providerId="LiveId" clId="{900ED9AA-9E3E-4466-B9E3-DFC8365613D8}" dt="2022-03-17T03:32:52.365" v="127" actId="478"/>
          <ac:spMkLst>
            <pc:docMk/>
            <pc:sldMk cId="283455328" sldId="2368"/>
            <ac:spMk id="44" creationId="{BCC7B568-60B8-43BB-8B91-83943337DA18}"/>
          </ac:spMkLst>
        </pc:spChg>
        <pc:spChg chg="del">
          <ac:chgData name="Aurelien Domont" userId="6da7715ce44349b3" providerId="LiveId" clId="{900ED9AA-9E3E-4466-B9E3-DFC8365613D8}" dt="2022-03-17T03:32:52.365" v="127" actId="478"/>
          <ac:spMkLst>
            <pc:docMk/>
            <pc:sldMk cId="283455328" sldId="2368"/>
            <ac:spMk id="46" creationId="{78BEE3C0-2448-4B26-97AA-EB99C14CE276}"/>
          </ac:spMkLst>
        </pc:spChg>
        <pc:spChg chg="del">
          <ac:chgData name="Aurelien Domont" userId="6da7715ce44349b3" providerId="LiveId" clId="{900ED9AA-9E3E-4466-B9E3-DFC8365613D8}" dt="2022-03-17T03:32:52.365" v="127" actId="478"/>
          <ac:spMkLst>
            <pc:docMk/>
            <pc:sldMk cId="283455328" sldId="2368"/>
            <ac:spMk id="48" creationId="{AD7B4589-4D15-4265-8E5A-F04B8E84520B}"/>
          </ac:spMkLst>
        </pc:spChg>
        <pc:spChg chg="add del mod">
          <ac:chgData name="Aurelien Domont" userId="6da7715ce44349b3" providerId="LiveId" clId="{900ED9AA-9E3E-4466-B9E3-DFC8365613D8}" dt="2022-03-22T03:33:05.576" v="3157" actId="478"/>
          <ac:spMkLst>
            <pc:docMk/>
            <pc:sldMk cId="283455328" sldId="2368"/>
            <ac:spMk id="49" creationId="{32517CB5-8237-433F-A734-686B497E58F1}"/>
          </ac:spMkLst>
        </pc:spChg>
        <pc:spChg chg="add del mod">
          <ac:chgData name="Aurelien Domont" userId="6da7715ce44349b3" providerId="LiveId" clId="{900ED9AA-9E3E-4466-B9E3-DFC8365613D8}" dt="2022-03-22T03:33:05.576" v="3157" actId="478"/>
          <ac:spMkLst>
            <pc:docMk/>
            <pc:sldMk cId="283455328" sldId="2368"/>
            <ac:spMk id="50" creationId="{D0A379B3-5B1F-4C79-9811-020A3192B99F}"/>
          </ac:spMkLst>
        </pc:spChg>
        <pc:spChg chg="add del mod">
          <ac:chgData name="Aurelien Domont" userId="6da7715ce44349b3" providerId="LiveId" clId="{900ED9AA-9E3E-4466-B9E3-DFC8365613D8}" dt="2022-03-22T03:33:05.576" v="3157" actId="478"/>
          <ac:spMkLst>
            <pc:docMk/>
            <pc:sldMk cId="283455328" sldId="2368"/>
            <ac:spMk id="51" creationId="{445E7C83-4653-45C0-998C-17A3E92B87B3}"/>
          </ac:spMkLst>
        </pc:spChg>
        <pc:spChg chg="add del mod">
          <ac:chgData name="Aurelien Domont" userId="6da7715ce44349b3" providerId="LiveId" clId="{900ED9AA-9E3E-4466-B9E3-DFC8365613D8}" dt="2022-03-22T03:33:05.576" v="3157" actId="478"/>
          <ac:spMkLst>
            <pc:docMk/>
            <pc:sldMk cId="283455328" sldId="2368"/>
            <ac:spMk id="52" creationId="{6E3EF904-C023-4AA2-B972-28EBAF31ACFD}"/>
          </ac:spMkLst>
        </pc:spChg>
        <pc:spChg chg="add del mod">
          <ac:chgData name="Aurelien Domont" userId="6da7715ce44349b3" providerId="LiveId" clId="{900ED9AA-9E3E-4466-B9E3-DFC8365613D8}" dt="2022-03-22T03:33:05.576" v="3157" actId="478"/>
          <ac:spMkLst>
            <pc:docMk/>
            <pc:sldMk cId="283455328" sldId="2368"/>
            <ac:spMk id="53" creationId="{6F3ECA8E-E1E3-4C8C-A787-F94680146627}"/>
          </ac:spMkLst>
        </pc:spChg>
        <pc:spChg chg="add del mod">
          <ac:chgData name="Aurelien Domont" userId="6da7715ce44349b3" providerId="LiveId" clId="{900ED9AA-9E3E-4466-B9E3-DFC8365613D8}" dt="2022-03-22T03:33:05.576" v="3157" actId="478"/>
          <ac:spMkLst>
            <pc:docMk/>
            <pc:sldMk cId="283455328" sldId="2368"/>
            <ac:spMk id="54" creationId="{54D8F386-99CB-404D-B4FB-583162F5DB3A}"/>
          </ac:spMkLst>
        </pc:spChg>
        <pc:picChg chg="add mod">
          <ac:chgData name="Aurelien Domont" userId="6da7715ce44349b3" providerId="LiveId" clId="{900ED9AA-9E3E-4466-B9E3-DFC8365613D8}" dt="2022-03-22T03:33:14.067" v="3158"/>
          <ac:picMkLst>
            <pc:docMk/>
            <pc:sldMk cId="283455328" sldId="2368"/>
            <ac:picMk id="25" creationId="{16D717AD-71E4-4477-91DE-82B04EFA129C}"/>
          </ac:picMkLst>
        </pc:picChg>
        <pc:picChg chg="add mod">
          <ac:chgData name="Aurelien Domont" userId="6da7715ce44349b3" providerId="LiveId" clId="{900ED9AA-9E3E-4466-B9E3-DFC8365613D8}" dt="2022-03-22T03:33:14.067" v="3158"/>
          <ac:picMkLst>
            <pc:docMk/>
            <pc:sldMk cId="283455328" sldId="2368"/>
            <ac:picMk id="26" creationId="{6A8550AB-A183-4CD2-B79C-91F6C34AFE67}"/>
          </ac:picMkLst>
        </pc:picChg>
        <pc:picChg chg="add mod">
          <ac:chgData name="Aurelien Domont" userId="6da7715ce44349b3" providerId="LiveId" clId="{900ED9AA-9E3E-4466-B9E3-DFC8365613D8}" dt="2022-03-22T03:33:14.067" v="3158"/>
          <ac:picMkLst>
            <pc:docMk/>
            <pc:sldMk cId="283455328" sldId="2368"/>
            <ac:picMk id="27" creationId="{4D696E72-532B-4DF4-A044-5854BE89869C}"/>
          </ac:picMkLst>
        </pc:picChg>
        <pc:picChg chg="add mod">
          <ac:chgData name="Aurelien Domont" userId="6da7715ce44349b3" providerId="LiveId" clId="{900ED9AA-9E3E-4466-B9E3-DFC8365613D8}" dt="2022-03-22T03:33:14.067" v="3158"/>
          <ac:picMkLst>
            <pc:docMk/>
            <pc:sldMk cId="283455328" sldId="2368"/>
            <ac:picMk id="28" creationId="{66AB629F-5A1E-483B-8DD0-53D37AAA7DBE}"/>
          </ac:picMkLst>
        </pc:picChg>
        <pc:picChg chg="del">
          <ac:chgData name="Aurelien Domont" userId="6da7715ce44349b3" providerId="LiveId" clId="{900ED9AA-9E3E-4466-B9E3-DFC8365613D8}" dt="2022-03-17T03:32:52.365" v="127" actId="478"/>
          <ac:picMkLst>
            <pc:docMk/>
            <pc:sldMk cId="283455328" sldId="2368"/>
            <ac:picMk id="38" creationId="{1E2D5D96-B1C1-4535-AB55-FC3DC4DB615C}"/>
          </ac:picMkLst>
        </pc:picChg>
        <pc:picChg chg="del">
          <ac:chgData name="Aurelien Domont" userId="6da7715ce44349b3" providerId="LiveId" clId="{900ED9AA-9E3E-4466-B9E3-DFC8365613D8}" dt="2022-03-17T03:32:52.365" v="127" actId="478"/>
          <ac:picMkLst>
            <pc:docMk/>
            <pc:sldMk cId="283455328" sldId="2368"/>
            <ac:picMk id="40" creationId="{96E67F19-9A07-482E-83C2-BAA7C7515FA5}"/>
          </ac:picMkLst>
        </pc:picChg>
        <pc:picChg chg="del">
          <ac:chgData name="Aurelien Domont" userId="6da7715ce44349b3" providerId="LiveId" clId="{900ED9AA-9E3E-4466-B9E3-DFC8365613D8}" dt="2022-03-17T03:32:52.365" v="127" actId="478"/>
          <ac:picMkLst>
            <pc:docMk/>
            <pc:sldMk cId="283455328" sldId="2368"/>
            <ac:picMk id="41" creationId="{BA9E677A-ECF1-46A3-80F7-C9559E244CE3}"/>
          </ac:picMkLst>
        </pc:picChg>
        <pc:picChg chg="del">
          <ac:chgData name="Aurelien Domont" userId="6da7715ce44349b3" providerId="LiveId" clId="{900ED9AA-9E3E-4466-B9E3-DFC8365613D8}" dt="2022-03-17T03:32:52.365" v="127" actId="478"/>
          <ac:picMkLst>
            <pc:docMk/>
            <pc:sldMk cId="283455328" sldId="2368"/>
            <ac:picMk id="42" creationId="{AFA2B1F9-1904-4100-A9E3-A1C8356F1A8A}"/>
          </ac:picMkLst>
        </pc:picChg>
        <pc:picChg chg="del">
          <ac:chgData name="Aurelien Domont" userId="6da7715ce44349b3" providerId="LiveId" clId="{900ED9AA-9E3E-4466-B9E3-DFC8365613D8}" dt="2022-03-17T03:32:52.365" v="127" actId="478"/>
          <ac:picMkLst>
            <pc:docMk/>
            <pc:sldMk cId="283455328" sldId="2368"/>
            <ac:picMk id="43" creationId="{E7DE5E06-800B-46F1-BD58-7A6C11D8CFFF}"/>
          </ac:picMkLst>
        </pc:picChg>
        <pc:picChg chg="del">
          <ac:chgData name="Aurelien Domont" userId="6da7715ce44349b3" providerId="LiveId" clId="{900ED9AA-9E3E-4466-B9E3-DFC8365613D8}" dt="2022-03-17T03:32:52.365" v="127" actId="478"/>
          <ac:picMkLst>
            <pc:docMk/>
            <pc:sldMk cId="283455328" sldId="2368"/>
            <ac:picMk id="45" creationId="{91DDEE50-77B9-47D2-B0A7-81403D1CD715}"/>
          </ac:picMkLst>
        </pc:picChg>
        <pc:picChg chg="del">
          <ac:chgData name="Aurelien Domont" userId="6da7715ce44349b3" providerId="LiveId" clId="{900ED9AA-9E3E-4466-B9E3-DFC8365613D8}" dt="2022-03-17T03:32:52.365" v="127" actId="478"/>
          <ac:picMkLst>
            <pc:docMk/>
            <pc:sldMk cId="283455328" sldId="2368"/>
            <ac:picMk id="47" creationId="{229BA781-9CA5-42EC-B216-C9275A383C46}"/>
          </ac:picMkLst>
        </pc:picChg>
        <pc:picChg chg="add del mod">
          <ac:chgData name="Aurelien Domont" userId="6da7715ce44349b3" providerId="LiveId" clId="{900ED9AA-9E3E-4466-B9E3-DFC8365613D8}" dt="2022-03-22T03:33:05.576" v="3157" actId="478"/>
          <ac:picMkLst>
            <pc:docMk/>
            <pc:sldMk cId="283455328" sldId="2368"/>
            <ac:picMk id="55" creationId="{63583471-7EE4-4EE2-8E38-474B67D5DD64}"/>
          </ac:picMkLst>
        </pc:picChg>
        <pc:picChg chg="add del mod">
          <ac:chgData name="Aurelien Domont" userId="6da7715ce44349b3" providerId="LiveId" clId="{900ED9AA-9E3E-4466-B9E3-DFC8365613D8}" dt="2022-03-22T03:33:05.576" v="3157" actId="478"/>
          <ac:picMkLst>
            <pc:docMk/>
            <pc:sldMk cId="283455328" sldId="2368"/>
            <ac:picMk id="56" creationId="{738E684A-6E64-4569-9512-157EE75BBB1E}"/>
          </ac:picMkLst>
        </pc:picChg>
        <pc:picChg chg="add del mod">
          <ac:chgData name="Aurelien Domont" userId="6da7715ce44349b3" providerId="LiveId" clId="{900ED9AA-9E3E-4466-B9E3-DFC8365613D8}" dt="2022-03-22T03:33:05.576" v="3157" actId="478"/>
          <ac:picMkLst>
            <pc:docMk/>
            <pc:sldMk cId="283455328" sldId="2368"/>
            <ac:picMk id="57" creationId="{1E6A4E2C-5687-4BF5-A6E4-35974DD2CE1E}"/>
          </ac:picMkLst>
        </pc:picChg>
        <pc:picChg chg="add del mod">
          <ac:chgData name="Aurelien Domont" userId="6da7715ce44349b3" providerId="LiveId" clId="{900ED9AA-9E3E-4466-B9E3-DFC8365613D8}" dt="2022-03-22T03:33:05.576" v="3157" actId="478"/>
          <ac:picMkLst>
            <pc:docMk/>
            <pc:sldMk cId="283455328" sldId="2368"/>
            <ac:picMk id="58" creationId="{12A6741B-BD56-4D94-B733-F0E15B9B39CB}"/>
          </ac:picMkLst>
        </pc:picChg>
        <pc:cxnChg chg="del">
          <ac:chgData name="Aurelien Domont" userId="6da7715ce44349b3" providerId="LiveId" clId="{900ED9AA-9E3E-4466-B9E3-DFC8365613D8}" dt="2022-03-17T03:32:52.365" v="127" actId="478"/>
          <ac:cxnSpMkLst>
            <pc:docMk/>
            <pc:sldMk cId="283455328" sldId="2368"/>
            <ac:cxnSpMk id="20" creationId="{D3A4E5A3-06C3-4088-9DF1-EFDC1100B1F9}"/>
          </ac:cxnSpMkLst>
        </pc:cxnChg>
        <pc:cxnChg chg="del">
          <ac:chgData name="Aurelien Domont" userId="6da7715ce44349b3" providerId="LiveId" clId="{900ED9AA-9E3E-4466-B9E3-DFC8365613D8}" dt="2022-03-17T03:32:52.365" v="127" actId="478"/>
          <ac:cxnSpMkLst>
            <pc:docMk/>
            <pc:sldMk cId="283455328" sldId="2368"/>
            <ac:cxnSpMk id="22" creationId="{A2F14822-990B-466E-AD0B-FD2D26DAB6D7}"/>
          </ac:cxnSpMkLst>
        </pc:cxnChg>
        <pc:cxnChg chg="del">
          <ac:chgData name="Aurelien Domont" userId="6da7715ce44349b3" providerId="LiveId" clId="{900ED9AA-9E3E-4466-B9E3-DFC8365613D8}" dt="2022-03-17T03:32:52.365" v="127" actId="478"/>
          <ac:cxnSpMkLst>
            <pc:docMk/>
            <pc:sldMk cId="283455328" sldId="2368"/>
            <ac:cxnSpMk id="24" creationId="{61F98AD5-A6EB-488B-9E58-9822EDD3E121}"/>
          </ac:cxnSpMkLst>
        </pc:cxnChg>
        <pc:cxnChg chg="del">
          <ac:chgData name="Aurelien Domont" userId="6da7715ce44349b3" providerId="LiveId" clId="{900ED9AA-9E3E-4466-B9E3-DFC8365613D8}" dt="2022-03-17T03:32:52.365" v="127" actId="478"/>
          <ac:cxnSpMkLst>
            <pc:docMk/>
            <pc:sldMk cId="283455328" sldId="2368"/>
            <ac:cxnSpMk id="26" creationId="{AC8546FB-7613-4C33-AF70-8F2919EB3905}"/>
          </ac:cxnSpMkLst>
        </pc:cxnChg>
        <pc:cxnChg chg="del">
          <ac:chgData name="Aurelien Domont" userId="6da7715ce44349b3" providerId="LiveId" clId="{900ED9AA-9E3E-4466-B9E3-DFC8365613D8}" dt="2022-03-17T03:32:52.365" v="127" actId="478"/>
          <ac:cxnSpMkLst>
            <pc:docMk/>
            <pc:sldMk cId="283455328" sldId="2368"/>
            <ac:cxnSpMk id="28" creationId="{D91CC899-E100-43B1-983F-431B2510BEE8}"/>
          </ac:cxnSpMkLst>
        </pc:cxnChg>
        <pc:cxnChg chg="del">
          <ac:chgData name="Aurelien Domont" userId="6da7715ce44349b3" providerId="LiveId" clId="{900ED9AA-9E3E-4466-B9E3-DFC8365613D8}" dt="2022-03-17T03:32:52.365" v="127" actId="478"/>
          <ac:cxnSpMkLst>
            <pc:docMk/>
            <pc:sldMk cId="283455328" sldId="2368"/>
            <ac:cxnSpMk id="30" creationId="{03FA61A6-D503-46C8-A3A9-001D154511F3}"/>
          </ac:cxnSpMkLst>
        </pc:cxnChg>
      </pc:sldChg>
      <pc:sldChg chg="addSp modSp add del mod">
        <pc:chgData name="Aurelien Domont" userId="6da7715ce44349b3" providerId="LiveId" clId="{900ED9AA-9E3E-4466-B9E3-DFC8365613D8}" dt="2022-03-22T03:33:27.101" v="3162" actId="47"/>
        <pc:sldMkLst>
          <pc:docMk/>
          <pc:sldMk cId="2089746417" sldId="2369"/>
        </pc:sldMkLst>
        <pc:spChg chg="add mod ord">
          <ac:chgData name="Aurelien Domont" userId="6da7715ce44349b3" providerId="LiveId" clId="{900ED9AA-9E3E-4466-B9E3-DFC8365613D8}" dt="2022-03-17T03:39:43.403" v="191" actId="1037"/>
          <ac:spMkLst>
            <pc:docMk/>
            <pc:sldMk cId="2089746417" sldId="2369"/>
            <ac:spMk id="17" creationId="{1D60CA45-0499-4729-83B1-A8C1762BAB05}"/>
          </ac:spMkLst>
        </pc:spChg>
        <pc:spChg chg="mod">
          <ac:chgData name="Aurelien Domont" userId="6da7715ce44349b3" providerId="LiveId" clId="{900ED9AA-9E3E-4466-B9E3-DFC8365613D8}" dt="2022-03-17T04:41:13.617" v="852"/>
          <ac:spMkLst>
            <pc:docMk/>
            <pc:sldMk cId="2089746417" sldId="2369"/>
            <ac:spMk id="51" creationId="{445E7C83-4653-45C0-998C-17A3E92B87B3}"/>
          </ac:spMkLst>
        </pc:spChg>
      </pc:sldChg>
      <pc:sldChg chg="addSp delSp modSp add del mod">
        <pc:chgData name="Aurelien Domont" userId="6da7715ce44349b3" providerId="LiveId" clId="{900ED9AA-9E3E-4466-B9E3-DFC8365613D8}" dt="2022-03-22T03:33:37.312" v="3164" actId="47"/>
        <pc:sldMkLst>
          <pc:docMk/>
          <pc:sldMk cId="1866419627" sldId="2370"/>
        </pc:sldMkLst>
        <pc:spChg chg="add del mod">
          <ac:chgData name="Aurelien Domont" userId="6da7715ce44349b3" providerId="LiveId" clId="{900ED9AA-9E3E-4466-B9E3-DFC8365613D8}" dt="2022-03-17T04:41:51.869" v="860" actId="478"/>
          <ac:spMkLst>
            <pc:docMk/>
            <pc:sldMk cId="1866419627" sldId="2370"/>
            <ac:spMk id="2" creationId="{65371684-2DBB-4857-BEFD-2851C19EA3F8}"/>
          </ac:spMkLst>
        </pc:spChg>
        <pc:spChg chg="mod">
          <ac:chgData name="Aurelien Domont" userId="6da7715ce44349b3" providerId="LiveId" clId="{900ED9AA-9E3E-4466-B9E3-DFC8365613D8}" dt="2022-03-17T03:55:20.227" v="250" actId="1036"/>
          <ac:spMkLst>
            <pc:docMk/>
            <pc:sldMk cId="1866419627" sldId="2370"/>
            <ac:spMk id="17" creationId="{1D60CA45-0499-4729-83B1-A8C1762BAB05}"/>
          </ac:spMkLst>
        </pc:spChg>
        <pc:spChg chg="mod">
          <ac:chgData name="Aurelien Domont" userId="6da7715ce44349b3" providerId="LiveId" clId="{900ED9AA-9E3E-4466-B9E3-DFC8365613D8}" dt="2022-03-17T04:34:14.126" v="643" actId="20577"/>
          <ac:spMkLst>
            <pc:docMk/>
            <pc:sldMk cId="1866419627" sldId="2370"/>
            <ac:spMk id="51" creationId="{445E7C83-4653-45C0-998C-17A3E92B87B3}"/>
          </ac:spMkLst>
        </pc:spChg>
      </pc:sldChg>
      <pc:sldChg chg="delSp modSp add mod">
        <pc:chgData name="Aurelien Domont" userId="6da7715ce44349b3" providerId="LiveId" clId="{900ED9AA-9E3E-4466-B9E3-DFC8365613D8}" dt="2022-03-17T04:39:34.766" v="839" actId="20577"/>
        <pc:sldMkLst>
          <pc:docMk/>
          <pc:sldMk cId="3266860291" sldId="2371"/>
        </pc:sldMkLst>
        <pc:spChg chg="mod">
          <ac:chgData name="Aurelien Domont" userId="6da7715ce44349b3" providerId="LiveId" clId="{900ED9AA-9E3E-4466-B9E3-DFC8365613D8}" dt="2022-03-17T04:38:39.716" v="812" actId="1036"/>
          <ac:spMkLst>
            <pc:docMk/>
            <pc:sldMk cId="3266860291" sldId="2371"/>
            <ac:spMk id="8" creationId="{643E02EB-8B75-4C38-9EF6-D0B5B7FAD67E}"/>
          </ac:spMkLst>
        </pc:spChg>
        <pc:spChg chg="mod">
          <ac:chgData name="Aurelien Domont" userId="6da7715ce44349b3" providerId="LiveId" clId="{900ED9AA-9E3E-4466-B9E3-DFC8365613D8}" dt="2022-03-17T04:38:39.716" v="812" actId="1036"/>
          <ac:spMkLst>
            <pc:docMk/>
            <pc:sldMk cId="3266860291" sldId="2371"/>
            <ac:spMk id="11" creationId="{AF56CC85-A5D6-4256-95AB-9A3896389D86}"/>
          </ac:spMkLst>
        </pc:spChg>
        <pc:spChg chg="mod">
          <ac:chgData name="Aurelien Domont" userId="6da7715ce44349b3" providerId="LiveId" clId="{900ED9AA-9E3E-4466-B9E3-DFC8365613D8}" dt="2022-03-17T04:38:39.716" v="812" actId="1036"/>
          <ac:spMkLst>
            <pc:docMk/>
            <pc:sldMk cId="3266860291" sldId="2371"/>
            <ac:spMk id="12" creationId="{88E1BB5B-5B76-4AD3-BEEC-878598F77BD3}"/>
          </ac:spMkLst>
        </pc:spChg>
        <pc:spChg chg="mod">
          <ac:chgData name="Aurelien Domont" userId="6da7715ce44349b3" providerId="LiveId" clId="{900ED9AA-9E3E-4466-B9E3-DFC8365613D8}" dt="2022-03-17T04:39:34.766" v="839" actId="20577"/>
          <ac:spMkLst>
            <pc:docMk/>
            <pc:sldMk cId="3266860291" sldId="2371"/>
            <ac:spMk id="13" creationId="{5253D664-BEB3-464F-90EA-C5D97ED728EB}"/>
          </ac:spMkLst>
        </pc:spChg>
        <pc:spChg chg="mod">
          <ac:chgData name="Aurelien Domont" userId="6da7715ce44349b3" providerId="LiveId" clId="{900ED9AA-9E3E-4466-B9E3-DFC8365613D8}" dt="2022-03-17T04:38:39.716" v="812" actId="1036"/>
          <ac:spMkLst>
            <pc:docMk/>
            <pc:sldMk cId="3266860291" sldId="2371"/>
            <ac:spMk id="14" creationId="{966000D9-7E71-44EB-AB18-656243290B9C}"/>
          </ac:spMkLst>
        </pc:spChg>
        <pc:spChg chg="mod">
          <ac:chgData name="Aurelien Domont" userId="6da7715ce44349b3" providerId="LiveId" clId="{900ED9AA-9E3E-4466-B9E3-DFC8365613D8}" dt="2022-03-17T04:38:39.716" v="812" actId="1036"/>
          <ac:spMkLst>
            <pc:docMk/>
            <pc:sldMk cId="3266860291" sldId="2371"/>
            <ac:spMk id="33" creationId="{4EF69FF8-88B9-43CF-AF06-87A79D6B9B83}"/>
          </ac:spMkLst>
        </pc:spChg>
        <pc:spChg chg="mod">
          <ac:chgData name="Aurelien Domont" userId="6da7715ce44349b3" providerId="LiveId" clId="{900ED9AA-9E3E-4466-B9E3-DFC8365613D8}" dt="2022-03-17T04:38:39.716" v="812" actId="1036"/>
          <ac:spMkLst>
            <pc:docMk/>
            <pc:sldMk cId="3266860291" sldId="2371"/>
            <ac:spMk id="35" creationId="{8D124B5C-16F9-43E0-AB1D-C4B2343CD8B4}"/>
          </ac:spMkLst>
        </pc:spChg>
        <pc:spChg chg="mod">
          <ac:chgData name="Aurelien Domont" userId="6da7715ce44349b3" providerId="LiveId" clId="{900ED9AA-9E3E-4466-B9E3-DFC8365613D8}" dt="2022-03-17T04:38:39.716" v="812" actId="1036"/>
          <ac:spMkLst>
            <pc:docMk/>
            <pc:sldMk cId="3266860291" sldId="2371"/>
            <ac:spMk id="36" creationId="{4F3680D0-594D-4243-B1F1-CFABB54A7ED2}"/>
          </ac:spMkLst>
        </pc:spChg>
        <pc:spChg chg="mod">
          <ac:chgData name="Aurelien Domont" userId="6da7715ce44349b3" providerId="LiveId" clId="{900ED9AA-9E3E-4466-B9E3-DFC8365613D8}" dt="2022-03-17T04:38:39.716" v="812" actId="1036"/>
          <ac:spMkLst>
            <pc:docMk/>
            <pc:sldMk cId="3266860291" sldId="2371"/>
            <ac:spMk id="37" creationId="{3EEA5287-6493-4CEA-BB1A-E10DFC178BC9}"/>
          </ac:spMkLst>
        </pc:spChg>
        <pc:spChg chg="mod">
          <ac:chgData name="Aurelien Domont" userId="6da7715ce44349b3" providerId="LiveId" clId="{900ED9AA-9E3E-4466-B9E3-DFC8365613D8}" dt="2022-03-17T04:38:39.716" v="812" actId="1036"/>
          <ac:spMkLst>
            <pc:docMk/>
            <pc:sldMk cId="3266860291" sldId="2371"/>
            <ac:spMk id="38" creationId="{6887C043-EADD-4243-AE0B-B0EFA8F4FAFA}"/>
          </ac:spMkLst>
        </pc:spChg>
        <pc:spChg chg="del">
          <ac:chgData name="Aurelien Domont" userId="6da7715ce44349b3" providerId="LiveId" clId="{900ED9AA-9E3E-4466-B9E3-DFC8365613D8}" dt="2022-03-17T04:27:53.919" v="540" actId="478"/>
          <ac:spMkLst>
            <pc:docMk/>
            <pc:sldMk cId="3266860291" sldId="2371"/>
            <ac:spMk id="39" creationId="{D6A8CF01-4B5E-4510-82F8-C5EF28227D9B}"/>
          </ac:spMkLst>
        </pc:spChg>
      </pc:sldChg>
      <pc:sldChg chg="modSp add del mod">
        <pc:chgData name="Aurelien Domont" userId="6da7715ce44349b3" providerId="LiveId" clId="{900ED9AA-9E3E-4466-B9E3-DFC8365613D8}" dt="2022-03-17T04:29:29.291" v="605" actId="47"/>
        <pc:sldMkLst>
          <pc:docMk/>
          <pc:sldMk cId="3248600536" sldId="2372"/>
        </pc:sldMkLst>
        <pc:spChg chg="mod">
          <ac:chgData name="Aurelien Domont" userId="6da7715ce44349b3" providerId="LiveId" clId="{900ED9AA-9E3E-4466-B9E3-DFC8365613D8}" dt="2022-03-17T04:28:43.270" v="557" actId="20577"/>
          <ac:spMkLst>
            <pc:docMk/>
            <pc:sldMk cId="3248600536" sldId="2372"/>
            <ac:spMk id="2" creationId="{406113FD-AA7D-4249-90D7-70AF85BE48E1}"/>
          </ac:spMkLst>
        </pc:spChg>
      </pc:sldChg>
      <pc:sldChg chg="addSp delSp modSp add mod">
        <pc:chgData name="Aurelien Domont" userId="6da7715ce44349b3" providerId="LiveId" clId="{900ED9AA-9E3E-4466-B9E3-DFC8365613D8}" dt="2022-03-17T04:39:38.924" v="841" actId="20577"/>
        <pc:sldMkLst>
          <pc:docMk/>
          <pc:sldMk cId="3243680915" sldId="2373"/>
        </pc:sldMkLst>
        <pc:spChg chg="mod">
          <ac:chgData name="Aurelien Domont" userId="6da7715ce44349b3" providerId="LiveId" clId="{900ED9AA-9E3E-4466-B9E3-DFC8365613D8}" dt="2022-03-17T04:29:26.201" v="604" actId="20577"/>
          <ac:spMkLst>
            <pc:docMk/>
            <pc:sldMk cId="3243680915" sldId="2373"/>
            <ac:spMk id="2" creationId="{406113FD-AA7D-4249-90D7-70AF85BE48E1}"/>
          </ac:spMkLst>
        </pc:spChg>
        <pc:spChg chg="add mod">
          <ac:chgData name="Aurelien Domont" userId="6da7715ce44349b3" providerId="LiveId" clId="{900ED9AA-9E3E-4466-B9E3-DFC8365613D8}" dt="2022-03-17T04:39:07.357" v="827" actId="1036"/>
          <ac:spMkLst>
            <pc:docMk/>
            <pc:sldMk cId="3243680915" sldId="2373"/>
            <ac:spMk id="5" creationId="{A5DDB674-5715-4F50-961B-A35C944CCD11}"/>
          </ac:spMkLst>
        </pc:spChg>
        <pc:spChg chg="mod">
          <ac:chgData name="Aurelien Domont" userId="6da7715ce44349b3" providerId="LiveId" clId="{900ED9AA-9E3E-4466-B9E3-DFC8365613D8}" dt="2022-03-17T04:38:54.762" v="821" actId="1036"/>
          <ac:spMkLst>
            <pc:docMk/>
            <pc:sldMk cId="3243680915" sldId="2373"/>
            <ac:spMk id="8" creationId="{643E02EB-8B75-4C38-9EF6-D0B5B7FAD67E}"/>
          </ac:spMkLst>
        </pc:spChg>
        <pc:spChg chg="mod">
          <ac:chgData name="Aurelien Domont" userId="6da7715ce44349b3" providerId="LiveId" clId="{900ED9AA-9E3E-4466-B9E3-DFC8365613D8}" dt="2022-03-17T04:38:54.762" v="821" actId="1036"/>
          <ac:spMkLst>
            <pc:docMk/>
            <pc:sldMk cId="3243680915" sldId="2373"/>
            <ac:spMk id="11" creationId="{AF56CC85-A5D6-4256-95AB-9A3896389D86}"/>
          </ac:spMkLst>
        </pc:spChg>
        <pc:spChg chg="mod">
          <ac:chgData name="Aurelien Domont" userId="6da7715ce44349b3" providerId="LiveId" clId="{900ED9AA-9E3E-4466-B9E3-DFC8365613D8}" dt="2022-03-17T04:38:54.762" v="821" actId="1036"/>
          <ac:spMkLst>
            <pc:docMk/>
            <pc:sldMk cId="3243680915" sldId="2373"/>
            <ac:spMk id="12" creationId="{88E1BB5B-5B76-4AD3-BEEC-878598F77BD3}"/>
          </ac:spMkLst>
        </pc:spChg>
        <pc:spChg chg="mod">
          <ac:chgData name="Aurelien Domont" userId="6da7715ce44349b3" providerId="LiveId" clId="{900ED9AA-9E3E-4466-B9E3-DFC8365613D8}" dt="2022-03-17T04:39:38.924" v="841" actId="20577"/>
          <ac:spMkLst>
            <pc:docMk/>
            <pc:sldMk cId="3243680915" sldId="2373"/>
            <ac:spMk id="13" creationId="{5253D664-BEB3-464F-90EA-C5D97ED728EB}"/>
          </ac:spMkLst>
        </pc:spChg>
        <pc:spChg chg="del">
          <ac:chgData name="Aurelien Domont" userId="6da7715ce44349b3" providerId="LiveId" clId="{900ED9AA-9E3E-4466-B9E3-DFC8365613D8}" dt="2022-03-17T04:36:25.339" v="772" actId="478"/>
          <ac:spMkLst>
            <pc:docMk/>
            <pc:sldMk cId="3243680915" sldId="2373"/>
            <ac:spMk id="14" creationId="{966000D9-7E71-44EB-AB18-656243290B9C}"/>
          </ac:spMkLst>
        </pc:spChg>
        <pc:spChg chg="add mod">
          <ac:chgData name="Aurelien Domont" userId="6da7715ce44349b3" providerId="LiveId" clId="{900ED9AA-9E3E-4466-B9E3-DFC8365613D8}" dt="2022-03-17T04:38:54.762" v="821" actId="1036"/>
          <ac:spMkLst>
            <pc:docMk/>
            <pc:sldMk cId="3243680915" sldId="2373"/>
            <ac:spMk id="16" creationId="{BFF372CE-9168-4761-A885-B0B300303082}"/>
          </ac:spMkLst>
        </pc:spChg>
        <pc:spChg chg="add mod">
          <ac:chgData name="Aurelien Domont" userId="6da7715ce44349b3" providerId="LiveId" clId="{900ED9AA-9E3E-4466-B9E3-DFC8365613D8}" dt="2022-03-17T04:38:54.762" v="821" actId="1036"/>
          <ac:spMkLst>
            <pc:docMk/>
            <pc:sldMk cId="3243680915" sldId="2373"/>
            <ac:spMk id="17" creationId="{901DEDF6-3AAB-489C-BC39-72177BF3E562}"/>
          </ac:spMkLst>
        </pc:spChg>
        <pc:spChg chg="add mod">
          <ac:chgData name="Aurelien Domont" userId="6da7715ce44349b3" providerId="LiveId" clId="{900ED9AA-9E3E-4466-B9E3-DFC8365613D8}" dt="2022-03-17T04:38:54.762" v="821" actId="1036"/>
          <ac:spMkLst>
            <pc:docMk/>
            <pc:sldMk cId="3243680915" sldId="2373"/>
            <ac:spMk id="18" creationId="{02E98AD7-D2FC-49A0-AC82-29CF3455E86D}"/>
          </ac:spMkLst>
        </pc:spChg>
        <pc:spChg chg="add mod">
          <ac:chgData name="Aurelien Domont" userId="6da7715ce44349b3" providerId="LiveId" clId="{900ED9AA-9E3E-4466-B9E3-DFC8365613D8}" dt="2022-03-17T04:38:54.762" v="821" actId="1036"/>
          <ac:spMkLst>
            <pc:docMk/>
            <pc:sldMk cId="3243680915" sldId="2373"/>
            <ac:spMk id="19" creationId="{685D274D-4475-4C67-8123-B3FAFC0DD5A1}"/>
          </ac:spMkLst>
        </pc:spChg>
        <pc:spChg chg="add mod">
          <ac:chgData name="Aurelien Domont" userId="6da7715ce44349b3" providerId="LiveId" clId="{900ED9AA-9E3E-4466-B9E3-DFC8365613D8}" dt="2022-03-17T04:38:54.762" v="821" actId="1036"/>
          <ac:spMkLst>
            <pc:docMk/>
            <pc:sldMk cId="3243680915" sldId="2373"/>
            <ac:spMk id="20" creationId="{3B4F3225-8DC5-4F59-A11E-B37CD6C3DD2D}"/>
          </ac:spMkLst>
        </pc:spChg>
        <pc:spChg chg="add mod">
          <ac:chgData name="Aurelien Domont" userId="6da7715ce44349b3" providerId="LiveId" clId="{900ED9AA-9E3E-4466-B9E3-DFC8365613D8}" dt="2022-03-17T04:38:54.762" v="821" actId="1036"/>
          <ac:spMkLst>
            <pc:docMk/>
            <pc:sldMk cId="3243680915" sldId="2373"/>
            <ac:spMk id="21" creationId="{630D55CD-A7FE-4A3A-B063-E2BADC8A4110}"/>
          </ac:spMkLst>
        </pc:spChg>
        <pc:spChg chg="add mod">
          <ac:chgData name="Aurelien Domont" userId="6da7715ce44349b3" providerId="LiveId" clId="{900ED9AA-9E3E-4466-B9E3-DFC8365613D8}" dt="2022-03-17T04:38:54.762" v="821" actId="1036"/>
          <ac:spMkLst>
            <pc:docMk/>
            <pc:sldMk cId="3243680915" sldId="2373"/>
            <ac:spMk id="22" creationId="{8F96AE4A-1C46-4246-96BE-5EF0443DA7B3}"/>
          </ac:spMkLst>
        </pc:spChg>
        <pc:spChg chg="mod">
          <ac:chgData name="Aurelien Domont" userId="6da7715ce44349b3" providerId="LiveId" clId="{900ED9AA-9E3E-4466-B9E3-DFC8365613D8}" dt="2022-03-17T04:38:54.762" v="821" actId="1036"/>
          <ac:spMkLst>
            <pc:docMk/>
            <pc:sldMk cId="3243680915" sldId="2373"/>
            <ac:spMk id="33" creationId="{4EF69FF8-88B9-43CF-AF06-87A79D6B9B83}"/>
          </ac:spMkLst>
        </pc:spChg>
        <pc:spChg chg="del">
          <ac:chgData name="Aurelien Domont" userId="6da7715ce44349b3" providerId="LiveId" clId="{900ED9AA-9E3E-4466-B9E3-DFC8365613D8}" dt="2022-03-17T04:36:25.339" v="772" actId="478"/>
          <ac:spMkLst>
            <pc:docMk/>
            <pc:sldMk cId="3243680915" sldId="2373"/>
            <ac:spMk id="35" creationId="{8D124B5C-16F9-43E0-AB1D-C4B2343CD8B4}"/>
          </ac:spMkLst>
        </pc:spChg>
        <pc:spChg chg="del">
          <ac:chgData name="Aurelien Domont" userId="6da7715ce44349b3" providerId="LiveId" clId="{900ED9AA-9E3E-4466-B9E3-DFC8365613D8}" dt="2022-03-17T04:36:25.339" v="772" actId="478"/>
          <ac:spMkLst>
            <pc:docMk/>
            <pc:sldMk cId="3243680915" sldId="2373"/>
            <ac:spMk id="36" creationId="{4F3680D0-594D-4243-B1F1-CFABB54A7ED2}"/>
          </ac:spMkLst>
        </pc:spChg>
        <pc:spChg chg="del">
          <ac:chgData name="Aurelien Domont" userId="6da7715ce44349b3" providerId="LiveId" clId="{900ED9AA-9E3E-4466-B9E3-DFC8365613D8}" dt="2022-03-17T04:36:25.339" v="772" actId="478"/>
          <ac:spMkLst>
            <pc:docMk/>
            <pc:sldMk cId="3243680915" sldId="2373"/>
            <ac:spMk id="37" creationId="{3EEA5287-6493-4CEA-BB1A-E10DFC178BC9}"/>
          </ac:spMkLst>
        </pc:spChg>
        <pc:spChg chg="del">
          <ac:chgData name="Aurelien Domont" userId="6da7715ce44349b3" providerId="LiveId" clId="{900ED9AA-9E3E-4466-B9E3-DFC8365613D8}" dt="2022-03-17T04:36:25.339" v="772" actId="478"/>
          <ac:spMkLst>
            <pc:docMk/>
            <pc:sldMk cId="3243680915" sldId="2373"/>
            <ac:spMk id="38" creationId="{6887C043-EADD-4243-AE0B-B0EFA8F4FAFA}"/>
          </ac:spMkLst>
        </pc:spChg>
      </pc:sldChg>
      <pc:sldChg chg="delSp modSp add del mod">
        <pc:chgData name="Aurelien Domont" userId="6da7715ce44349b3" providerId="LiveId" clId="{900ED9AA-9E3E-4466-B9E3-DFC8365613D8}" dt="2022-03-22T03:34:03.432" v="3185" actId="47"/>
        <pc:sldMkLst>
          <pc:docMk/>
          <pc:sldMk cId="137764689" sldId="2374"/>
        </pc:sldMkLst>
        <pc:spChg chg="del">
          <ac:chgData name="Aurelien Domont" userId="6da7715ce44349b3" providerId="LiveId" clId="{900ED9AA-9E3E-4466-B9E3-DFC8365613D8}" dt="2022-03-17T04:41:50.021" v="859" actId="478"/>
          <ac:spMkLst>
            <pc:docMk/>
            <pc:sldMk cId="137764689" sldId="2374"/>
            <ac:spMk id="2" creationId="{65371684-2DBB-4857-BEFD-2851C19EA3F8}"/>
          </ac:spMkLst>
        </pc:spChg>
        <pc:spChg chg="mod">
          <ac:chgData name="Aurelien Domont" userId="6da7715ce44349b3" providerId="LiveId" clId="{900ED9AA-9E3E-4466-B9E3-DFC8365613D8}" dt="2022-03-17T04:34:57.864" v="671" actId="1035"/>
          <ac:spMkLst>
            <pc:docMk/>
            <pc:sldMk cId="137764689" sldId="2374"/>
            <ac:spMk id="17" creationId="{1D60CA45-0499-4729-83B1-A8C1762BAB05}"/>
          </ac:spMkLst>
        </pc:spChg>
      </pc:sldChg>
      <pc:sldChg chg="addSp modSp add mod">
        <pc:chgData name="Aurelien Domont" userId="6da7715ce44349b3" providerId="LiveId" clId="{900ED9AA-9E3E-4466-B9E3-DFC8365613D8}" dt="2022-03-17T04:40:06.418" v="851" actId="207"/>
        <pc:sldMkLst>
          <pc:docMk/>
          <pc:sldMk cId="1612830510" sldId="2375"/>
        </pc:sldMkLst>
        <pc:spChg chg="mod">
          <ac:chgData name="Aurelien Domont" userId="6da7715ce44349b3" providerId="LiveId" clId="{900ED9AA-9E3E-4466-B9E3-DFC8365613D8}" dt="2022-03-17T04:39:21.613" v="834" actId="20577"/>
          <ac:spMkLst>
            <pc:docMk/>
            <pc:sldMk cId="1612830510" sldId="2375"/>
            <ac:spMk id="2" creationId="{406113FD-AA7D-4249-90D7-70AF85BE48E1}"/>
          </ac:spMkLst>
        </pc:spChg>
        <pc:spChg chg="mod">
          <ac:chgData name="Aurelien Domont" userId="6da7715ce44349b3" providerId="LiveId" clId="{900ED9AA-9E3E-4466-B9E3-DFC8365613D8}" dt="2022-03-17T04:39:31.439" v="837" actId="20577"/>
          <ac:spMkLst>
            <pc:docMk/>
            <pc:sldMk cId="1612830510" sldId="2375"/>
            <ac:spMk id="13" creationId="{5253D664-BEB3-464F-90EA-C5D97ED728EB}"/>
          </ac:spMkLst>
        </pc:spChg>
        <pc:spChg chg="add mod">
          <ac:chgData name="Aurelien Domont" userId="6da7715ce44349b3" providerId="LiveId" clId="{900ED9AA-9E3E-4466-B9E3-DFC8365613D8}" dt="2022-03-17T04:39:53.022" v="849" actId="207"/>
          <ac:spMkLst>
            <pc:docMk/>
            <pc:sldMk cId="1612830510" sldId="2375"/>
            <ac:spMk id="23" creationId="{12F89D56-DF7E-46BA-86EF-D988DB94C315}"/>
          </ac:spMkLst>
        </pc:spChg>
        <pc:spChg chg="add mod">
          <ac:chgData name="Aurelien Domont" userId="6da7715ce44349b3" providerId="LiveId" clId="{900ED9AA-9E3E-4466-B9E3-DFC8365613D8}" dt="2022-03-17T04:39:49.410" v="848" actId="207"/>
          <ac:spMkLst>
            <pc:docMk/>
            <pc:sldMk cId="1612830510" sldId="2375"/>
            <ac:spMk id="24" creationId="{6E0AB887-56BD-451B-B021-07A3544AA2CF}"/>
          </ac:spMkLst>
        </pc:spChg>
        <pc:spChg chg="add mod">
          <ac:chgData name="Aurelien Domont" userId="6da7715ce44349b3" providerId="LiveId" clId="{900ED9AA-9E3E-4466-B9E3-DFC8365613D8}" dt="2022-03-17T04:40:06.418" v="851" actId="207"/>
          <ac:spMkLst>
            <pc:docMk/>
            <pc:sldMk cId="1612830510" sldId="2375"/>
            <ac:spMk id="25" creationId="{FBF88B40-2261-4657-96C9-BD129E0424C9}"/>
          </ac:spMkLst>
        </pc:spChg>
      </pc:sldChg>
      <pc:sldChg chg="delSp modSp add del mod">
        <pc:chgData name="Aurelien Domont" userId="6da7715ce44349b3" providerId="LiveId" clId="{900ED9AA-9E3E-4466-B9E3-DFC8365613D8}" dt="2022-03-22T03:34:23.122" v="3206" actId="47"/>
        <pc:sldMkLst>
          <pc:docMk/>
          <pc:sldMk cId="2748572313" sldId="2376"/>
        </pc:sldMkLst>
        <pc:spChg chg="del">
          <ac:chgData name="Aurelien Domont" userId="6da7715ce44349b3" providerId="LiveId" clId="{900ED9AA-9E3E-4466-B9E3-DFC8365613D8}" dt="2022-03-17T04:41:48.230" v="858" actId="478"/>
          <ac:spMkLst>
            <pc:docMk/>
            <pc:sldMk cId="2748572313" sldId="2376"/>
            <ac:spMk id="2" creationId="{65371684-2DBB-4857-BEFD-2851C19EA3F8}"/>
          </ac:spMkLst>
        </pc:spChg>
        <pc:spChg chg="mod">
          <ac:chgData name="Aurelien Domont" userId="6da7715ce44349b3" providerId="LiveId" clId="{900ED9AA-9E3E-4466-B9E3-DFC8365613D8}" dt="2022-03-17T04:41:59.631" v="877" actId="14100"/>
          <ac:spMkLst>
            <pc:docMk/>
            <pc:sldMk cId="2748572313" sldId="2376"/>
            <ac:spMk id="17" creationId="{1D60CA45-0499-4729-83B1-A8C1762BAB05}"/>
          </ac:spMkLst>
        </pc:spChg>
      </pc:sldChg>
      <pc:sldChg chg="addSp modSp add mod">
        <pc:chgData name="Aurelien Domont" userId="6da7715ce44349b3" providerId="LiveId" clId="{900ED9AA-9E3E-4466-B9E3-DFC8365613D8}" dt="2022-03-17T04:46:56.051" v="1223" actId="20577"/>
        <pc:sldMkLst>
          <pc:docMk/>
          <pc:sldMk cId="542215322" sldId="2377"/>
        </pc:sldMkLst>
        <pc:spChg chg="add mod">
          <ac:chgData name="Aurelien Domont" userId="6da7715ce44349b3" providerId="LiveId" clId="{900ED9AA-9E3E-4466-B9E3-DFC8365613D8}" dt="2022-03-17T04:43:09.628" v="903" actId="1038"/>
          <ac:spMkLst>
            <pc:docMk/>
            <pc:sldMk cId="542215322" sldId="2377"/>
            <ac:spMk id="16" creationId="{D62F65B7-90EB-4B8B-BC68-F87EAAFBF828}"/>
          </ac:spMkLst>
        </pc:spChg>
        <pc:spChg chg="add mod">
          <ac:chgData name="Aurelien Domont" userId="6da7715ce44349b3" providerId="LiveId" clId="{900ED9AA-9E3E-4466-B9E3-DFC8365613D8}" dt="2022-03-17T04:46:56.051" v="1223" actId="20577"/>
          <ac:spMkLst>
            <pc:docMk/>
            <pc:sldMk cId="542215322" sldId="2377"/>
            <ac:spMk id="17" creationId="{7C17F1D7-1F7C-4C83-9691-055E7480AB85}"/>
          </ac:spMkLst>
        </pc:spChg>
      </pc:sldChg>
      <pc:sldChg chg="addSp modSp add mod">
        <pc:chgData name="Aurelien Domont" userId="6da7715ce44349b3" providerId="LiveId" clId="{900ED9AA-9E3E-4466-B9E3-DFC8365613D8}" dt="2022-03-17T04:51:13.200" v="1584" actId="20577"/>
        <pc:sldMkLst>
          <pc:docMk/>
          <pc:sldMk cId="904759924" sldId="2378"/>
        </pc:sldMkLst>
        <pc:spChg chg="add mod">
          <ac:chgData name="Aurelien Domont" userId="6da7715ce44349b3" providerId="LiveId" clId="{900ED9AA-9E3E-4466-B9E3-DFC8365613D8}" dt="2022-03-17T04:47:24.077" v="1227" actId="1076"/>
          <ac:spMkLst>
            <pc:docMk/>
            <pc:sldMk cId="904759924" sldId="2378"/>
            <ac:spMk id="26" creationId="{621ACCEF-FD1B-443D-BE9F-237D3681D6E9}"/>
          </ac:spMkLst>
        </pc:spChg>
        <pc:spChg chg="add mod">
          <ac:chgData name="Aurelien Domont" userId="6da7715ce44349b3" providerId="LiveId" clId="{900ED9AA-9E3E-4466-B9E3-DFC8365613D8}" dt="2022-03-17T04:49:22.624" v="1387" actId="1076"/>
          <ac:spMkLst>
            <pc:docMk/>
            <pc:sldMk cId="904759924" sldId="2378"/>
            <ac:spMk id="27" creationId="{45E00D37-EC0A-47DC-9BA8-AECB446BFFDC}"/>
          </ac:spMkLst>
        </pc:spChg>
        <pc:spChg chg="add mod">
          <ac:chgData name="Aurelien Domont" userId="6da7715ce44349b3" providerId="LiveId" clId="{900ED9AA-9E3E-4466-B9E3-DFC8365613D8}" dt="2022-03-17T04:51:13.200" v="1584" actId="20577"/>
          <ac:spMkLst>
            <pc:docMk/>
            <pc:sldMk cId="904759924" sldId="2378"/>
            <ac:spMk id="28" creationId="{8265C5A8-A5A8-4BFC-A709-3915FEBE0264}"/>
          </ac:spMkLst>
        </pc:spChg>
      </pc:sldChg>
      <pc:sldChg chg="addSp delSp modSp add mod">
        <pc:chgData name="Aurelien Domont" userId="6da7715ce44349b3" providerId="LiveId" clId="{900ED9AA-9E3E-4466-B9E3-DFC8365613D8}" dt="2022-03-17T04:56:56.864" v="1666" actId="20577"/>
        <pc:sldMkLst>
          <pc:docMk/>
          <pc:sldMk cId="906577703" sldId="2379"/>
        </pc:sldMkLst>
        <pc:spChg chg="add mod">
          <ac:chgData name="Aurelien Domont" userId="6da7715ce44349b3" providerId="LiveId" clId="{900ED9AA-9E3E-4466-B9E3-DFC8365613D8}" dt="2022-03-17T04:53:35.066" v="1622"/>
          <ac:spMkLst>
            <pc:docMk/>
            <pc:sldMk cId="906577703" sldId="2379"/>
            <ac:spMk id="15" creationId="{C816B62F-A902-46DC-A95B-1D730E459414}"/>
          </ac:spMkLst>
        </pc:spChg>
        <pc:spChg chg="del">
          <ac:chgData name="Aurelien Domont" userId="6da7715ce44349b3" providerId="LiveId" clId="{900ED9AA-9E3E-4466-B9E3-DFC8365613D8}" dt="2022-03-17T04:54:53.053" v="1628" actId="478"/>
          <ac:spMkLst>
            <pc:docMk/>
            <pc:sldMk cId="906577703" sldId="2379"/>
            <ac:spMk id="17" creationId="{D7CB83BD-BA5C-429A-B579-008A442C4480}"/>
          </ac:spMkLst>
        </pc:spChg>
        <pc:spChg chg="del">
          <ac:chgData name="Aurelien Domont" userId="6da7715ce44349b3" providerId="LiveId" clId="{900ED9AA-9E3E-4466-B9E3-DFC8365613D8}" dt="2022-03-17T04:54:54.757" v="1629" actId="478"/>
          <ac:spMkLst>
            <pc:docMk/>
            <pc:sldMk cId="906577703" sldId="2379"/>
            <ac:spMk id="18" creationId="{6690B5F9-90B9-4DDB-8F95-51D207BE3335}"/>
          </ac:spMkLst>
        </pc:spChg>
        <pc:spChg chg="add mod">
          <ac:chgData name="Aurelien Domont" userId="6da7715ce44349b3" providerId="LiveId" clId="{900ED9AA-9E3E-4466-B9E3-DFC8365613D8}" dt="2022-03-17T04:53:54.302" v="1624" actId="20577"/>
          <ac:spMkLst>
            <pc:docMk/>
            <pc:sldMk cId="906577703" sldId="2379"/>
            <ac:spMk id="19" creationId="{CB8B0A8F-584D-48CD-99CA-DBDCA0327760}"/>
          </ac:spMkLst>
        </pc:spChg>
        <pc:spChg chg="add mod">
          <ac:chgData name="Aurelien Domont" userId="6da7715ce44349b3" providerId="LiveId" clId="{900ED9AA-9E3E-4466-B9E3-DFC8365613D8}" dt="2022-03-17T04:54:55.138" v="1630"/>
          <ac:spMkLst>
            <pc:docMk/>
            <pc:sldMk cId="906577703" sldId="2379"/>
            <ac:spMk id="20" creationId="{46D1C9CE-3C55-4800-9690-434357C35E28}"/>
          </ac:spMkLst>
        </pc:spChg>
        <pc:spChg chg="del">
          <ac:chgData name="Aurelien Domont" userId="6da7715ce44349b3" providerId="LiveId" clId="{900ED9AA-9E3E-4466-B9E3-DFC8365613D8}" dt="2022-03-17T04:54:53.053" v="1628" actId="478"/>
          <ac:spMkLst>
            <pc:docMk/>
            <pc:sldMk cId="906577703" sldId="2379"/>
            <ac:spMk id="21" creationId="{8887032C-CE4E-4107-8157-6C8608EF9A32}"/>
          </ac:spMkLst>
        </pc:spChg>
        <pc:spChg chg="del">
          <ac:chgData name="Aurelien Domont" userId="6da7715ce44349b3" providerId="LiveId" clId="{900ED9AA-9E3E-4466-B9E3-DFC8365613D8}" dt="2022-03-17T04:54:53.053" v="1628" actId="478"/>
          <ac:spMkLst>
            <pc:docMk/>
            <pc:sldMk cId="906577703" sldId="2379"/>
            <ac:spMk id="22" creationId="{CC39D5EE-40EF-4CFB-9505-D1EFF3AF3535}"/>
          </ac:spMkLst>
        </pc:spChg>
        <pc:spChg chg="add mod">
          <ac:chgData name="Aurelien Domont" userId="6da7715ce44349b3" providerId="LiveId" clId="{900ED9AA-9E3E-4466-B9E3-DFC8365613D8}" dt="2022-03-17T04:56:24.927" v="1657" actId="20577"/>
          <ac:spMkLst>
            <pc:docMk/>
            <pc:sldMk cId="906577703" sldId="2379"/>
            <ac:spMk id="23" creationId="{EFBE61A1-BDFA-4C78-ADA2-1A7E2B5AF429}"/>
          </ac:spMkLst>
        </pc:spChg>
        <pc:spChg chg="add mod">
          <ac:chgData name="Aurelien Domont" userId="6da7715ce44349b3" providerId="LiveId" clId="{900ED9AA-9E3E-4466-B9E3-DFC8365613D8}" dt="2022-03-17T04:54:55.138" v="1630"/>
          <ac:spMkLst>
            <pc:docMk/>
            <pc:sldMk cId="906577703" sldId="2379"/>
            <ac:spMk id="24" creationId="{A9ABC004-A643-4B5F-8115-33235824D504}"/>
          </ac:spMkLst>
        </pc:spChg>
        <pc:spChg chg="add mod">
          <ac:chgData name="Aurelien Domont" userId="6da7715ce44349b3" providerId="LiveId" clId="{900ED9AA-9E3E-4466-B9E3-DFC8365613D8}" dt="2022-03-17T04:56:56.864" v="1666" actId="20577"/>
          <ac:spMkLst>
            <pc:docMk/>
            <pc:sldMk cId="906577703" sldId="2379"/>
            <ac:spMk id="25" creationId="{52294C8E-A174-458A-BA4A-63A9E6D7AD45}"/>
          </ac:spMkLst>
        </pc:spChg>
        <pc:spChg chg="add del mod">
          <ac:chgData name="Aurelien Domont" userId="6da7715ce44349b3" providerId="LiveId" clId="{900ED9AA-9E3E-4466-B9E3-DFC8365613D8}" dt="2022-03-17T04:55:45.245" v="1646" actId="478"/>
          <ac:spMkLst>
            <pc:docMk/>
            <pc:sldMk cId="906577703" sldId="2379"/>
            <ac:spMk id="26" creationId="{1D442DD7-F302-4652-9AAA-7ACACFA3E005}"/>
          </ac:spMkLst>
        </pc:spChg>
        <pc:spChg chg="add del mod">
          <ac:chgData name="Aurelien Domont" userId="6da7715ce44349b3" providerId="LiveId" clId="{900ED9AA-9E3E-4466-B9E3-DFC8365613D8}" dt="2022-03-17T04:56:02.379" v="1649" actId="478"/>
          <ac:spMkLst>
            <pc:docMk/>
            <pc:sldMk cId="906577703" sldId="2379"/>
            <ac:spMk id="27" creationId="{A01E2F4B-394F-4F5D-B1B4-7BABE701F0A9}"/>
          </ac:spMkLst>
        </pc:spChg>
      </pc:sldChg>
      <pc:sldChg chg="modSp add del mod">
        <pc:chgData name="Aurelien Domont" userId="6da7715ce44349b3" providerId="LiveId" clId="{900ED9AA-9E3E-4466-B9E3-DFC8365613D8}" dt="2022-03-22T03:34:44.474" v="3229" actId="47"/>
        <pc:sldMkLst>
          <pc:docMk/>
          <pc:sldMk cId="4110229542" sldId="2380"/>
        </pc:sldMkLst>
        <pc:spChg chg="mod">
          <ac:chgData name="Aurelien Domont" userId="6da7715ce44349b3" providerId="LiveId" clId="{900ED9AA-9E3E-4466-B9E3-DFC8365613D8}" dt="2022-03-17T04:57:30.707" v="1690" actId="1036"/>
          <ac:spMkLst>
            <pc:docMk/>
            <pc:sldMk cId="4110229542" sldId="2380"/>
            <ac:spMk id="17" creationId="{1D60CA45-0499-4729-83B1-A8C1762BAB05}"/>
          </ac:spMkLst>
        </pc:spChg>
      </pc:sldChg>
      <pc:sldChg chg="addSp modSp add mod">
        <pc:chgData name="Aurelien Domont" userId="6da7715ce44349b3" providerId="LiveId" clId="{900ED9AA-9E3E-4466-B9E3-DFC8365613D8}" dt="2022-03-17T05:04:08.633" v="1775" actId="20577"/>
        <pc:sldMkLst>
          <pc:docMk/>
          <pc:sldMk cId="413075639" sldId="2381"/>
        </pc:sldMkLst>
        <pc:spChg chg="add mod">
          <ac:chgData name="Aurelien Domont" userId="6da7715ce44349b3" providerId="LiveId" clId="{900ED9AA-9E3E-4466-B9E3-DFC8365613D8}" dt="2022-03-17T05:04:04.562" v="1774"/>
          <ac:spMkLst>
            <pc:docMk/>
            <pc:sldMk cId="413075639" sldId="2381"/>
            <ac:spMk id="11" creationId="{D4B684C3-F62C-46F9-A015-5B97B38A109B}"/>
          </ac:spMkLst>
        </pc:spChg>
        <pc:spChg chg="add mod">
          <ac:chgData name="Aurelien Domont" userId="6da7715ce44349b3" providerId="LiveId" clId="{900ED9AA-9E3E-4466-B9E3-DFC8365613D8}" dt="2022-03-17T05:04:08.633" v="1775" actId="20577"/>
          <ac:spMkLst>
            <pc:docMk/>
            <pc:sldMk cId="413075639" sldId="2381"/>
            <ac:spMk id="12" creationId="{F6047E7B-6356-4CB5-B57D-B95FE45B22EF}"/>
          </ac:spMkLst>
        </pc:spChg>
      </pc:sldChg>
      <pc:sldChg chg="addSp delSp modSp add mod ord">
        <pc:chgData name="Aurelien Domont" userId="6da7715ce44349b3" providerId="LiveId" clId="{900ED9AA-9E3E-4466-B9E3-DFC8365613D8}" dt="2022-03-17T05:06:42.394" v="1809"/>
        <pc:sldMkLst>
          <pc:docMk/>
          <pc:sldMk cId="2540020461" sldId="2382"/>
        </pc:sldMkLst>
        <pc:spChg chg="del">
          <ac:chgData name="Aurelien Domont" userId="6da7715ce44349b3" providerId="LiveId" clId="{900ED9AA-9E3E-4466-B9E3-DFC8365613D8}" dt="2022-03-17T05:05:22.381" v="1790" actId="478"/>
          <ac:spMkLst>
            <pc:docMk/>
            <pc:sldMk cId="2540020461" sldId="2382"/>
            <ac:spMk id="5" creationId="{2636D8C4-E160-4884-AA01-A27D8B36BFA9}"/>
          </ac:spMkLst>
        </pc:spChg>
        <pc:spChg chg="del">
          <ac:chgData name="Aurelien Domont" userId="6da7715ce44349b3" providerId="LiveId" clId="{900ED9AA-9E3E-4466-B9E3-DFC8365613D8}" dt="2022-03-17T05:05:22.381" v="1790" actId="478"/>
          <ac:spMkLst>
            <pc:docMk/>
            <pc:sldMk cId="2540020461" sldId="2382"/>
            <ac:spMk id="6" creationId="{FEDC8370-1B32-4472-B83B-6356FC3D9F79}"/>
          </ac:spMkLst>
        </pc:spChg>
        <pc:spChg chg="del">
          <ac:chgData name="Aurelien Domont" userId="6da7715ce44349b3" providerId="LiveId" clId="{900ED9AA-9E3E-4466-B9E3-DFC8365613D8}" dt="2022-03-17T05:05:22.381" v="1790" actId="478"/>
          <ac:spMkLst>
            <pc:docMk/>
            <pc:sldMk cId="2540020461" sldId="2382"/>
            <ac:spMk id="7" creationId="{C5841B67-67F7-4A34-A421-5CC1496A7D5D}"/>
          </ac:spMkLst>
        </pc:spChg>
        <pc:spChg chg="del">
          <ac:chgData name="Aurelien Domont" userId="6da7715ce44349b3" providerId="LiveId" clId="{900ED9AA-9E3E-4466-B9E3-DFC8365613D8}" dt="2022-03-17T05:05:22.381" v="1790" actId="478"/>
          <ac:spMkLst>
            <pc:docMk/>
            <pc:sldMk cId="2540020461" sldId="2382"/>
            <ac:spMk id="10" creationId="{2439648B-A943-434B-8703-A2B682F3E3CC}"/>
          </ac:spMkLst>
        </pc:spChg>
        <pc:spChg chg="del">
          <ac:chgData name="Aurelien Domont" userId="6da7715ce44349b3" providerId="LiveId" clId="{900ED9AA-9E3E-4466-B9E3-DFC8365613D8}" dt="2022-03-17T05:05:22.381" v="1790" actId="478"/>
          <ac:spMkLst>
            <pc:docMk/>
            <pc:sldMk cId="2540020461" sldId="2382"/>
            <ac:spMk id="11" creationId="{EEBB4A6E-AFDB-4E07-A786-9F24F3833997}"/>
          </ac:spMkLst>
        </pc:spChg>
        <pc:spChg chg="del">
          <ac:chgData name="Aurelien Domont" userId="6da7715ce44349b3" providerId="LiveId" clId="{900ED9AA-9E3E-4466-B9E3-DFC8365613D8}" dt="2022-03-17T05:05:22.381" v="1790" actId="478"/>
          <ac:spMkLst>
            <pc:docMk/>
            <pc:sldMk cId="2540020461" sldId="2382"/>
            <ac:spMk id="12" creationId="{A4770617-91BC-4B9D-9893-E088B4B5257D}"/>
          </ac:spMkLst>
        </pc:spChg>
        <pc:spChg chg="del">
          <ac:chgData name="Aurelien Domont" userId="6da7715ce44349b3" providerId="LiveId" clId="{900ED9AA-9E3E-4466-B9E3-DFC8365613D8}" dt="2022-03-17T05:05:22.381" v="1790" actId="478"/>
          <ac:spMkLst>
            <pc:docMk/>
            <pc:sldMk cId="2540020461" sldId="2382"/>
            <ac:spMk id="14" creationId="{B09A3AD3-C782-40B7-BA07-0BE2AC401212}"/>
          </ac:spMkLst>
        </pc:spChg>
        <pc:spChg chg="del">
          <ac:chgData name="Aurelien Domont" userId="6da7715ce44349b3" providerId="LiveId" clId="{900ED9AA-9E3E-4466-B9E3-DFC8365613D8}" dt="2022-03-17T05:05:22.381" v="1790" actId="478"/>
          <ac:spMkLst>
            <pc:docMk/>
            <pc:sldMk cId="2540020461" sldId="2382"/>
            <ac:spMk id="15" creationId="{3DD5379A-C518-4B17-B054-8355143F68B4}"/>
          </ac:spMkLst>
        </pc:spChg>
        <pc:spChg chg="mod">
          <ac:chgData name="Aurelien Domont" userId="6da7715ce44349b3" providerId="LiveId" clId="{900ED9AA-9E3E-4466-B9E3-DFC8365613D8}" dt="2022-03-17T05:05:50.452" v="1795" actId="20577"/>
          <ac:spMkLst>
            <pc:docMk/>
            <pc:sldMk cId="2540020461" sldId="2382"/>
            <ac:spMk id="16" creationId="{6C2BB713-9637-4B9B-938F-E9768876782A}"/>
          </ac:spMkLst>
        </pc:spChg>
        <pc:spChg chg="del">
          <ac:chgData name="Aurelien Domont" userId="6da7715ce44349b3" providerId="LiveId" clId="{900ED9AA-9E3E-4466-B9E3-DFC8365613D8}" dt="2022-03-17T05:05:22.381" v="1790" actId="478"/>
          <ac:spMkLst>
            <pc:docMk/>
            <pc:sldMk cId="2540020461" sldId="2382"/>
            <ac:spMk id="17" creationId="{5A8E5FBD-7A14-4D17-8D84-32CC4A3151B5}"/>
          </ac:spMkLst>
        </pc:spChg>
        <pc:spChg chg="add mod">
          <ac:chgData name="Aurelien Domont" userId="6da7715ce44349b3" providerId="LiveId" clId="{900ED9AA-9E3E-4466-B9E3-DFC8365613D8}" dt="2022-03-17T05:05:39.065" v="1792"/>
          <ac:spMkLst>
            <pc:docMk/>
            <pc:sldMk cId="2540020461" sldId="2382"/>
            <ac:spMk id="24" creationId="{30403C90-F1D5-4E35-B466-3238663BC9BF}"/>
          </ac:spMkLst>
        </pc:spChg>
        <pc:spChg chg="add mod">
          <ac:chgData name="Aurelien Domont" userId="6da7715ce44349b3" providerId="LiveId" clId="{900ED9AA-9E3E-4466-B9E3-DFC8365613D8}" dt="2022-03-17T05:05:39.065" v="1792"/>
          <ac:spMkLst>
            <pc:docMk/>
            <pc:sldMk cId="2540020461" sldId="2382"/>
            <ac:spMk id="25" creationId="{6C7D384E-1538-49F1-9B23-308AB12E18DB}"/>
          </ac:spMkLst>
        </pc:spChg>
        <pc:spChg chg="add mod">
          <ac:chgData name="Aurelien Domont" userId="6da7715ce44349b3" providerId="LiveId" clId="{900ED9AA-9E3E-4466-B9E3-DFC8365613D8}" dt="2022-03-17T05:05:39.065" v="1792"/>
          <ac:spMkLst>
            <pc:docMk/>
            <pc:sldMk cId="2540020461" sldId="2382"/>
            <ac:spMk id="28" creationId="{03D40385-C3C7-47FE-9B35-ED7042FC325B}"/>
          </ac:spMkLst>
        </pc:spChg>
        <pc:spChg chg="add mod">
          <ac:chgData name="Aurelien Domont" userId="6da7715ce44349b3" providerId="LiveId" clId="{900ED9AA-9E3E-4466-B9E3-DFC8365613D8}" dt="2022-03-17T05:05:39.065" v="1792"/>
          <ac:spMkLst>
            <pc:docMk/>
            <pc:sldMk cId="2540020461" sldId="2382"/>
            <ac:spMk id="29" creationId="{03EEB791-AE33-4A79-BE7E-A9DADFEB1F9D}"/>
          </ac:spMkLst>
        </pc:spChg>
        <pc:spChg chg="add mod">
          <ac:chgData name="Aurelien Domont" userId="6da7715ce44349b3" providerId="LiveId" clId="{900ED9AA-9E3E-4466-B9E3-DFC8365613D8}" dt="2022-03-17T05:05:39.065" v="1792"/>
          <ac:spMkLst>
            <pc:docMk/>
            <pc:sldMk cId="2540020461" sldId="2382"/>
            <ac:spMk id="30" creationId="{065FB656-D113-4FD2-A760-2491AECDEAE5}"/>
          </ac:spMkLst>
        </pc:spChg>
        <pc:spChg chg="add mod">
          <ac:chgData name="Aurelien Domont" userId="6da7715ce44349b3" providerId="LiveId" clId="{900ED9AA-9E3E-4466-B9E3-DFC8365613D8}" dt="2022-03-17T05:05:39.065" v="1792"/>
          <ac:spMkLst>
            <pc:docMk/>
            <pc:sldMk cId="2540020461" sldId="2382"/>
            <ac:spMk id="31" creationId="{D8BF6857-033D-461B-8EB6-94B7F4B61B98}"/>
          </ac:spMkLst>
        </pc:spChg>
        <pc:spChg chg="add mod">
          <ac:chgData name="Aurelien Domont" userId="6da7715ce44349b3" providerId="LiveId" clId="{900ED9AA-9E3E-4466-B9E3-DFC8365613D8}" dt="2022-03-17T05:05:39.065" v="1792"/>
          <ac:spMkLst>
            <pc:docMk/>
            <pc:sldMk cId="2540020461" sldId="2382"/>
            <ac:spMk id="32" creationId="{8642ED43-4C72-442E-AC46-B77976C10869}"/>
          </ac:spMkLst>
        </pc:spChg>
        <pc:spChg chg="add mod">
          <ac:chgData name="Aurelien Domont" userId="6da7715ce44349b3" providerId="LiveId" clId="{900ED9AA-9E3E-4466-B9E3-DFC8365613D8}" dt="2022-03-17T05:05:39.065" v="1792"/>
          <ac:spMkLst>
            <pc:docMk/>
            <pc:sldMk cId="2540020461" sldId="2382"/>
            <ac:spMk id="33" creationId="{B7CA782E-94E1-4236-95B1-B28ECF21BB60}"/>
          </ac:spMkLst>
        </pc:spChg>
        <pc:spChg chg="add mod">
          <ac:chgData name="Aurelien Domont" userId="6da7715ce44349b3" providerId="LiveId" clId="{900ED9AA-9E3E-4466-B9E3-DFC8365613D8}" dt="2022-03-17T05:05:39.065" v="1792"/>
          <ac:spMkLst>
            <pc:docMk/>
            <pc:sldMk cId="2540020461" sldId="2382"/>
            <ac:spMk id="34" creationId="{C1B6AF04-8BFC-460F-A6B5-19E06206C141}"/>
          </ac:spMkLst>
        </pc:spChg>
        <pc:spChg chg="add mod">
          <ac:chgData name="Aurelien Domont" userId="6da7715ce44349b3" providerId="LiveId" clId="{900ED9AA-9E3E-4466-B9E3-DFC8365613D8}" dt="2022-03-17T05:05:39.065" v="1792"/>
          <ac:spMkLst>
            <pc:docMk/>
            <pc:sldMk cId="2540020461" sldId="2382"/>
            <ac:spMk id="35" creationId="{B26F8E9F-1A93-411E-B4DE-890EA5E95AD5}"/>
          </ac:spMkLst>
        </pc:spChg>
        <pc:spChg chg="add mod">
          <ac:chgData name="Aurelien Domont" userId="6da7715ce44349b3" providerId="LiveId" clId="{900ED9AA-9E3E-4466-B9E3-DFC8365613D8}" dt="2022-03-17T05:05:39.065" v="1792"/>
          <ac:spMkLst>
            <pc:docMk/>
            <pc:sldMk cId="2540020461" sldId="2382"/>
            <ac:spMk id="36" creationId="{876AF891-B9B1-446F-848F-EE85F4C54191}"/>
          </ac:spMkLst>
        </pc:spChg>
        <pc:spChg chg="add mod">
          <ac:chgData name="Aurelien Domont" userId="6da7715ce44349b3" providerId="LiveId" clId="{900ED9AA-9E3E-4466-B9E3-DFC8365613D8}" dt="2022-03-17T05:05:39.065" v="1792"/>
          <ac:spMkLst>
            <pc:docMk/>
            <pc:sldMk cId="2540020461" sldId="2382"/>
            <ac:spMk id="37" creationId="{F3013BB0-57DA-405A-976C-5BD2C524FFB0}"/>
          </ac:spMkLst>
        </pc:spChg>
        <pc:spChg chg="add mod">
          <ac:chgData name="Aurelien Domont" userId="6da7715ce44349b3" providerId="LiveId" clId="{900ED9AA-9E3E-4466-B9E3-DFC8365613D8}" dt="2022-03-17T05:05:39.065" v="1792"/>
          <ac:spMkLst>
            <pc:docMk/>
            <pc:sldMk cId="2540020461" sldId="2382"/>
            <ac:spMk id="38" creationId="{D83D82D2-FE11-40FD-AC03-89C2A8067949}"/>
          </ac:spMkLst>
        </pc:spChg>
        <pc:spChg chg="add mod">
          <ac:chgData name="Aurelien Domont" userId="6da7715ce44349b3" providerId="LiveId" clId="{900ED9AA-9E3E-4466-B9E3-DFC8365613D8}" dt="2022-03-17T05:05:39.065" v="1792"/>
          <ac:spMkLst>
            <pc:docMk/>
            <pc:sldMk cId="2540020461" sldId="2382"/>
            <ac:spMk id="39" creationId="{E1FEE41E-8E8D-4343-9BB7-707972E45999}"/>
          </ac:spMkLst>
        </pc:spChg>
        <pc:cxnChg chg="del mod">
          <ac:chgData name="Aurelien Domont" userId="6da7715ce44349b3" providerId="LiveId" clId="{900ED9AA-9E3E-4466-B9E3-DFC8365613D8}" dt="2022-03-17T05:05:22.381" v="1790" actId="478"/>
          <ac:cxnSpMkLst>
            <pc:docMk/>
            <pc:sldMk cId="2540020461" sldId="2382"/>
            <ac:cxnSpMk id="8" creationId="{38635D47-71BC-4408-9BB9-3CB38F1037D8}"/>
          </ac:cxnSpMkLst>
        </pc:cxnChg>
        <pc:cxnChg chg="del mod">
          <ac:chgData name="Aurelien Domont" userId="6da7715ce44349b3" providerId="LiveId" clId="{900ED9AA-9E3E-4466-B9E3-DFC8365613D8}" dt="2022-03-17T05:05:22.381" v="1790" actId="478"/>
          <ac:cxnSpMkLst>
            <pc:docMk/>
            <pc:sldMk cId="2540020461" sldId="2382"/>
            <ac:cxnSpMk id="9" creationId="{8EEF5A5E-69DC-4450-BCCB-82F0B486673C}"/>
          </ac:cxnSpMkLst>
        </pc:cxnChg>
        <pc:cxnChg chg="del mod">
          <ac:chgData name="Aurelien Domont" userId="6da7715ce44349b3" providerId="LiveId" clId="{900ED9AA-9E3E-4466-B9E3-DFC8365613D8}" dt="2022-03-17T05:05:22.381" v="1790" actId="478"/>
          <ac:cxnSpMkLst>
            <pc:docMk/>
            <pc:sldMk cId="2540020461" sldId="2382"/>
            <ac:cxnSpMk id="18" creationId="{EADB9350-AA05-41AB-BD43-D721D1F89535}"/>
          </ac:cxnSpMkLst>
        </pc:cxnChg>
        <pc:cxnChg chg="del mod">
          <ac:chgData name="Aurelien Domont" userId="6da7715ce44349b3" providerId="LiveId" clId="{900ED9AA-9E3E-4466-B9E3-DFC8365613D8}" dt="2022-03-17T05:05:22.381" v="1790" actId="478"/>
          <ac:cxnSpMkLst>
            <pc:docMk/>
            <pc:sldMk cId="2540020461" sldId="2382"/>
            <ac:cxnSpMk id="19" creationId="{0E52B779-997A-4CE1-B44C-88A76DEA89CE}"/>
          </ac:cxnSpMkLst>
        </pc:cxnChg>
        <pc:cxnChg chg="del mod">
          <ac:chgData name="Aurelien Domont" userId="6da7715ce44349b3" providerId="LiveId" clId="{900ED9AA-9E3E-4466-B9E3-DFC8365613D8}" dt="2022-03-17T05:05:22.381" v="1790" actId="478"/>
          <ac:cxnSpMkLst>
            <pc:docMk/>
            <pc:sldMk cId="2540020461" sldId="2382"/>
            <ac:cxnSpMk id="20" creationId="{844636A1-19B4-42FD-A987-FB924BEE30C1}"/>
          </ac:cxnSpMkLst>
        </pc:cxnChg>
        <pc:cxnChg chg="del mod">
          <ac:chgData name="Aurelien Domont" userId="6da7715ce44349b3" providerId="LiveId" clId="{900ED9AA-9E3E-4466-B9E3-DFC8365613D8}" dt="2022-03-17T05:05:22.381" v="1790" actId="478"/>
          <ac:cxnSpMkLst>
            <pc:docMk/>
            <pc:sldMk cId="2540020461" sldId="2382"/>
            <ac:cxnSpMk id="21" creationId="{3B5907D6-914B-4353-B81C-051AFA2A836D}"/>
          </ac:cxnSpMkLst>
        </pc:cxnChg>
        <pc:cxnChg chg="del mod">
          <ac:chgData name="Aurelien Domont" userId="6da7715ce44349b3" providerId="LiveId" clId="{900ED9AA-9E3E-4466-B9E3-DFC8365613D8}" dt="2022-03-17T05:05:22.381" v="1790" actId="478"/>
          <ac:cxnSpMkLst>
            <pc:docMk/>
            <pc:sldMk cId="2540020461" sldId="2382"/>
            <ac:cxnSpMk id="22" creationId="{7DAA6AFB-F5AD-47E8-B62F-56081C9AC535}"/>
          </ac:cxnSpMkLst>
        </pc:cxnChg>
        <pc:cxnChg chg="del mod">
          <ac:chgData name="Aurelien Domont" userId="6da7715ce44349b3" providerId="LiveId" clId="{900ED9AA-9E3E-4466-B9E3-DFC8365613D8}" dt="2022-03-17T05:05:22.381" v="1790" actId="478"/>
          <ac:cxnSpMkLst>
            <pc:docMk/>
            <pc:sldMk cId="2540020461" sldId="2382"/>
            <ac:cxnSpMk id="23" creationId="{D3786C36-C0A2-4925-B5C3-ED221FF47D32}"/>
          </ac:cxnSpMkLst>
        </pc:cxnChg>
        <pc:cxnChg chg="add mod">
          <ac:chgData name="Aurelien Domont" userId="6da7715ce44349b3" providerId="LiveId" clId="{900ED9AA-9E3E-4466-B9E3-DFC8365613D8}" dt="2022-03-17T05:05:42.756" v="1793" actId="208"/>
          <ac:cxnSpMkLst>
            <pc:docMk/>
            <pc:sldMk cId="2540020461" sldId="2382"/>
            <ac:cxnSpMk id="26" creationId="{8EC0007C-E513-4AB4-A40D-711D20E0E41F}"/>
          </ac:cxnSpMkLst>
        </pc:cxnChg>
        <pc:cxnChg chg="add mod">
          <ac:chgData name="Aurelien Domont" userId="6da7715ce44349b3" providerId="LiveId" clId="{900ED9AA-9E3E-4466-B9E3-DFC8365613D8}" dt="2022-03-17T05:05:42.756" v="1793" actId="208"/>
          <ac:cxnSpMkLst>
            <pc:docMk/>
            <pc:sldMk cId="2540020461" sldId="2382"/>
            <ac:cxnSpMk id="27" creationId="{B73B311E-D3E5-452A-8580-60AA5233236C}"/>
          </ac:cxnSpMkLst>
        </pc:cxnChg>
        <pc:cxnChg chg="add mod">
          <ac:chgData name="Aurelien Domont" userId="6da7715ce44349b3" providerId="LiveId" clId="{900ED9AA-9E3E-4466-B9E3-DFC8365613D8}" dt="2022-03-17T05:05:42.756" v="1793" actId="208"/>
          <ac:cxnSpMkLst>
            <pc:docMk/>
            <pc:sldMk cId="2540020461" sldId="2382"/>
            <ac:cxnSpMk id="40" creationId="{7B352D29-2243-41B9-A70B-3F00726F14D0}"/>
          </ac:cxnSpMkLst>
        </pc:cxnChg>
        <pc:cxnChg chg="add mod">
          <ac:chgData name="Aurelien Domont" userId="6da7715ce44349b3" providerId="LiveId" clId="{900ED9AA-9E3E-4466-B9E3-DFC8365613D8}" dt="2022-03-17T05:05:42.756" v="1793" actId="208"/>
          <ac:cxnSpMkLst>
            <pc:docMk/>
            <pc:sldMk cId="2540020461" sldId="2382"/>
            <ac:cxnSpMk id="41" creationId="{44D961CE-A46B-454A-8A9B-AB9864E82EBC}"/>
          </ac:cxnSpMkLst>
        </pc:cxnChg>
        <pc:cxnChg chg="add mod">
          <ac:chgData name="Aurelien Domont" userId="6da7715ce44349b3" providerId="LiveId" clId="{900ED9AA-9E3E-4466-B9E3-DFC8365613D8}" dt="2022-03-17T05:05:45.140" v="1794" actId="208"/>
          <ac:cxnSpMkLst>
            <pc:docMk/>
            <pc:sldMk cId="2540020461" sldId="2382"/>
            <ac:cxnSpMk id="42" creationId="{5B1B0186-56AD-4BF7-A6A2-9CD4D06AC7D5}"/>
          </ac:cxnSpMkLst>
        </pc:cxnChg>
        <pc:cxnChg chg="add mod">
          <ac:chgData name="Aurelien Domont" userId="6da7715ce44349b3" providerId="LiveId" clId="{900ED9AA-9E3E-4466-B9E3-DFC8365613D8}" dt="2022-03-17T05:05:45.140" v="1794" actId="208"/>
          <ac:cxnSpMkLst>
            <pc:docMk/>
            <pc:sldMk cId="2540020461" sldId="2382"/>
            <ac:cxnSpMk id="43" creationId="{74E35CA5-DEA9-4C7E-BA1F-8E6098F91735}"/>
          </ac:cxnSpMkLst>
        </pc:cxnChg>
        <pc:cxnChg chg="add mod">
          <ac:chgData name="Aurelien Domont" userId="6da7715ce44349b3" providerId="LiveId" clId="{900ED9AA-9E3E-4466-B9E3-DFC8365613D8}" dt="2022-03-17T05:05:45.140" v="1794" actId="208"/>
          <ac:cxnSpMkLst>
            <pc:docMk/>
            <pc:sldMk cId="2540020461" sldId="2382"/>
            <ac:cxnSpMk id="44" creationId="{C9943C9C-100A-4E00-B81B-CA7BE730AB1E}"/>
          </ac:cxnSpMkLst>
        </pc:cxnChg>
        <pc:cxnChg chg="add mod">
          <ac:chgData name="Aurelien Domont" userId="6da7715ce44349b3" providerId="LiveId" clId="{900ED9AA-9E3E-4466-B9E3-DFC8365613D8}" dt="2022-03-17T05:05:45.140" v="1794" actId="208"/>
          <ac:cxnSpMkLst>
            <pc:docMk/>
            <pc:sldMk cId="2540020461" sldId="2382"/>
            <ac:cxnSpMk id="45" creationId="{21F4BA30-A55F-45DB-AABF-8238CB1A8E49}"/>
          </ac:cxnSpMkLst>
        </pc:cxnChg>
        <pc:cxnChg chg="add mod">
          <ac:chgData name="Aurelien Domont" userId="6da7715ce44349b3" providerId="LiveId" clId="{900ED9AA-9E3E-4466-B9E3-DFC8365613D8}" dt="2022-03-17T05:05:45.140" v="1794" actId="208"/>
          <ac:cxnSpMkLst>
            <pc:docMk/>
            <pc:sldMk cId="2540020461" sldId="2382"/>
            <ac:cxnSpMk id="46" creationId="{97AADC69-E3BC-4238-9FA0-DB043E7EB01A}"/>
          </ac:cxnSpMkLst>
        </pc:cxnChg>
        <pc:cxnChg chg="add mod">
          <ac:chgData name="Aurelien Domont" userId="6da7715ce44349b3" providerId="LiveId" clId="{900ED9AA-9E3E-4466-B9E3-DFC8365613D8}" dt="2022-03-17T05:05:45.140" v="1794" actId="208"/>
          <ac:cxnSpMkLst>
            <pc:docMk/>
            <pc:sldMk cId="2540020461" sldId="2382"/>
            <ac:cxnSpMk id="47" creationId="{2066C43A-1889-49A2-84D5-BF058B2CB25B}"/>
          </ac:cxnSpMkLst>
        </pc:cxnChg>
        <pc:cxnChg chg="add mod">
          <ac:chgData name="Aurelien Domont" userId="6da7715ce44349b3" providerId="LiveId" clId="{900ED9AA-9E3E-4466-B9E3-DFC8365613D8}" dt="2022-03-17T05:05:45.140" v="1794" actId="208"/>
          <ac:cxnSpMkLst>
            <pc:docMk/>
            <pc:sldMk cId="2540020461" sldId="2382"/>
            <ac:cxnSpMk id="48" creationId="{266536B8-75FF-4E60-825F-BB286777C7F5}"/>
          </ac:cxnSpMkLst>
        </pc:cxnChg>
        <pc:cxnChg chg="add mod">
          <ac:chgData name="Aurelien Domont" userId="6da7715ce44349b3" providerId="LiveId" clId="{900ED9AA-9E3E-4466-B9E3-DFC8365613D8}" dt="2022-03-17T05:05:45.140" v="1794" actId="208"/>
          <ac:cxnSpMkLst>
            <pc:docMk/>
            <pc:sldMk cId="2540020461" sldId="2382"/>
            <ac:cxnSpMk id="49" creationId="{0C28A3CD-0670-465A-BE85-CB43CB364955}"/>
          </ac:cxnSpMkLst>
        </pc:cxnChg>
      </pc:sldChg>
      <pc:sldChg chg="addSp modSp add mod">
        <pc:chgData name="Aurelien Domont" userId="6da7715ce44349b3" providerId="LiveId" clId="{900ED9AA-9E3E-4466-B9E3-DFC8365613D8}" dt="2022-03-17T05:07:01.420" v="1814" actId="20577"/>
        <pc:sldMkLst>
          <pc:docMk/>
          <pc:sldMk cId="2690114265" sldId="2383"/>
        </pc:sldMkLst>
        <pc:spChg chg="add mod">
          <ac:chgData name="Aurelien Domont" userId="6da7715ce44349b3" providerId="LiveId" clId="{900ED9AA-9E3E-4466-B9E3-DFC8365613D8}" dt="2022-03-17T05:06:57.718" v="1813"/>
          <ac:spMkLst>
            <pc:docMk/>
            <pc:sldMk cId="2690114265" sldId="2383"/>
            <ac:spMk id="10" creationId="{54AD069F-52EA-4C13-9AD8-628102265E7E}"/>
          </ac:spMkLst>
        </pc:spChg>
        <pc:spChg chg="add mod">
          <ac:chgData name="Aurelien Domont" userId="6da7715ce44349b3" providerId="LiveId" clId="{900ED9AA-9E3E-4466-B9E3-DFC8365613D8}" dt="2022-03-17T05:07:01.420" v="1814" actId="20577"/>
          <ac:spMkLst>
            <pc:docMk/>
            <pc:sldMk cId="2690114265" sldId="2383"/>
            <ac:spMk id="11" creationId="{8E410B6E-1131-4453-88AB-1997DA8DD34A}"/>
          </ac:spMkLst>
        </pc:spChg>
      </pc:sldChg>
      <pc:sldChg chg="modSp add del mod">
        <pc:chgData name="Aurelien Domont" userId="6da7715ce44349b3" providerId="LiveId" clId="{900ED9AA-9E3E-4466-B9E3-DFC8365613D8}" dt="2022-03-22T03:34:59.162" v="3254" actId="47"/>
        <pc:sldMkLst>
          <pc:docMk/>
          <pc:sldMk cId="3145441393" sldId="2384"/>
        </pc:sldMkLst>
        <pc:spChg chg="mod">
          <ac:chgData name="Aurelien Domont" userId="6da7715ce44349b3" providerId="LiveId" clId="{900ED9AA-9E3E-4466-B9E3-DFC8365613D8}" dt="2022-03-17T05:07:48.376" v="1836" actId="14100"/>
          <ac:spMkLst>
            <pc:docMk/>
            <pc:sldMk cId="3145441393" sldId="2384"/>
            <ac:spMk id="17" creationId="{1D60CA45-0499-4729-83B1-A8C1762BAB05}"/>
          </ac:spMkLst>
        </pc:spChg>
      </pc:sldChg>
      <pc:sldChg chg="addSp delSp modSp add mod ord">
        <pc:chgData name="Aurelien Domont" userId="6da7715ce44349b3" providerId="LiveId" clId="{900ED9AA-9E3E-4466-B9E3-DFC8365613D8}" dt="2022-03-17T05:28:20.807" v="2076" actId="20577"/>
        <pc:sldMkLst>
          <pc:docMk/>
          <pc:sldMk cId="1217256635" sldId="2385"/>
        </pc:sldMkLst>
        <pc:spChg chg="del">
          <ac:chgData name="Aurelien Domont" userId="6da7715ce44349b3" providerId="LiveId" clId="{900ED9AA-9E3E-4466-B9E3-DFC8365613D8}" dt="2022-03-17T05:13:15.065" v="1855" actId="478"/>
          <ac:spMkLst>
            <pc:docMk/>
            <pc:sldMk cId="1217256635" sldId="2385"/>
            <ac:spMk id="6" creationId="{73F8416A-AC64-451F-8B00-C47D484A1B81}"/>
          </ac:spMkLst>
        </pc:spChg>
        <pc:spChg chg="add mod">
          <ac:chgData name="Aurelien Domont" userId="6da7715ce44349b3" providerId="LiveId" clId="{900ED9AA-9E3E-4466-B9E3-DFC8365613D8}" dt="2022-03-17T05:27:39.135" v="2060" actId="20577"/>
          <ac:spMkLst>
            <pc:docMk/>
            <pc:sldMk cId="1217256635" sldId="2385"/>
            <ac:spMk id="7" creationId="{C302A032-5BF0-4EE3-92A2-AA88F1CDEAEC}"/>
          </ac:spMkLst>
        </pc:spChg>
        <pc:spChg chg="add mod">
          <ac:chgData name="Aurelien Domont" userId="6da7715ce44349b3" providerId="LiveId" clId="{900ED9AA-9E3E-4466-B9E3-DFC8365613D8}" dt="2022-03-17T05:15:58.005" v="1898" actId="20577"/>
          <ac:spMkLst>
            <pc:docMk/>
            <pc:sldMk cId="1217256635" sldId="2385"/>
            <ac:spMk id="8" creationId="{D30A8C7C-8A3D-4C96-9BD7-8EDF86F70626}"/>
          </ac:spMkLst>
        </pc:spChg>
        <pc:spChg chg="add mod">
          <ac:chgData name="Aurelien Domont" userId="6da7715ce44349b3" providerId="LiveId" clId="{900ED9AA-9E3E-4466-B9E3-DFC8365613D8}" dt="2022-03-17T05:19:21.331" v="2022" actId="20577"/>
          <ac:spMkLst>
            <pc:docMk/>
            <pc:sldMk cId="1217256635" sldId="2385"/>
            <ac:spMk id="9" creationId="{67FF1CC1-D517-4FCE-8E3D-4E1DD87A50A1}"/>
          </ac:spMkLst>
        </pc:spChg>
        <pc:spChg chg="add mod">
          <ac:chgData name="Aurelien Domont" userId="6da7715ce44349b3" providerId="LiveId" clId="{900ED9AA-9E3E-4466-B9E3-DFC8365613D8}" dt="2022-03-17T05:28:20.807" v="2076" actId="20577"/>
          <ac:spMkLst>
            <pc:docMk/>
            <pc:sldMk cId="1217256635" sldId="2385"/>
            <ac:spMk id="10" creationId="{2220643C-D86D-4D8A-A40E-2187BD647FAD}"/>
          </ac:spMkLst>
        </pc:spChg>
        <pc:spChg chg="add mod">
          <ac:chgData name="Aurelien Domont" userId="6da7715ce44349b3" providerId="LiveId" clId="{900ED9AA-9E3E-4466-B9E3-DFC8365613D8}" dt="2022-03-17T05:28:13.225" v="2065" actId="20577"/>
          <ac:spMkLst>
            <pc:docMk/>
            <pc:sldMk cId="1217256635" sldId="2385"/>
            <ac:spMk id="11" creationId="{6C482575-72E2-4E8E-8B61-826ADDDE36CD}"/>
          </ac:spMkLst>
        </pc:spChg>
        <pc:spChg chg="add mod">
          <ac:chgData name="Aurelien Domont" userId="6da7715ce44349b3" providerId="LiveId" clId="{900ED9AA-9E3E-4466-B9E3-DFC8365613D8}" dt="2022-03-17T05:17:02.265" v="1941" actId="20577"/>
          <ac:spMkLst>
            <pc:docMk/>
            <pc:sldMk cId="1217256635" sldId="2385"/>
            <ac:spMk id="12" creationId="{D123E43C-C969-4A14-BB04-0215E20F0E81}"/>
          </ac:spMkLst>
        </pc:spChg>
        <pc:spChg chg="mod">
          <ac:chgData name="Aurelien Domont" userId="6da7715ce44349b3" providerId="LiveId" clId="{900ED9AA-9E3E-4466-B9E3-DFC8365613D8}" dt="2022-03-17T05:13:24.218" v="1866" actId="20577"/>
          <ac:spMkLst>
            <pc:docMk/>
            <pc:sldMk cId="1217256635" sldId="2385"/>
            <ac:spMk id="16" creationId="{6C2BB713-9637-4B9B-938F-E9768876782A}"/>
          </ac:spMkLst>
        </pc:spChg>
        <pc:cxnChg chg="add mod">
          <ac:chgData name="Aurelien Domont" userId="6da7715ce44349b3" providerId="LiveId" clId="{900ED9AA-9E3E-4466-B9E3-DFC8365613D8}" dt="2022-03-17T05:13:20.395" v="1856"/>
          <ac:cxnSpMkLst>
            <pc:docMk/>
            <pc:sldMk cId="1217256635" sldId="2385"/>
            <ac:cxnSpMk id="14" creationId="{B8324899-0719-4511-BFE4-C73DD8E50AC8}"/>
          </ac:cxnSpMkLst>
        </pc:cxnChg>
        <pc:cxnChg chg="add mod">
          <ac:chgData name="Aurelien Domont" userId="6da7715ce44349b3" providerId="LiveId" clId="{900ED9AA-9E3E-4466-B9E3-DFC8365613D8}" dt="2022-03-17T05:13:20.395" v="1856"/>
          <ac:cxnSpMkLst>
            <pc:docMk/>
            <pc:sldMk cId="1217256635" sldId="2385"/>
            <ac:cxnSpMk id="15" creationId="{F4D2569A-819A-453A-B982-B0E6BA07F912}"/>
          </ac:cxnSpMkLst>
        </pc:cxnChg>
        <pc:cxnChg chg="add mod">
          <ac:chgData name="Aurelien Domont" userId="6da7715ce44349b3" providerId="LiveId" clId="{900ED9AA-9E3E-4466-B9E3-DFC8365613D8}" dt="2022-03-17T05:13:20.395" v="1856"/>
          <ac:cxnSpMkLst>
            <pc:docMk/>
            <pc:sldMk cId="1217256635" sldId="2385"/>
            <ac:cxnSpMk id="17" creationId="{DB482B92-158D-465B-A84E-D1906EED7CD9}"/>
          </ac:cxnSpMkLst>
        </pc:cxnChg>
        <pc:cxnChg chg="add mod">
          <ac:chgData name="Aurelien Domont" userId="6da7715ce44349b3" providerId="LiveId" clId="{900ED9AA-9E3E-4466-B9E3-DFC8365613D8}" dt="2022-03-17T05:13:20.395" v="1856"/>
          <ac:cxnSpMkLst>
            <pc:docMk/>
            <pc:sldMk cId="1217256635" sldId="2385"/>
            <ac:cxnSpMk id="18" creationId="{4371CAEB-70EA-4139-BFF3-1B346EDB04D4}"/>
          </ac:cxnSpMkLst>
        </pc:cxnChg>
        <pc:cxnChg chg="add mod">
          <ac:chgData name="Aurelien Domont" userId="6da7715ce44349b3" providerId="LiveId" clId="{900ED9AA-9E3E-4466-B9E3-DFC8365613D8}" dt="2022-03-17T05:13:20.395" v="1856"/>
          <ac:cxnSpMkLst>
            <pc:docMk/>
            <pc:sldMk cId="1217256635" sldId="2385"/>
            <ac:cxnSpMk id="19" creationId="{E3E9D258-4BF9-42B5-B352-F51D4568B1D2}"/>
          </ac:cxnSpMkLst>
        </pc:cxnChg>
      </pc:sldChg>
      <pc:sldChg chg="addSp modSp add">
        <pc:chgData name="Aurelien Domont" userId="6da7715ce44349b3" providerId="LiveId" clId="{900ED9AA-9E3E-4466-B9E3-DFC8365613D8}" dt="2022-03-17T05:29:02.823" v="2078"/>
        <pc:sldMkLst>
          <pc:docMk/>
          <pc:sldMk cId="136462931" sldId="2386"/>
        </pc:sldMkLst>
        <pc:spChg chg="add mod">
          <ac:chgData name="Aurelien Domont" userId="6da7715ce44349b3" providerId="LiveId" clId="{900ED9AA-9E3E-4466-B9E3-DFC8365613D8}" dt="2022-03-17T05:29:02.823" v="2078"/>
          <ac:spMkLst>
            <pc:docMk/>
            <pc:sldMk cId="136462931" sldId="2386"/>
            <ac:spMk id="20" creationId="{44E54292-CFB0-4E75-9EDC-367F58791BA8}"/>
          </ac:spMkLst>
        </pc:spChg>
        <pc:spChg chg="add mod">
          <ac:chgData name="Aurelien Domont" userId="6da7715ce44349b3" providerId="LiveId" clId="{900ED9AA-9E3E-4466-B9E3-DFC8365613D8}" dt="2022-03-17T05:29:02.823" v="2078"/>
          <ac:spMkLst>
            <pc:docMk/>
            <pc:sldMk cId="136462931" sldId="2386"/>
            <ac:spMk id="21" creationId="{4D26113C-D99E-452F-8314-AAD12BB10FF6}"/>
          </ac:spMkLst>
        </pc:spChg>
      </pc:sldChg>
      <pc:sldChg chg="modSp add del mod">
        <pc:chgData name="Aurelien Domont" userId="6da7715ce44349b3" providerId="LiveId" clId="{900ED9AA-9E3E-4466-B9E3-DFC8365613D8}" dt="2022-03-22T03:35:14.384" v="3283" actId="47"/>
        <pc:sldMkLst>
          <pc:docMk/>
          <pc:sldMk cId="26010773" sldId="2387"/>
        </pc:sldMkLst>
        <pc:spChg chg="mod">
          <ac:chgData name="Aurelien Domont" userId="6da7715ce44349b3" providerId="LiveId" clId="{900ED9AA-9E3E-4466-B9E3-DFC8365613D8}" dt="2022-03-17T05:29:47.702" v="2095" actId="1036"/>
          <ac:spMkLst>
            <pc:docMk/>
            <pc:sldMk cId="26010773" sldId="2387"/>
            <ac:spMk id="17" creationId="{1D60CA45-0499-4729-83B1-A8C1762BAB05}"/>
          </ac:spMkLst>
        </pc:spChg>
      </pc:sldChg>
      <pc:sldChg chg="modSp add del mod">
        <pc:chgData name="Aurelien Domont" userId="6da7715ce44349b3" providerId="LiveId" clId="{900ED9AA-9E3E-4466-B9E3-DFC8365613D8}" dt="2022-03-22T03:35:24.656" v="3299" actId="47"/>
        <pc:sldMkLst>
          <pc:docMk/>
          <pc:sldMk cId="2422356371" sldId="2388"/>
        </pc:sldMkLst>
        <pc:spChg chg="mod">
          <ac:chgData name="Aurelien Domont" userId="6da7715ce44349b3" providerId="LiveId" clId="{900ED9AA-9E3E-4466-B9E3-DFC8365613D8}" dt="2022-03-17T05:38:31.983" v="2197" actId="14100"/>
          <ac:spMkLst>
            <pc:docMk/>
            <pc:sldMk cId="2422356371" sldId="2388"/>
            <ac:spMk id="17" creationId="{1D60CA45-0499-4729-83B1-A8C1762BAB05}"/>
          </ac:spMkLst>
        </pc:spChg>
      </pc:sldChg>
      <pc:sldChg chg="addSp delSp modSp add mod">
        <pc:chgData name="Aurelien Domont" userId="6da7715ce44349b3" providerId="LiveId" clId="{900ED9AA-9E3E-4466-B9E3-DFC8365613D8}" dt="2022-03-18T04:19:48.521" v="3156" actId="1038"/>
        <pc:sldMkLst>
          <pc:docMk/>
          <pc:sldMk cId="2287265630" sldId="2389"/>
        </pc:sldMkLst>
        <pc:spChg chg="del mod">
          <ac:chgData name="Aurelien Domont" userId="6da7715ce44349b3" providerId="LiveId" clId="{900ED9AA-9E3E-4466-B9E3-DFC8365613D8}" dt="2022-03-18T03:46:15.831" v="2896" actId="478"/>
          <ac:spMkLst>
            <pc:docMk/>
            <pc:sldMk cId="2287265630" sldId="2389"/>
            <ac:spMk id="3" creationId="{CE2529A3-BA97-486F-9E02-8DFAAA7D8D38}"/>
          </ac:spMkLst>
        </pc:spChg>
        <pc:spChg chg="del">
          <ac:chgData name="Aurelien Domont" userId="6da7715ce44349b3" providerId="LiveId" clId="{900ED9AA-9E3E-4466-B9E3-DFC8365613D8}" dt="2022-03-17T05:40:13.072" v="2207" actId="478"/>
          <ac:spMkLst>
            <pc:docMk/>
            <pc:sldMk cId="2287265630" sldId="2389"/>
            <ac:spMk id="7" creationId="{F3D92D05-F38F-4E1E-98FA-8C91E0943E10}"/>
          </ac:spMkLst>
        </pc:spChg>
        <pc:spChg chg="del">
          <ac:chgData name="Aurelien Domont" userId="6da7715ce44349b3" providerId="LiveId" clId="{900ED9AA-9E3E-4466-B9E3-DFC8365613D8}" dt="2022-03-17T05:40:13.072" v="2207" actId="478"/>
          <ac:spMkLst>
            <pc:docMk/>
            <pc:sldMk cId="2287265630" sldId="2389"/>
            <ac:spMk id="8" creationId="{AACC707B-7DF4-4BD3-8C2B-1CB9E338575A}"/>
          </ac:spMkLst>
        </pc:spChg>
        <pc:spChg chg="del">
          <ac:chgData name="Aurelien Domont" userId="6da7715ce44349b3" providerId="LiveId" clId="{900ED9AA-9E3E-4466-B9E3-DFC8365613D8}" dt="2022-03-17T05:40:13.072" v="2207" actId="478"/>
          <ac:spMkLst>
            <pc:docMk/>
            <pc:sldMk cId="2287265630" sldId="2389"/>
            <ac:spMk id="9" creationId="{CB495F7D-9FA1-4956-9E53-FFB12CD5B248}"/>
          </ac:spMkLst>
        </pc:spChg>
        <pc:spChg chg="del">
          <ac:chgData name="Aurelien Domont" userId="6da7715ce44349b3" providerId="LiveId" clId="{900ED9AA-9E3E-4466-B9E3-DFC8365613D8}" dt="2022-03-17T05:40:13.072" v="2207" actId="478"/>
          <ac:spMkLst>
            <pc:docMk/>
            <pc:sldMk cId="2287265630" sldId="2389"/>
            <ac:spMk id="10" creationId="{F58E5573-4B43-45C3-B54E-7F40AC706F25}"/>
          </ac:spMkLst>
        </pc:spChg>
        <pc:spChg chg="del">
          <ac:chgData name="Aurelien Domont" userId="6da7715ce44349b3" providerId="LiveId" clId="{900ED9AA-9E3E-4466-B9E3-DFC8365613D8}" dt="2022-03-17T05:40:13.072" v="2207" actId="478"/>
          <ac:spMkLst>
            <pc:docMk/>
            <pc:sldMk cId="2287265630" sldId="2389"/>
            <ac:spMk id="11" creationId="{F528F3F8-F680-43CB-8F8E-1F67A37D456C}"/>
          </ac:spMkLst>
        </pc:spChg>
        <pc:spChg chg="del">
          <ac:chgData name="Aurelien Domont" userId="6da7715ce44349b3" providerId="LiveId" clId="{900ED9AA-9E3E-4466-B9E3-DFC8365613D8}" dt="2022-03-17T05:40:13.072" v="2207" actId="478"/>
          <ac:spMkLst>
            <pc:docMk/>
            <pc:sldMk cId="2287265630" sldId="2389"/>
            <ac:spMk id="12" creationId="{37C69335-5146-4A43-8A66-3D812CCEE71C}"/>
          </ac:spMkLst>
        </pc:spChg>
        <pc:spChg chg="del">
          <ac:chgData name="Aurelien Domont" userId="6da7715ce44349b3" providerId="LiveId" clId="{900ED9AA-9E3E-4466-B9E3-DFC8365613D8}" dt="2022-03-17T05:40:13.072" v="2207" actId="478"/>
          <ac:spMkLst>
            <pc:docMk/>
            <pc:sldMk cId="2287265630" sldId="2389"/>
            <ac:spMk id="14" creationId="{D92C495A-99B5-4714-B5E2-FEBE6566B74E}"/>
          </ac:spMkLst>
        </pc:spChg>
        <pc:spChg chg="del">
          <ac:chgData name="Aurelien Domont" userId="6da7715ce44349b3" providerId="LiveId" clId="{900ED9AA-9E3E-4466-B9E3-DFC8365613D8}" dt="2022-03-17T05:40:13.072" v="2207" actId="478"/>
          <ac:spMkLst>
            <pc:docMk/>
            <pc:sldMk cId="2287265630" sldId="2389"/>
            <ac:spMk id="15" creationId="{9062EAF1-FB94-40E1-84A8-0E20771138DD}"/>
          </ac:spMkLst>
        </pc:spChg>
        <pc:spChg chg="mod">
          <ac:chgData name="Aurelien Domont" userId="6da7715ce44349b3" providerId="LiveId" clId="{900ED9AA-9E3E-4466-B9E3-DFC8365613D8}" dt="2022-03-18T03:56:04.284" v="3154" actId="20577"/>
          <ac:spMkLst>
            <pc:docMk/>
            <pc:sldMk cId="2287265630" sldId="2389"/>
            <ac:spMk id="16" creationId="{6C2BB713-9637-4B9B-938F-E9768876782A}"/>
          </ac:spMkLst>
        </pc:spChg>
        <pc:spChg chg="del">
          <ac:chgData name="Aurelien Domont" userId="6da7715ce44349b3" providerId="LiveId" clId="{900ED9AA-9E3E-4466-B9E3-DFC8365613D8}" dt="2022-03-17T05:40:13.072" v="2207" actId="478"/>
          <ac:spMkLst>
            <pc:docMk/>
            <pc:sldMk cId="2287265630" sldId="2389"/>
            <ac:spMk id="17" creationId="{D1ABBD7A-273E-4A85-A5DA-4DBAE8B3064B}"/>
          </ac:spMkLst>
        </pc:spChg>
        <pc:spChg chg="del">
          <ac:chgData name="Aurelien Domont" userId="6da7715ce44349b3" providerId="LiveId" clId="{900ED9AA-9E3E-4466-B9E3-DFC8365613D8}" dt="2022-03-17T05:40:13.072" v="2207" actId="478"/>
          <ac:spMkLst>
            <pc:docMk/>
            <pc:sldMk cId="2287265630" sldId="2389"/>
            <ac:spMk id="18" creationId="{52C4EDF7-1E42-49A5-8C69-0510341BC7DE}"/>
          </ac:spMkLst>
        </pc:spChg>
        <pc:spChg chg="del">
          <ac:chgData name="Aurelien Domont" userId="6da7715ce44349b3" providerId="LiveId" clId="{900ED9AA-9E3E-4466-B9E3-DFC8365613D8}" dt="2022-03-17T05:40:13.072" v="2207" actId="478"/>
          <ac:spMkLst>
            <pc:docMk/>
            <pc:sldMk cId="2287265630" sldId="2389"/>
            <ac:spMk id="19" creationId="{A3B830A0-81EF-41D7-AC5C-4B03E119CB5F}"/>
          </ac:spMkLst>
        </pc:spChg>
        <pc:spChg chg="del">
          <ac:chgData name="Aurelien Domont" userId="6da7715ce44349b3" providerId="LiveId" clId="{900ED9AA-9E3E-4466-B9E3-DFC8365613D8}" dt="2022-03-17T05:40:13.072" v="2207" actId="478"/>
          <ac:spMkLst>
            <pc:docMk/>
            <pc:sldMk cId="2287265630" sldId="2389"/>
            <ac:spMk id="20" creationId="{C67663DF-A355-45E3-8516-D6C8CD1488D3}"/>
          </ac:spMkLst>
        </pc:spChg>
        <pc:spChg chg="add mod">
          <ac:chgData name="Aurelien Domont" userId="6da7715ce44349b3" providerId="LiveId" clId="{900ED9AA-9E3E-4466-B9E3-DFC8365613D8}" dt="2022-03-18T03:47:42.908" v="2990" actId="20577"/>
          <ac:spMkLst>
            <pc:docMk/>
            <pc:sldMk cId="2287265630" sldId="2389"/>
            <ac:spMk id="21" creationId="{7E794ABE-DD29-4B8C-A152-E485FEC31F1E}"/>
          </ac:spMkLst>
        </pc:spChg>
        <pc:spChg chg="add mod">
          <ac:chgData name="Aurelien Domont" userId="6da7715ce44349b3" providerId="LiveId" clId="{900ED9AA-9E3E-4466-B9E3-DFC8365613D8}" dt="2022-03-17T05:40:32.240" v="2211" actId="207"/>
          <ac:spMkLst>
            <pc:docMk/>
            <pc:sldMk cId="2287265630" sldId="2389"/>
            <ac:spMk id="22" creationId="{1D2B2CAF-8552-42EB-BBED-B353FFE3F336}"/>
          </ac:spMkLst>
        </pc:spChg>
        <pc:spChg chg="add mod">
          <ac:chgData name="Aurelien Domont" userId="6da7715ce44349b3" providerId="LiveId" clId="{900ED9AA-9E3E-4466-B9E3-DFC8365613D8}" dt="2022-03-17T05:40:21.867" v="2210" actId="14100"/>
          <ac:spMkLst>
            <pc:docMk/>
            <pc:sldMk cId="2287265630" sldId="2389"/>
            <ac:spMk id="23" creationId="{5ED72AC7-36ED-43A9-AE6D-2F153705BCD2}"/>
          </ac:spMkLst>
        </pc:spChg>
        <pc:spChg chg="add mod">
          <ac:chgData name="Aurelien Domont" userId="6da7715ce44349b3" providerId="LiveId" clId="{900ED9AA-9E3E-4466-B9E3-DFC8365613D8}" dt="2022-03-18T03:47:47.170" v="3002" actId="1036"/>
          <ac:spMkLst>
            <pc:docMk/>
            <pc:sldMk cId="2287265630" sldId="2389"/>
            <ac:spMk id="24" creationId="{DF0FB584-A8F8-477F-8970-720ADFB205F2}"/>
          </ac:spMkLst>
        </pc:spChg>
        <pc:spChg chg="add mod">
          <ac:chgData name="Aurelien Domont" userId="6da7715ce44349b3" providerId="LiveId" clId="{900ED9AA-9E3E-4466-B9E3-DFC8365613D8}" dt="2022-03-18T03:47:47.170" v="3002" actId="1036"/>
          <ac:spMkLst>
            <pc:docMk/>
            <pc:sldMk cId="2287265630" sldId="2389"/>
            <ac:spMk id="26" creationId="{EC2FE8F2-A95C-4299-8170-CD14DCDF6B07}"/>
          </ac:spMkLst>
        </pc:spChg>
        <pc:spChg chg="add mod">
          <ac:chgData name="Aurelien Domont" userId="6da7715ce44349b3" providerId="LiveId" clId="{900ED9AA-9E3E-4466-B9E3-DFC8365613D8}" dt="2022-03-18T03:47:47.170" v="3002" actId="1036"/>
          <ac:spMkLst>
            <pc:docMk/>
            <pc:sldMk cId="2287265630" sldId="2389"/>
            <ac:spMk id="28" creationId="{97963A32-46BD-4622-9C6F-AB902263F424}"/>
          </ac:spMkLst>
        </pc:spChg>
        <pc:spChg chg="add mod">
          <ac:chgData name="Aurelien Domont" userId="6da7715ce44349b3" providerId="LiveId" clId="{900ED9AA-9E3E-4466-B9E3-DFC8365613D8}" dt="2022-03-18T03:47:47.170" v="3002" actId="1036"/>
          <ac:spMkLst>
            <pc:docMk/>
            <pc:sldMk cId="2287265630" sldId="2389"/>
            <ac:spMk id="30" creationId="{77620587-BD6E-4145-B6E6-D64963566BC0}"/>
          </ac:spMkLst>
        </pc:spChg>
        <pc:spChg chg="add del mod">
          <ac:chgData name="Aurelien Domont" userId="6da7715ce44349b3" providerId="LiveId" clId="{900ED9AA-9E3E-4466-B9E3-DFC8365613D8}" dt="2022-03-18T03:46:20.665" v="2897" actId="478"/>
          <ac:spMkLst>
            <pc:docMk/>
            <pc:sldMk cId="2287265630" sldId="2389"/>
            <ac:spMk id="32" creationId="{8695B079-8157-4ADC-8986-6F5C2B7CCDF3}"/>
          </ac:spMkLst>
        </pc:spChg>
        <pc:spChg chg="add del mod">
          <ac:chgData name="Aurelien Domont" userId="6da7715ce44349b3" providerId="LiveId" clId="{900ED9AA-9E3E-4466-B9E3-DFC8365613D8}" dt="2022-03-18T03:46:20.665" v="2897" actId="478"/>
          <ac:spMkLst>
            <pc:docMk/>
            <pc:sldMk cId="2287265630" sldId="2389"/>
            <ac:spMk id="34" creationId="{00E08AD8-D881-493C-99C1-FED5D9181E76}"/>
          </ac:spMkLst>
        </pc:spChg>
        <pc:spChg chg="add del mod">
          <ac:chgData name="Aurelien Domont" userId="6da7715ce44349b3" providerId="LiveId" clId="{900ED9AA-9E3E-4466-B9E3-DFC8365613D8}" dt="2022-03-18T03:46:20.665" v="2897" actId="478"/>
          <ac:spMkLst>
            <pc:docMk/>
            <pc:sldMk cId="2287265630" sldId="2389"/>
            <ac:spMk id="35" creationId="{14CE07FC-5453-466A-949B-38DEC3D2A443}"/>
          </ac:spMkLst>
        </pc:spChg>
        <pc:spChg chg="add del mod">
          <ac:chgData name="Aurelien Domont" userId="6da7715ce44349b3" providerId="LiveId" clId="{900ED9AA-9E3E-4466-B9E3-DFC8365613D8}" dt="2022-03-18T03:46:20.665" v="2897" actId="478"/>
          <ac:spMkLst>
            <pc:docMk/>
            <pc:sldMk cId="2287265630" sldId="2389"/>
            <ac:spMk id="36" creationId="{336F5A5C-BB8C-449C-A07A-4E73E675691B}"/>
          </ac:spMkLst>
        </pc:spChg>
        <pc:spChg chg="add del mod">
          <ac:chgData name="Aurelien Domont" userId="6da7715ce44349b3" providerId="LiveId" clId="{900ED9AA-9E3E-4466-B9E3-DFC8365613D8}" dt="2022-03-18T03:24:04.950" v="2676" actId="478"/>
          <ac:spMkLst>
            <pc:docMk/>
            <pc:sldMk cId="2287265630" sldId="2389"/>
            <ac:spMk id="37" creationId="{0966E285-15D7-4F72-AC3B-F2DA81060247}"/>
          </ac:spMkLst>
        </pc:spChg>
        <pc:spChg chg="add del mod">
          <ac:chgData name="Aurelien Domont" userId="6da7715ce44349b3" providerId="LiveId" clId="{900ED9AA-9E3E-4466-B9E3-DFC8365613D8}" dt="2022-03-18T03:46:20.665" v="2897" actId="478"/>
          <ac:spMkLst>
            <pc:docMk/>
            <pc:sldMk cId="2287265630" sldId="2389"/>
            <ac:spMk id="38" creationId="{85BC57C5-FD94-4A67-B205-188C252C535F}"/>
          </ac:spMkLst>
        </pc:spChg>
        <pc:spChg chg="add del mod">
          <ac:chgData name="Aurelien Domont" userId="6da7715ce44349b3" providerId="LiveId" clId="{900ED9AA-9E3E-4466-B9E3-DFC8365613D8}" dt="2022-03-18T03:46:20.665" v="2897" actId="478"/>
          <ac:spMkLst>
            <pc:docMk/>
            <pc:sldMk cId="2287265630" sldId="2389"/>
            <ac:spMk id="39" creationId="{D79E529F-13B5-4CF9-A942-219A153E5E59}"/>
          </ac:spMkLst>
        </pc:spChg>
        <pc:spChg chg="add del mod">
          <ac:chgData name="Aurelien Domont" userId="6da7715ce44349b3" providerId="LiveId" clId="{900ED9AA-9E3E-4466-B9E3-DFC8365613D8}" dt="2022-03-18T03:31:30.827" v="2790" actId="478"/>
          <ac:spMkLst>
            <pc:docMk/>
            <pc:sldMk cId="2287265630" sldId="2389"/>
            <ac:spMk id="40" creationId="{E486CCB1-B792-4021-9E55-86BF237EA80D}"/>
          </ac:spMkLst>
        </pc:spChg>
        <pc:spChg chg="add mod">
          <ac:chgData name="Aurelien Domont" userId="6da7715ce44349b3" providerId="LiveId" clId="{900ED9AA-9E3E-4466-B9E3-DFC8365613D8}" dt="2022-03-17T05:40:13.468" v="2208"/>
          <ac:spMkLst>
            <pc:docMk/>
            <pc:sldMk cId="2287265630" sldId="2389"/>
            <ac:spMk id="41" creationId="{6A12EA96-DF67-41DD-AEF7-A2FC8207A2CC}"/>
          </ac:spMkLst>
        </pc:spChg>
        <pc:spChg chg="add mod">
          <ac:chgData name="Aurelien Domont" userId="6da7715ce44349b3" providerId="LiveId" clId="{900ED9AA-9E3E-4466-B9E3-DFC8365613D8}" dt="2022-03-17T05:40:13.468" v="2208"/>
          <ac:spMkLst>
            <pc:docMk/>
            <pc:sldMk cId="2287265630" sldId="2389"/>
            <ac:spMk id="42" creationId="{C65761C2-F563-46EC-BE7A-E6729B087607}"/>
          </ac:spMkLst>
        </pc:spChg>
        <pc:spChg chg="add mod">
          <ac:chgData name="Aurelien Domont" userId="6da7715ce44349b3" providerId="LiveId" clId="{900ED9AA-9E3E-4466-B9E3-DFC8365613D8}" dt="2022-03-17T05:40:13.468" v="2208"/>
          <ac:spMkLst>
            <pc:docMk/>
            <pc:sldMk cId="2287265630" sldId="2389"/>
            <ac:spMk id="43" creationId="{56E38EF5-EA62-4DF8-977B-6385A0B66D0F}"/>
          </ac:spMkLst>
        </pc:spChg>
        <pc:spChg chg="add mod">
          <ac:chgData name="Aurelien Domont" userId="6da7715ce44349b3" providerId="LiveId" clId="{900ED9AA-9E3E-4466-B9E3-DFC8365613D8}" dt="2022-03-17T05:40:13.468" v="2208"/>
          <ac:spMkLst>
            <pc:docMk/>
            <pc:sldMk cId="2287265630" sldId="2389"/>
            <ac:spMk id="44" creationId="{F9CF0BE0-20C0-4BCD-8F92-55E2CBE6051A}"/>
          </ac:spMkLst>
        </pc:spChg>
        <pc:spChg chg="add mod">
          <ac:chgData name="Aurelien Domont" userId="6da7715ce44349b3" providerId="LiveId" clId="{900ED9AA-9E3E-4466-B9E3-DFC8365613D8}" dt="2022-03-18T03:47:47.170" v="3002" actId="1036"/>
          <ac:spMkLst>
            <pc:docMk/>
            <pc:sldMk cId="2287265630" sldId="2389"/>
            <ac:spMk id="52" creationId="{C52E817E-9708-4154-B7FA-25BB832AF6D9}"/>
          </ac:spMkLst>
        </pc:spChg>
        <pc:spChg chg="add mod">
          <ac:chgData name="Aurelien Domont" userId="6da7715ce44349b3" providerId="LiveId" clId="{900ED9AA-9E3E-4466-B9E3-DFC8365613D8}" dt="2022-03-18T04:19:48.521" v="3156" actId="1038"/>
          <ac:spMkLst>
            <pc:docMk/>
            <pc:sldMk cId="2287265630" sldId="2389"/>
            <ac:spMk id="53" creationId="{0525FE88-217C-44DC-97DC-617D4FC341EB}"/>
          </ac:spMkLst>
        </pc:spChg>
        <pc:spChg chg="add mod">
          <ac:chgData name="Aurelien Domont" userId="6da7715ce44349b3" providerId="LiveId" clId="{900ED9AA-9E3E-4466-B9E3-DFC8365613D8}" dt="2022-03-18T03:54:36.858" v="3104" actId="1076"/>
          <ac:spMkLst>
            <pc:docMk/>
            <pc:sldMk cId="2287265630" sldId="2389"/>
            <ac:spMk id="54" creationId="{AA0B0DB8-991B-43C8-A576-D92ECCB0E151}"/>
          </ac:spMkLst>
        </pc:spChg>
        <pc:spChg chg="add mod">
          <ac:chgData name="Aurelien Domont" userId="6da7715ce44349b3" providerId="LiveId" clId="{900ED9AA-9E3E-4466-B9E3-DFC8365613D8}" dt="2022-03-18T04:19:48.521" v="3156" actId="1038"/>
          <ac:spMkLst>
            <pc:docMk/>
            <pc:sldMk cId="2287265630" sldId="2389"/>
            <ac:spMk id="55" creationId="{C43D4707-FB9E-4860-9467-9A2412E557C6}"/>
          </ac:spMkLst>
        </pc:spChg>
        <pc:spChg chg="add del mod">
          <ac:chgData name="Aurelien Domont" userId="6da7715ce44349b3" providerId="LiveId" clId="{900ED9AA-9E3E-4466-B9E3-DFC8365613D8}" dt="2022-03-18T03:46:20.665" v="2897" actId="478"/>
          <ac:spMkLst>
            <pc:docMk/>
            <pc:sldMk cId="2287265630" sldId="2389"/>
            <ac:spMk id="56" creationId="{49AE66F9-9ADB-4BD9-8A3A-5AEC18999A97}"/>
          </ac:spMkLst>
        </pc:spChg>
        <pc:spChg chg="add del mod">
          <ac:chgData name="Aurelien Domont" userId="6da7715ce44349b3" providerId="LiveId" clId="{900ED9AA-9E3E-4466-B9E3-DFC8365613D8}" dt="2022-03-18T03:23:19.085" v="2660" actId="478"/>
          <ac:spMkLst>
            <pc:docMk/>
            <pc:sldMk cId="2287265630" sldId="2389"/>
            <ac:spMk id="57" creationId="{B63E8F91-C9C8-467C-B54C-5D48FF32E9FD}"/>
          </ac:spMkLst>
        </pc:spChg>
        <pc:spChg chg="add del mod">
          <ac:chgData name="Aurelien Domont" userId="6da7715ce44349b3" providerId="LiveId" clId="{900ED9AA-9E3E-4466-B9E3-DFC8365613D8}" dt="2022-03-18T03:46:20.665" v="2897" actId="478"/>
          <ac:spMkLst>
            <pc:docMk/>
            <pc:sldMk cId="2287265630" sldId="2389"/>
            <ac:spMk id="58" creationId="{6599AFD0-6077-4804-B1DC-9A2B9E32A9EB}"/>
          </ac:spMkLst>
        </pc:spChg>
        <pc:spChg chg="add del mod">
          <ac:chgData name="Aurelien Domont" userId="6da7715ce44349b3" providerId="LiveId" clId="{900ED9AA-9E3E-4466-B9E3-DFC8365613D8}" dt="2022-03-18T03:23:31.046" v="2662" actId="478"/>
          <ac:spMkLst>
            <pc:docMk/>
            <pc:sldMk cId="2287265630" sldId="2389"/>
            <ac:spMk id="59" creationId="{6A7E64FB-E465-46AC-B2C5-31FE9A1712D9}"/>
          </ac:spMkLst>
        </pc:spChg>
        <pc:spChg chg="add del mod">
          <ac:chgData name="Aurelien Domont" userId="6da7715ce44349b3" providerId="LiveId" clId="{900ED9AA-9E3E-4466-B9E3-DFC8365613D8}" dt="2022-03-18T03:24:04.950" v="2676" actId="478"/>
          <ac:spMkLst>
            <pc:docMk/>
            <pc:sldMk cId="2287265630" sldId="2389"/>
            <ac:spMk id="60" creationId="{EDDAAF7E-6B6B-4363-B0ED-C4EE20F324EE}"/>
          </ac:spMkLst>
        </pc:spChg>
        <pc:spChg chg="add del mod">
          <ac:chgData name="Aurelien Domont" userId="6da7715ce44349b3" providerId="LiveId" clId="{900ED9AA-9E3E-4466-B9E3-DFC8365613D8}" dt="2022-03-18T03:46:20.665" v="2897" actId="478"/>
          <ac:spMkLst>
            <pc:docMk/>
            <pc:sldMk cId="2287265630" sldId="2389"/>
            <ac:spMk id="61" creationId="{450F4232-98D8-4071-9EB8-1C16B68E951C}"/>
          </ac:spMkLst>
        </pc:spChg>
        <pc:spChg chg="add del mod">
          <ac:chgData name="Aurelien Domont" userId="6da7715ce44349b3" providerId="LiveId" clId="{900ED9AA-9E3E-4466-B9E3-DFC8365613D8}" dt="2022-03-18T03:46:20.665" v="2897" actId="478"/>
          <ac:spMkLst>
            <pc:docMk/>
            <pc:sldMk cId="2287265630" sldId="2389"/>
            <ac:spMk id="62" creationId="{AAFFB827-E030-4A79-B525-EEE9E2D86DC5}"/>
          </ac:spMkLst>
        </pc:spChg>
        <pc:spChg chg="add del mod">
          <ac:chgData name="Aurelien Domont" userId="6da7715ce44349b3" providerId="LiveId" clId="{900ED9AA-9E3E-4466-B9E3-DFC8365613D8}" dt="2022-03-18T03:31:30.827" v="2790" actId="478"/>
          <ac:spMkLst>
            <pc:docMk/>
            <pc:sldMk cId="2287265630" sldId="2389"/>
            <ac:spMk id="63" creationId="{2CE72724-0683-4D25-91E0-E32236D4322E}"/>
          </ac:spMkLst>
        </pc:spChg>
        <pc:spChg chg="add del mod">
          <ac:chgData name="Aurelien Domont" userId="6da7715ce44349b3" providerId="LiveId" clId="{900ED9AA-9E3E-4466-B9E3-DFC8365613D8}" dt="2022-03-18T03:46:20.665" v="2897" actId="478"/>
          <ac:spMkLst>
            <pc:docMk/>
            <pc:sldMk cId="2287265630" sldId="2389"/>
            <ac:spMk id="66" creationId="{2B25E13B-6DA3-4FB3-BF04-52715DD9B6EF}"/>
          </ac:spMkLst>
        </pc:spChg>
        <pc:spChg chg="add del mod">
          <ac:chgData name="Aurelien Domont" userId="6da7715ce44349b3" providerId="LiveId" clId="{900ED9AA-9E3E-4466-B9E3-DFC8365613D8}" dt="2022-03-18T03:46:20.665" v="2897" actId="478"/>
          <ac:spMkLst>
            <pc:docMk/>
            <pc:sldMk cId="2287265630" sldId="2389"/>
            <ac:spMk id="68" creationId="{7A94A4D5-19A5-41FD-9804-E33E2BFFC373}"/>
          </ac:spMkLst>
        </pc:spChg>
        <pc:spChg chg="add mod">
          <ac:chgData name="Aurelien Domont" userId="6da7715ce44349b3" providerId="LiveId" clId="{900ED9AA-9E3E-4466-B9E3-DFC8365613D8}" dt="2022-03-18T03:47:47.170" v="3002" actId="1036"/>
          <ac:spMkLst>
            <pc:docMk/>
            <pc:sldMk cId="2287265630" sldId="2389"/>
            <ac:spMk id="69" creationId="{D7A3C05B-65D1-45DE-B330-E576A3742E6D}"/>
          </ac:spMkLst>
        </pc:spChg>
        <pc:spChg chg="add mod">
          <ac:chgData name="Aurelien Domont" userId="6da7715ce44349b3" providerId="LiveId" clId="{900ED9AA-9E3E-4466-B9E3-DFC8365613D8}" dt="2022-03-18T03:48:29.983" v="3013" actId="1036"/>
          <ac:spMkLst>
            <pc:docMk/>
            <pc:sldMk cId="2287265630" sldId="2389"/>
            <ac:spMk id="71" creationId="{B970B800-B7B1-4261-8534-18203D3743F1}"/>
          </ac:spMkLst>
        </pc:spChg>
        <pc:spChg chg="add mod">
          <ac:chgData name="Aurelien Domont" userId="6da7715ce44349b3" providerId="LiveId" clId="{900ED9AA-9E3E-4466-B9E3-DFC8365613D8}" dt="2022-03-18T03:46:12.062" v="2895"/>
          <ac:spMkLst>
            <pc:docMk/>
            <pc:sldMk cId="2287265630" sldId="2389"/>
            <ac:spMk id="72" creationId="{D0084679-146A-4E17-AFD9-A5EB975500E5}"/>
          </ac:spMkLst>
        </pc:spChg>
        <pc:spChg chg="add mod">
          <ac:chgData name="Aurelien Domont" userId="6da7715ce44349b3" providerId="LiveId" clId="{900ED9AA-9E3E-4466-B9E3-DFC8365613D8}" dt="2022-03-18T03:47:51.886" v="3003" actId="571"/>
          <ac:spMkLst>
            <pc:docMk/>
            <pc:sldMk cId="2287265630" sldId="2389"/>
            <ac:spMk id="73" creationId="{671A7F5E-2709-45E3-8161-67EA46C055FA}"/>
          </ac:spMkLst>
        </pc:spChg>
        <pc:spChg chg="add mod">
          <ac:chgData name="Aurelien Domont" userId="6da7715ce44349b3" providerId="LiveId" clId="{900ED9AA-9E3E-4466-B9E3-DFC8365613D8}" dt="2022-03-18T03:47:51.886" v="3003" actId="571"/>
          <ac:spMkLst>
            <pc:docMk/>
            <pc:sldMk cId="2287265630" sldId="2389"/>
            <ac:spMk id="75" creationId="{3142AA62-62B0-44B1-B2D2-F218927FF272}"/>
          </ac:spMkLst>
        </pc:spChg>
        <pc:spChg chg="add mod">
          <ac:chgData name="Aurelien Domont" userId="6da7715ce44349b3" providerId="LiveId" clId="{900ED9AA-9E3E-4466-B9E3-DFC8365613D8}" dt="2022-03-18T03:47:51.886" v="3003" actId="571"/>
          <ac:spMkLst>
            <pc:docMk/>
            <pc:sldMk cId="2287265630" sldId="2389"/>
            <ac:spMk id="77" creationId="{9A8A7E77-5F2F-4840-AC25-07819E7758F6}"/>
          </ac:spMkLst>
        </pc:spChg>
        <pc:spChg chg="add mod">
          <ac:chgData name="Aurelien Domont" userId="6da7715ce44349b3" providerId="LiveId" clId="{900ED9AA-9E3E-4466-B9E3-DFC8365613D8}" dt="2022-03-18T03:47:51.886" v="3003" actId="571"/>
          <ac:spMkLst>
            <pc:docMk/>
            <pc:sldMk cId="2287265630" sldId="2389"/>
            <ac:spMk id="79" creationId="{FB39C60D-C97C-4476-9414-004C43CBC24E}"/>
          </ac:spMkLst>
        </pc:spChg>
        <pc:spChg chg="add mod">
          <ac:chgData name="Aurelien Domont" userId="6da7715ce44349b3" providerId="LiveId" clId="{900ED9AA-9E3E-4466-B9E3-DFC8365613D8}" dt="2022-03-18T03:53:36.598" v="3091" actId="1038"/>
          <ac:spMkLst>
            <pc:docMk/>
            <pc:sldMk cId="2287265630" sldId="2389"/>
            <ac:spMk id="81" creationId="{7E85CC5A-2022-4964-B839-379F0C2BCCDF}"/>
          </ac:spMkLst>
        </pc:spChg>
        <pc:spChg chg="add mod">
          <ac:chgData name="Aurelien Domont" userId="6da7715ce44349b3" providerId="LiveId" clId="{900ED9AA-9E3E-4466-B9E3-DFC8365613D8}" dt="2022-03-18T04:19:48.521" v="3156" actId="1038"/>
          <ac:spMkLst>
            <pc:docMk/>
            <pc:sldMk cId="2287265630" sldId="2389"/>
            <ac:spMk id="82" creationId="{338FA7C7-86D1-4C77-AF53-0EAFDE5D11B9}"/>
          </ac:spMkLst>
        </pc:spChg>
        <pc:spChg chg="add mod">
          <ac:chgData name="Aurelien Domont" userId="6da7715ce44349b3" providerId="LiveId" clId="{900ED9AA-9E3E-4466-B9E3-DFC8365613D8}" dt="2022-03-18T04:19:48.521" v="3156" actId="1038"/>
          <ac:spMkLst>
            <pc:docMk/>
            <pc:sldMk cId="2287265630" sldId="2389"/>
            <ac:spMk id="83" creationId="{F60348CE-CC33-47F7-B321-B65608B7F57B}"/>
          </ac:spMkLst>
        </pc:spChg>
        <pc:spChg chg="add mod">
          <ac:chgData name="Aurelien Domont" userId="6da7715ce44349b3" providerId="LiveId" clId="{900ED9AA-9E3E-4466-B9E3-DFC8365613D8}" dt="2022-03-18T04:19:48.521" v="3156" actId="1038"/>
          <ac:spMkLst>
            <pc:docMk/>
            <pc:sldMk cId="2287265630" sldId="2389"/>
            <ac:spMk id="84" creationId="{965A0D12-1619-441E-9000-3BD6FD7A782E}"/>
          </ac:spMkLst>
        </pc:spChg>
        <pc:spChg chg="add mod">
          <ac:chgData name="Aurelien Domont" userId="6da7715ce44349b3" providerId="LiveId" clId="{900ED9AA-9E3E-4466-B9E3-DFC8365613D8}" dt="2022-03-18T03:47:51.886" v="3003" actId="571"/>
          <ac:spMkLst>
            <pc:docMk/>
            <pc:sldMk cId="2287265630" sldId="2389"/>
            <ac:spMk id="85" creationId="{58CA530D-24B4-455E-B862-34A8436CF195}"/>
          </ac:spMkLst>
        </pc:spChg>
        <pc:spChg chg="add mod">
          <ac:chgData name="Aurelien Domont" userId="6da7715ce44349b3" providerId="LiveId" clId="{900ED9AA-9E3E-4466-B9E3-DFC8365613D8}" dt="2022-03-18T03:50:08.646" v="3047" actId="1035"/>
          <ac:spMkLst>
            <pc:docMk/>
            <pc:sldMk cId="2287265630" sldId="2389"/>
            <ac:spMk id="87" creationId="{A7A4CA18-D354-45E5-9944-58662D2D0C25}"/>
          </ac:spMkLst>
        </pc:spChg>
        <pc:spChg chg="add del mod">
          <ac:chgData name="Aurelien Domont" userId="6da7715ce44349b3" providerId="LiveId" clId="{900ED9AA-9E3E-4466-B9E3-DFC8365613D8}" dt="2022-03-18T03:52:16.397" v="3074" actId="478"/>
          <ac:spMkLst>
            <pc:docMk/>
            <pc:sldMk cId="2287265630" sldId="2389"/>
            <ac:spMk id="88" creationId="{7E22C64E-1D58-47BF-9C93-E77D95DAA13A}"/>
          </ac:spMkLst>
        </pc:spChg>
        <pc:spChg chg="add del mod">
          <ac:chgData name="Aurelien Domont" userId="6da7715ce44349b3" providerId="LiveId" clId="{900ED9AA-9E3E-4466-B9E3-DFC8365613D8}" dt="2022-03-18T03:52:16.397" v="3074" actId="478"/>
          <ac:spMkLst>
            <pc:docMk/>
            <pc:sldMk cId="2287265630" sldId="2389"/>
            <ac:spMk id="89" creationId="{EC7CA0C8-D2D1-4C7A-86C6-A8122F73EF04}"/>
          </ac:spMkLst>
        </pc:spChg>
        <pc:spChg chg="add del mod">
          <ac:chgData name="Aurelien Domont" userId="6da7715ce44349b3" providerId="LiveId" clId="{900ED9AA-9E3E-4466-B9E3-DFC8365613D8}" dt="2022-03-18T03:52:16.397" v="3074" actId="478"/>
          <ac:spMkLst>
            <pc:docMk/>
            <pc:sldMk cId="2287265630" sldId="2389"/>
            <ac:spMk id="90" creationId="{4E29170A-2A06-465D-97E1-C8571AD8E624}"/>
          </ac:spMkLst>
        </pc:spChg>
        <pc:spChg chg="add del mod">
          <ac:chgData name="Aurelien Domont" userId="6da7715ce44349b3" providerId="LiveId" clId="{900ED9AA-9E3E-4466-B9E3-DFC8365613D8}" dt="2022-03-18T03:52:16.397" v="3074" actId="478"/>
          <ac:spMkLst>
            <pc:docMk/>
            <pc:sldMk cId="2287265630" sldId="2389"/>
            <ac:spMk id="91" creationId="{9DBE94BE-6CA3-437F-987C-6C30A8A15193}"/>
          </ac:spMkLst>
        </pc:spChg>
        <pc:spChg chg="add del mod">
          <ac:chgData name="Aurelien Domont" userId="6da7715ce44349b3" providerId="LiveId" clId="{900ED9AA-9E3E-4466-B9E3-DFC8365613D8}" dt="2022-03-18T03:52:16.397" v="3074" actId="478"/>
          <ac:spMkLst>
            <pc:docMk/>
            <pc:sldMk cId="2287265630" sldId="2389"/>
            <ac:spMk id="92" creationId="{70986405-7701-4A13-A47F-93964E1CFBBF}"/>
          </ac:spMkLst>
        </pc:spChg>
        <pc:picChg chg="add del mod">
          <ac:chgData name="Aurelien Domont" userId="6da7715ce44349b3" providerId="LiveId" clId="{900ED9AA-9E3E-4466-B9E3-DFC8365613D8}" dt="2022-03-18T03:51:55.580" v="3071" actId="478"/>
          <ac:picMkLst>
            <pc:docMk/>
            <pc:sldMk cId="2287265630" sldId="2389"/>
            <ac:picMk id="25" creationId="{637413D4-38EB-4920-812A-003859D8D0CA}"/>
          </ac:picMkLst>
        </pc:picChg>
        <pc:picChg chg="add del mod">
          <ac:chgData name="Aurelien Domont" userId="6da7715ce44349b3" providerId="LiveId" clId="{900ED9AA-9E3E-4466-B9E3-DFC8365613D8}" dt="2022-03-18T03:51:55.580" v="3071" actId="478"/>
          <ac:picMkLst>
            <pc:docMk/>
            <pc:sldMk cId="2287265630" sldId="2389"/>
            <ac:picMk id="27" creationId="{CE3CBCF7-AC46-4630-9406-7D0E27FC99CA}"/>
          </ac:picMkLst>
        </pc:picChg>
        <pc:picChg chg="add del mod">
          <ac:chgData name="Aurelien Domont" userId="6da7715ce44349b3" providerId="LiveId" clId="{900ED9AA-9E3E-4466-B9E3-DFC8365613D8}" dt="2022-03-18T03:51:55.580" v="3071" actId="478"/>
          <ac:picMkLst>
            <pc:docMk/>
            <pc:sldMk cId="2287265630" sldId="2389"/>
            <ac:picMk id="29" creationId="{B1096718-D41F-4B02-B2EB-B42DA00C3C03}"/>
          </ac:picMkLst>
        </pc:picChg>
        <pc:picChg chg="add mod">
          <ac:chgData name="Aurelien Domont" userId="6da7715ce44349b3" providerId="LiveId" clId="{900ED9AA-9E3E-4466-B9E3-DFC8365613D8}" dt="2022-03-18T03:52:22.473" v="3080" actId="1038"/>
          <ac:picMkLst>
            <pc:docMk/>
            <pc:sldMk cId="2287265630" sldId="2389"/>
            <ac:picMk id="31" creationId="{251AB365-DC99-4F73-BE5B-DB80C328C584}"/>
          </ac:picMkLst>
        </pc:picChg>
        <pc:picChg chg="add del mod">
          <ac:chgData name="Aurelien Domont" userId="6da7715ce44349b3" providerId="LiveId" clId="{900ED9AA-9E3E-4466-B9E3-DFC8365613D8}" dt="2022-03-18T03:22:38.973" v="2638" actId="478"/>
          <ac:picMkLst>
            <pc:docMk/>
            <pc:sldMk cId="2287265630" sldId="2389"/>
            <ac:picMk id="33" creationId="{F11DE3EA-EC3E-4D4F-8A16-678896010F94}"/>
          </ac:picMkLst>
        </pc:picChg>
        <pc:picChg chg="add del mod">
          <ac:chgData name="Aurelien Domont" userId="6da7715ce44349b3" providerId="LiveId" clId="{900ED9AA-9E3E-4466-B9E3-DFC8365613D8}" dt="2022-03-18T03:23:19.085" v="2660" actId="478"/>
          <ac:picMkLst>
            <pc:docMk/>
            <pc:sldMk cId="2287265630" sldId="2389"/>
            <ac:picMk id="45" creationId="{F80C8090-92C6-4F8E-8A9B-E8305654FE68}"/>
          </ac:picMkLst>
        </pc:picChg>
        <pc:picChg chg="add del mod">
          <ac:chgData name="Aurelien Domont" userId="6da7715ce44349b3" providerId="LiveId" clId="{900ED9AA-9E3E-4466-B9E3-DFC8365613D8}" dt="2022-03-18T03:23:31.046" v="2662" actId="478"/>
          <ac:picMkLst>
            <pc:docMk/>
            <pc:sldMk cId="2287265630" sldId="2389"/>
            <ac:picMk id="46" creationId="{5CF1B6B0-DDC1-4587-91AB-92A27A38193E}"/>
          </ac:picMkLst>
        </pc:picChg>
        <pc:picChg chg="add del mod">
          <ac:chgData name="Aurelien Domont" userId="6da7715ce44349b3" providerId="LiveId" clId="{900ED9AA-9E3E-4466-B9E3-DFC8365613D8}" dt="2022-03-18T03:23:51.678" v="2674" actId="478"/>
          <ac:picMkLst>
            <pc:docMk/>
            <pc:sldMk cId="2287265630" sldId="2389"/>
            <ac:picMk id="47" creationId="{B1D43FE1-EDA0-44EC-B984-3A7EC9ACE109}"/>
          </ac:picMkLst>
        </pc:picChg>
        <pc:picChg chg="add del mod">
          <ac:chgData name="Aurelien Domont" userId="6da7715ce44349b3" providerId="LiveId" clId="{900ED9AA-9E3E-4466-B9E3-DFC8365613D8}" dt="2022-03-18T03:46:20.665" v="2897" actId="478"/>
          <ac:picMkLst>
            <pc:docMk/>
            <pc:sldMk cId="2287265630" sldId="2389"/>
            <ac:picMk id="48" creationId="{B6D497DE-15B3-4CB5-AE6C-B367ACA3F49A}"/>
          </ac:picMkLst>
        </pc:picChg>
        <pc:picChg chg="add del mod">
          <ac:chgData name="Aurelien Domont" userId="6da7715ce44349b3" providerId="LiveId" clId="{900ED9AA-9E3E-4466-B9E3-DFC8365613D8}" dt="2022-03-18T03:46:20.665" v="2897" actId="478"/>
          <ac:picMkLst>
            <pc:docMk/>
            <pc:sldMk cId="2287265630" sldId="2389"/>
            <ac:picMk id="49" creationId="{102F6293-1E9E-49A3-B858-BF084B1093F7}"/>
          </ac:picMkLst>
        </pc:picChg>
        <pc:picChg chg="add del mod">
          <ac:chgData name="Aurelien Domont" userId="6da7715ce44349b3" providerId="LiveId" clId="{900ED9AA-9E3E-4466-B9E3-DFC8365613D8}" dt="2022-03-18T03:46:20.665" v="2897" actId="478"/>
          <ac:picMkLst>
            <pc:docMk/>
            <pc:sldMk cId="2287265630" sldId="2389"/>
            <ac:picMk id="50" creationId="{3ADA56BF-86AC-4742-B892-D1642A8E47AD}"/>
          </ac:picMkLst>
        </pc:picChg>
        <pc:picChg chg="add del mod">
          <ac:chgData name="Aurelien Domont" userId="6da7715ce44349b3" providerId="LiveId" clId="{900ED9AA-9E3E-4466-B9E3-DFC8365613D8}" dt="2022-03-18T03:31:30.827" v="2790" actId="478"/>
          <ac:picMkLst>
            <pc:docMk/>
            <pc:sldMk cId="2287265630" sldId="2389"/>
            <ac:picMk id="51" creationId="{7782F357-1A38-4439-A5C1-B10C436577BE}"/>
          </ac:picMkLst>
        </pc:picChg>
        <pc:picChg chg="add del mod">
          <ac:chgData name="Aurelien Domont" userId="6da7715ce44349b3" providerId="LiveId" clId="{900ED9AA-9E3E-4466-B9E3-DFC8365613D8}" dt="2022-03-18T03:46:20.665" v="2897" actId="478"/>
          <ac:picMkLst>
            <pc:docMk/>
            <pc:sldMk cId="2287265630" sldId="2389"/>
            <ac:picMk id="64" creationId="{A1DBDA2E-BB24-48DE-B935-B7E75288DCB7}"/>
          </ac:picMkLst>
        </pc:picChg>
        <pc:picChg chg="add del mod">
          <ac:chgData name="Aurelien Domont" userId="6da7715ce44349b3" providerId="LiveId" clId="{900ED9AA-9E3E-4466-B9E3-DFC8365613D8}" dt="2022-03-18T03:46:20.665" v="2897" actId="478"/>
          <ac:picMkLst>
            <pc:docMk/>
            <pc:sldMk cId="2287265630" sldId="2389"/>
            <ac:picMk id="65" creationId="{E8EE72E1-1C2A-455F-BF52-7FFE70510699}"/>
          </ac:picMkLst>
        </pc:picChg>
        <pc:picChg chg="add del mod">
          <ac:chgData name="Aurelien Domont" userId="6da7715ce44349b3" providerId="LiveId" clId="{900ED9AA-9E3E-4466-B9E3-DFC8365613D8}" dt="2022-03-18T03:46:20.665" v="2897" actId="478"/>
          <ac:picMkLst>
            <pc:docMk/>
            <pc:sldMk cId="2287265630" sldId="2389"/>
            <ac:picMk id="67" creationId="{8CAAC9D9-2F01-4F28-A208-24EFCB7CF4A1}"/>
          </ac:picMkLst>
        </pc:picChg>
        <pc:picChg chg="add del mod">
          <ac:chgData name="Aurelien Domont" userId="6da7715ce44349b3" providerId="LiveId" clId="{900ED9AA-9E3E-4466-B9E3-DFC8365613D8}" dt="2022-03-18T03:51:55.580" v="3071" actId="478"/>
          <ac:picMkLst>
            <pc:docMk/>
            <pc:sldMk cId="2287265630" sldId="2389"/>
            <ac:picMk id="70" creationId="{A4732B8C-4216-40B1-8DB8-984E649D5025}"/>
          </ac:picMkLst>
        </pc:picChg>
        <pc:picChg chg="add del mod">
          <ac:chgData name="Aurelien Domont" userId="6da7715ce44349b3" providerId="LiveId" clId="{900ED9AA-9E3E-4466-B9E3-DFC8365613D8}" dt="2022-03-18T03:50:31.323" v="3059" actId="478"/>
          <ac:picMkLst>
            <pc:docMk/>
            <pc:sldMk cId="2287265630" sldId="2389"/>
            <ac:picMk id="74" creationId="{417EEC6F-E389-42B9-AC6E-D0560AF14AAF}"/>
          </ac:picMkLst>
        </pc:picChg>
        <pc:picChg chg="add del mod">
          <ac:chgData name="Aurelien Domont" userId="6da7715ce44349b3" providerId="LiveId" clId="{900ED9AA-9E3E-4466-B9E3-DFC8365613D8}" dt="2022-03-18T03:50:31.323" v="3059" actId="478"/>
          <ac:picMkLst>
            <pc:docMk/>
            <pc:sldMk cId="2287265630" sldId="2389"/>
            <ac:picMk id="76" creationId="{72053B54-7397-46E6-A4BD-DCF3DF517BAF}"/>
          </ac:picMkLst>
        </pc:picChg>
        <pc:picChg chg="add del mod">
          <ac:chgData name="Aurelien Domont" userId="6da7715ce44349b3" providerId="LiveId" clId="{900ED9AA-9E3E-4466-B9E3-DFC8365613D8}" dt="2022-03-18T03:50:31.323" v="3059" actId="478"/>
          <ac:picMkLst>
            <pc:docMk/>
            <pc:sldMk cId="2287265630" sldId="2389"/>
            <ac:picMk id="78" creationId="{DA1EE9C3-AE49-4B84-91A6-A9CF27A611BD}"/>
          </ac:picMkLst>
        </pc:picChg>
        <pc:picChg chg="add del mod">
          <ac:chgData name="Aurelien Domont" userId="6da7715ce44349b3" providerId="LiveId" clId="{900ED9AA-9E3E-4466-B9E3-DFC8365613D8}" dt="2022-03-18T03:50:31.323" v="3059" actId="478"/>
          <ac:picMkLst>
            <pc:docMk/>
            <pc:sldMk cId="2287265630" sldId="2389"/>
            <ac:picMk id="80" creationId="{F3F384D5-4792-4AA2-A7A8-72D681A44E20}"/>
          </ac:picMkLst>
        </pc:picChg>
        <pc:picChg chg="add del mod">
          <ac:chgData name="Aurelien Domont" userId="6da7715ce44349b3" providerId="LiveId" clId="{900ED9AA-9E3E-4466-B9E3-DFC8365613D8}" dt="2022-03-18T03:50:31.323" v="3059" actId="478"/>
          <ac:picMkLst>
            <pc:docMk/>
            <pc:sldMk cId="2287265630" sldId="2389"/>
            <ac:picMk id="86" creationId="{20DF745C-D0F5-45FE-9841-673D2DF4D7F4}"/>
          </ac:picMkLst>
        </pc:picChg>
        <pc:picChg chg="add mod">
          <ac:chgData name="Aurelien Domont" userId="6da7715ce44349b3" providerId="LiveId" clId="{900ED9AA-9E3E-4466-B9E3-DFC8365613D8}" dt="2022-03-18T03:51:23.168" v="3068" actId="1038"/>
          <ac:picMkLst>
            <pc:docMk/>
            <pc:sldMk cId="2287265630" sldId="2389"/>
            <ac:picMk id="93" creationId="{5BD357C2-AB24-4FD6-AEC4-FDAD477D2A8C}"/>
          </ac:picMkLst>
        </pc:picChg>
        <pc:picChg chg="add mod">
          <ac:chgData name="Aurelien Domont" userId="6da7715ce44349b3" providerId="LiveId" clId="{900ED9AA-9E3E-4466-B9E3-DFC8365613D8}" dt="2022-03-18T03:51:37.539" v="3070" actId="14100"/>
          <ac:picMkLst>
            <pc:docMk/>
            <pc:sldMk cId="2287265630" sldId="2389"/>
            <ac:picMk id="94" creationId="{C4CF6A2A-44B9-452E-9E79-D8F51F4F64A3}"/>
          </ac:picMkLst>
        </pc:picChg>
        <pc:picChg chg="add mod">
          <ac:chgData name="Aurelien Domont" userId="6da7715ce44349b3" providerId="LiveId" clId="{900ED9AA-9E3E-4466-B9E3-DFC8365613D8}" dt="2022-03-18T03:51:32.899" v="3069" actId="1076"/>
          <ac:picMkLst>
            <pc:docMk/>
            <pc:sldMk cId="2287265630" sldId="2389"/>
            <ac:picMk id="95" creationId="{82F0F576-BE4D-413D-A172-663C6C6EEBF5}"/>
          </ac:picMkLst>
        </pc:picChg>
        <pc:picChg chg="add mod">
          <ac:chgData name="Aurelien Domont" userId="6da7715ce44349b3" providerId="LiveId" clId="{900ED9AA-9E3E-4466-B9E3-DFC8365613D8}" dt="2022-03-18T03:51:13.011" v="3065" actId="1076"/>
          <ac:picMkLst>
            <pc:docMk/>
            <pc:sldMk cId="2287265630" sldId="2389"/>
            <ac:picMk id="96" creationId="{D94D4719-5845-479B-AD13-C7B8FA0203F4}"/>
          </ac:picMkLst>
        </pc:picChg>
        <pc:picChg chg="add mod">
          <ac:chgData name="Aurelien Domont" userId="6da7715ce44349b3" providerId="LiveId" clId="{900ED9AA-9E3E-4466-B9E3-DFC8365613D8}" dt="2022-03-18T03:52:12.005" v="3073" actId="1076"/>
          <ac:picMkLst>
            <pc:docMk/>
            <pc:sldMk cId="2287265630" sldId="2389"/>
            <ac:picMk id="97" creationId="{052C5C81-9AC8-4E8A-9551-7228999A4408}"/>
          </ac:picMkLst>
        </pc:picChg>
        <pc:picChg chg="add mod">
          <ac:chgData name="Aurelien Domont" userId="6da7715ce44349b3" providerId="LiveId" clId="{900ED9AA-9E3E-4466-B9E3-DFC8365613D8}" dt="2022-03-18T03:53:29.703" v="3088" actId="1037"/>
          <ac:picMkLst>
            <pc:docMk/>
            <pc:sldMk cId="2287265630" sldId="2389"/>
            <ac:picMk id="98" creationId="{EB10038F-AE4E-481E-ABD2-F413BF92620C}"/>
          </ac:picMkLst>
        </pc:picChg>
        <pc:picChg chg="add mod">
          <ac:chgData name="Aurelien Domont" userId="6da7715ce44349b3" providerId="LiveId" clId="{900ED9AA-9E3E-4466-B9E3-DFC8365613D8}" dt="2022-03-18T03:54:15.738" v="3098" actId="1076"/>
          <ac:picMkLst>
            <pc:docMk/>
            <pc:sldMk cId="2287265630" sldId="2389"/>
            <ac:picMk id="99" creationId="{BA869768-AEE5-42BD-BB48-32D0EE42671A}"/>
          </ac:picMkLst>
        </pc:picChg>
        <pc:picChg chg="add mod">
          <ac:chgData name="Aurelien Domont" userId="6da7715ce44349b3" providerId="LiveId" clId="{900ED9AA-9E3E-4466-B9E3-DFC8365613D8}" dt="2022-03-18T03:54:19.710" v="3099" actId="1076"/>
          <ac:picMkLst>
            <pc:docMk/>
            <pc:sldMk cId="2287265630" sldId="2389"/>
            <ac:picMk id="100" creationId="{BF013CD4-90B5-4822-9A62-0FD20C83F12C}"/>
          </ac:picMkLst>
        </pc:picChg>
        <pc:picChg chg="add mod">
          <ac:chgData name="Aurelien Domont" userId="6da7715ce44349b3" providerId="LiveId" clId="{900ED9AA-9E3E-4466-B9E3-DFC8365613D8}" dt="2022-03-18T03:54:33.711" v="3103" actId="1076"/>
          <ac:picMkLst>
            <pc:docMk/>
            <pc:sldMk cId="2287265630" sldId="2389"/>
            <ac:picMk id="101" creationId="{2604B4B0-5AB3-40EA-BD07-380D243635A8}"/>
          </ac:picMkLst>
        </pc:picChg>
      </pc:sldChg>
      <pc:sldChg chg="modSp add del mod">
        <pc:chgData name="Aurelien Domont" userId="6da7715ce44349b3" providerId="LiveId" clId="{900ED9AA-9E3E-4466-B9E3-DFC8365613D8}" dt="2022-03-22T03:35:35.926" v="3314" actId="47"/>
        <pc:sldMkLst>
          <pc:docMk/>
          <pc:sldMk cId="630230816" sldId="2390"/>
        </pc:sldMkLst>
        <pc:spChg chg="mod">
          <ac:chgData name="Aurelien Domont" userId="6da7715ce44349b3" providerId="LiveId" clId="{900ED9AA-9E3E-4466-B9E3-DFC8365613D8}" dt="2022-03-17T05:44:54.094" v="2434" actId="14100"/>
          <ac:spMkLst>
            <pc:docMk/>
            <pc:sldMk cId="630230816" sldId="2390"/>
            <ac:spMk id="17" creationId="{1D60CA45-0499-4729-83B1-A8C1762BAB05}"/>
          </ac:spMkLst>
        </pc:spChg>
      </pc:sldChg>
      <pc:sldChg chg="addSp delSp modSp add mod">
        <pc:chgData name="Aurelien Domont" userId="6da7715ce44349b3" providerId="LiveId" clId="{900ED9AA-9E3E-4466-B9E3-DFC8365613D8}" dt="2022-03-17T05:51:39.989" v="2610" actId="20577"/>
        <pc:sldMkLst>
          <pc:docMk/>
          <pc:sldMk cId="2411212562" sldId="2391"/>
        </pc:sldMkLst>
        <pc:spChg chg="add mod">
          <ac:chgData name="Aurelien Domont" userId="6da7715ce44349b3" providerId="LiveId" clId="{900ED9AA-9E3E-4466-B9E3-DFC8365613D8}" dt="2022-03-17T05:51:08.330" v="2604" actId="114"/>
          <ac:spMkLst>
            <pc:docMk/>
            <pc:sldMk cId="2411212562" sldId="2391"/>
            <ac:spMk id="6" creationId="{CD029618-9B6C-4AB0-AD8B-3093563EE62F}"/>
          </ac:spMkLst>
        </pc:spChg>
        <pc:spChg chg="mod">
          <ac:chgData name="Aurelien Domont" userId="6da7715ce44349b3" providerId="LiveId" clId="{900ED9AA-9E3E-4466-B9E3-DFC8365613D8}" dt="2022-03-17T05:51:39.989" v="2610" actId="20577"/>
          <ac:spMkLst>
            <pc:docMk/>
            <pc:sldMk cId="2411212562" sldId="2391"/>
            <ac:spMk id="16" creationId="{6C2BB713-9637-4B9B-938F-E9768876782A}"/>
          </ac:spMkLst>
        </pc:spChg>
        <pc:spChg chg="del">
          <ac:chgData name="Aurelien Domont" userId="6da7715ce44349b3" providerId="LiveId" clId="{900ED9AA-9E3E-4466-B9E3-DFC8365613D8}" dt="2022-03-17T05:48:45.475" v="2538" actId="478"/>
          <ac:spMkLst>
            <pc:docMk/>
            <pc:sldMk cId="2411212562" sldId="2391"/>
            <ac:spMk id="21" creationId="{7E794ABE-DD29-4B8C-A152-E485FEC31F1E}"/>
          </ac:spMkLst>
        </pc:spChg>
        <pc:spChg chg="del">
          <ac:chgData name="Aurelien Domont" userId="6da7715ce44349b3" providerId="LiveId" clId="{900ED9AA-9E3E-4466-B9E3-DFC8365613D8}" dt="2022-03-17T05:48:45.475" v="2538" actId="478"/>
          <ac:spMkLst>
            <pc:docMk/>
            <pc:sldMk cId="2411212562" sldId="2391"/>
            <ac:spMk id="22" creationId="{1D2B2CAF-8552-42EB-BBED-B353FFE3F336}"/>
          </ac:spMkLst>
        </pc:spChg>
        <pc:spChg chg="del">
          <ac:chgData name="Aurelien Domont" userId="6da7715ce44349b3" providerId="LiveId" clId="{900ED9AA-9E3E-4466-B9E3-DFC8365613D8}" dt="2022-03-17T05:48:45.475" v="2538" actId="478"/>
          <ac:spMkLst>
            <pc:docMk/>
            <pc:sldMk cId="2411212562" sldId="2391"/>
            <ac:spMk id="23" creationId="{5ED72AC7-36ED-43A9-AE6D-2F153705BCD2}"/>
          </ac:spMkLst>
        </pc:spChg>
        <pc:spChg chg="del">
          <ac:chgData name="Aurelien Domont" userId="6da7715ce44349b3" providerId="LiveId" clId="{900ED9AA-9E3E-4466-B9E3-DFC8365613D8}" dt="2022-03-17T05:48:45.475" v="2538" actId="478"/>
          <ac:spMkLst>
            <pc:docMk/>
            <pc:sldMk cId="2411212562" sldId="2391"/>
            <ac:spMk id="24" creationId="{DF0FB584-A8F8-477F-8970-720ADFB205F2}"/>
          </ac:spMkLst>
        </pc:spChg>
        <pc:spChg chg="del">
          <ac:chgData name="Aurelien Domont" userId="6da7715ce44349b3" providerId="LiveId" clId="{900ED9AA-9E3E-4466-B9E3-DFC8365613D8}" dt="2022-03-17T05:48:45.475" v="2538" actId="478"/>
          <ac:spMkLst>
            <pc:docMk/>
            <pc:sldMk cId="2411212562" sldId="2391"/>
            <ac:spMk id="26" creationId="{EC2FE8F2-A95C-4299-8170-CD14DCDF6B07}"/>
          </ac:spMkLst>
        </pc:spChg>
        <pc:spChg chg="del">
          <ac:chgData name="Aurelien Domont" userId="6da7715ce44349b3" providerId="LiveId" clId="{900ED9AA-9E3E-4466-B9E3-DFC8365613D8}" dt="2022-03-17T05:48:45.475" v="2538" actId="478"/>
          <ac:spMkLst>
            <pc:docMk/>
            <pc:sldMk cId="2411212562" sldId="2391"/>
            <ac:spMk id="28" creationId="{97963A32-46BD-4622-9C6F-AB902263F424}"/>
          </ac:spMkLst>
        </pc:spChg>
        <pc:spChg chg="del">
          <ac:chgData name="Aurelien Domont" userId="6da7715ce44349b3" providerId="LiveId" clId="{900ED9AA-9E3E-4466-B9E3-DFC8365613D8}" dt="2022-03-17T05:48:45.475" v="2538" actId="478"/>
          <ac:spMkLst>
            <pc:docMk/>
            <pc:sldMk cId="2411212562" sldId="2391"/>
            <ac:spMk id="30" creationId="{77620587-BD6E-4145-B6E6-D64963566BC0}"/>
          </ac:spMkLst>
        </pc:spChg>
        <pc:spChg chg="del">
          <ac:chgData name="Aurelien Domont" userId="6da7715ce44349b3" providerId="LiveId" clId="{900ED9AA-9E3E-4466-B9E3-DFC8365613D8}" dt="2022-03-17T05:48:45.475" v="2538" actId="478"/>
          <ac:spMkLst>
            <pc:docMk/>
            <pc:sldMk cId="2411212562" sldId="2391"/>
            <ac:spMk id="32" creationId="{8695B079-8157-4ADC-8986-6F5C2B7CCDF3}"/>
          </ac:spMkLst>
        </pc:spChg>
        <pc:spChg chg="del">
          <ac:chgData name="Aurelien Domont" userId="6da7715ce44349b3" providerId="LiveId" clId="{900ED9AA-9E3E-4466-B9E3-DFC8365613D8}" dt="2022-03-17T05:48:45.475" v="2538" actId="478"/>
          <ac:spMkLst>
            <pc:docMk/>
            <pc:sldMk cId="2411212562" sldId="2391"/>
            <ac:spMk id="34" creationId="{00E08AD8-D881-493C-99C1-FED5D9181E76}"/>
          </ac:spMkLst>
        </pc:spChg>
        <pc:spChg chg="del">
          <ac:chgData name="Aurelien Domont" userId="6da7715ce44349b3" providerId="LiveId" clId="{900ED9AA-9E3E-4466-B9E3-DFC8365613D8}" dt="2022-03-17T05:48:45.475" v="2538" actId="478"/>
          <ac:spMkLst>
            <pc:docMk/>
            <pc:sldMk cId="2411212562" sldId="2391"/>
            <ac:spMk id="35" creationId="{14CE07FC-5453-466A-949B-38DEC3D2A443}"/>
          </ac:spMkLst>
        </pc:spChg>
        <pc:spChg chg="del">
          <ac:chgData name="Aurelien Domont" userId="6da7715ce44349b3" providerId="LiveId" clId="{900ED9AA-9E3E-4466-B9E3-DFC8365613D8}" dt="2022-03-17T05:48:45.475" v="2538" actId="478"/>
          <ac:spMkLst>
            <pc:docMk/>
            <pc:sldMk cId="2411212562" sldId="2391"/>
            <ac:spMk id="36" creationId="{336F5A5C-BB8C-449C-A07A-4E73E675691B}"/>
          </ac:spMkLst>
        </pc:spChg>
        <pc:spChg chg="del">
          <ac:chgData name="Aurelien Domont" userId="6da7715ce44349b3" providerId="LiveId" clId="{900ED9AA-9E3E-4466-B9E3-DFC8365613D8}" dt="2022-03-17T05:48:45.475" v="2538" actId="478"/>
          <ac:spMkLst>
            <pc:docMk/>
            <pc:sldMk cId="2411212562" sldId="2391"/>
            <ac:spMk id="37" creationId="{0966E285-15D7-4F72-AC3B-F2DA81060247}"/>
          </ac:spMkLst>
        </pc:spChg>
        <pc:spChg chg="del">
          <ac:chgData name="Aurelien Domont" userId="6da7715ce44349b3" providerId="LiveId" clId="{900ED9AA-9E3E-4466-B9E3-DFC8365613D8}" dt="2022-03-17T05:48:45.475" v="2538" actId="478"/>
          <ac:spMkLst>
            <pc:docMk/>
            <pc:sldMk cId="2411212562" sldId="2391"/>
            <ac:spMk id="38" creationId="{85BC57C5-FD94-4A67-B205-188C252C535F}"/>
          </ac:spMkLst>
        </pc:spChg>
        <pc:spChg chg="del">
          <ac:chgData name="Aurelien Domont" userId="6da7715ce44349b3" providerId="LiveId" clId="{900ED9AA-9E3E-4466-B9E3-DFC8365613D8}" dt="2022-03-17T05:48:45.475" v="2538" actId="478"/>
          <ac:spMkLst>
            <pc:docMk/>
            <pc:sldMk cId="2411212562" sldId="2391"/>
            <ac:spMk id="39" creationId="{D79E529F-13B5-4CF9-A942-219A153E5E59}"/>
          </ac:spMkLst>
        </pc:spChg>
        <pc:spChg chg="del">
          <ac:chgData name="Aurelien Domont" userId="6da7715ce44349b3" providerId="LiveId" clId="{900ED9AA-9E3E-4466-B9E3-DFC8365613D8}" dt="2022-03-17T05:48:45.475" v="2538" actId="478"/>
          <ac:spMkLst>
            <pc:docMk/>
            <pc:sldMk cId="2411212562" sldId="2391"/>
            <ac:spMk id="40" creationId="{E486CCB1-B792-4021-9E55-86BF237EA80D}"/>
          </ac:spMkLst>
        </pc:spChg>
        <pc:spChg chg="del">
          <ac:chgData name="Aurelien Domont" userId="6da7715ce44349b3" providerId="LiveId" clId="{900ED9AA-9E3E-4466-B9E3-DFC8365613D8}" dt="2022-03-17T05:48:45.475" v="2538" actId="478"/>
          <ac:spMkLst>
            <pc:docMk/>
            <pc:sldMk cId="2411212562" sldId="2391"/>
            <ac:spMk id="41" creationId="{6A12EA96-DF67-41DD-AEF7-A2FC8207A2CC}"/>
          </ac:spMkLst>
        </pc:spChg>
        <pc:spChg chg="del">
          <ac:chgData name="Aurelien Domont" userId="6da7715ce44349b3" providerId="LiveId" clId="{900ED9AA-9E3E-4466-B9E3-DFC8365613D8}" dt="2022-03-17T05:48:45.475" v="2538" actId="478"/>
          <ac:spMkLst>
            <pc:docMk/>
            <pc:sldMk cId="2411212562" sldId="2391"/>
            <ac:spMk id="42" creationId="{C65761C2-F563-46EC-BE7A-E6729B087607}"/>
          </ac:spMkLst>
        </pc:spChg>
        <pc:spChg chg="del">
          <ac:chgData name="Aurelien Domont" userId="6da7715ce44349b3" providerId="LiveId" clId="{900ED9AA-9E3E-4466-B9E3-DFC8365613D8}" dt="2022-03-17T05:48:45.475" v="2538" actId="478"/>
          <ac:spMkLst>
            <pc:docMk/>
            <pc:sldMk cId="2411212562" sldId="2391"/>
            <ac:spMk id="43" creationId="{56E38EF5-EA62-4DF8-977B-6385A0B66D0F}"/>
          </ac:spMkLst>
        </pc:spChg>
        <pc:spChg chg="del">
          <ac:chgData name="Aurelien Domont" userId="6da7715ce44349b3" providerId="LiveId" clId="{900ED9AA-9E3E-4466-B9E3-DFC8365613D8}" dt="2022-03-17T05:48:45.475" v="2538" actId="478"/>
          <ac:spMkLst>
            <pc:docMk/>
            <pc:sldMk cId="2411212562" sldId="2391"/>
            <ac:spMk id="44" creationId="{F9CF0BE0-20C0-4BCD-8F92-55E2CBE6051A}"/>
          </ac:spMkLst>
        </pc:spChg>
        <pc:spChg chg="del">
          <ac:chgData name="Aurelien Domont" userId="6da7715ce44349b3" providerId="LiveId" clId="{900ED9AA-9E3E-4466-B9E3-DFC8365613D8}" dt="2022-03-17T05:48:45.475" v="2538" actId="478"/>
          <ac:spMkLst>
            <pc:docMk/>
            <pc:sldMk cId="2411212562" sldId="2391"/>
            <ac:spMk id="52" creationId="{C52E817E-9708-4154-B7FA-25BB832AF6D9}"/>
          </ac:spMkLst>
        </pc:spChg>
        <pc:spChg chg="del">
          <ac:chgData name="Aurelien Domont" userId="6da7715ce44349b3" providerId="LiveId" clId="{900ED9AA-9E3E-4466-B9E3-DFC8365613D8}" dt="2022-03-17T05:48:45.475" v="2538" actId="478"/>
          <ac:spMkLst>
            <pc:docMk/>
            <pc:sldMk cId="2411212562" sldId="2391"/>
            <ac:spMk id="53" creationId="{0525FE88-217C-44DC-97DC-617D4FC341EB}"/>
          </ac:spMkLst>
        </pc:spChg>
        <pc:spChg chg="del">
          <ac:chgData name="Aurelien Domont" userId="6da7715ce44349b3" providerId="LiveId" clId="{900ED9AA-9E3E-4466-B9E3-DFC8365613D8}" dt="2022-03-17T05:48:45.475" v="2538" actId="478"/>
          <ac:spMkLst>
            <pc:docMk/>
            <pc:sldMk cId="2411212562" sldId="2391"/>
            <ac:spMk id="54" creationId="{AA0B0DB8-991B-43C8-A576-D92ECCB0E151}"/>
          </ac:spMkLst>
        </pc:spChg>
        <pc:spChg chg="del">
          <ac:chgData name="Aurelien Domont" userId="6da7715ce44349b3" providerId="LiveId" clId="{900ED9AA-9E3E-4466-B9E3-DFC8365613D8}" dt="2022-03-17T05:48:45.475" v="2538" actId="478"/>
          <ac:spMkLst>
            <pc:docMk/>
            <pc:sldMk cId="2411212562" sldId="2391"/>
            <ac:spMk id="55" creationId="{C43D4707-FB9E-4860-9467-9A2412E557C6}"/>
          </ac:spMkLst>
        </pc:spChg>
        <pc:spChg chg="del">
          <ac:chgData name="Aurelien Domont" userId="6da7715ce44349b3" providerId="LiveId" clId="{900ED9AA-9E3E-4466-B9E3-DFC8365613D8}" dt="2022-03-17T05:48:45.475" v="2538" actId="478"/>
          <ac:spMkLst>
            <pc:docMk/>
            <pc:sldMk cId="2411212562" sldId="2391"/>
            <ac:spMk id="56" creationId="{49AE66F9-9ADB-4BD9-8A3A-5AEC18999A97}"/>
          </ac:spMkLst>
        </pc:spChg>
        <pc:spChg chg="del">
          <ac:chgData name="Aurelien Domont" userId="6da7715ce44349b3" providerId="LiveId" clId="{900ED9AA-9E3E-4466-B9E3-DFC8365613D8}" dt="2022-03-17T05:48:45.475" v="2538" actId="478"/>
          <ac:spMkLst>
            <pc:docMk/>
            <pc:sldMk cId="2411212562" sldId="2391"/>
            <ac:spMk id="57" creationId="{B63E8F91-C9C8-467C-B54C-5D48FF32E9FD}"/>
          </ac:spMkLst>
        </pc:spChg>
        <pc:spChg chg="del">
          <ac:chgData name="Aurelien Domont" userId="6da7715ce44349b3" providerId="LiveId" clId="{900ED9AA-9E3E-4466-B9E3-DFC8365613D8}" dt="2022-03-17T05:48:45.475" v="2538" actId="478"/>
          <ac:spMkLst>
            <pc:docMk/>
            <pc:sldMk cId="2411212562" sldId="2391"/>
            <ac:spMk id="58" creationId="{6599AFD0-6077-4804-B1DC-9A2B9E32A9EB}"/>
          </ac:spMkLst>
        </pc:spChg>
        <pc:spChg chg="del">
          <ac:chgData name="Aurelien Domont" userId="6da7715ce44349b3" providerId="LiveId" clId="{900ED9AA-9E3E-4466-B9E3-DFC8365613D8}" dt="2022-03-17T05:48:45.475" v="2538" actId="478"/>
          <ac:spMkLst>
            <pc:docMk/>
            <pc:sldMk cId="2411212562" sldId="2391"/>
            <ac:spMk id="59" creationId="{6A7E64FB-E465-46AC-B2C5-31FE9A1712D9}"/>
          </ac:spMkLst>
        </pc:spChg>
        <pc:spChg chg="del">
          <ac:chgData name="Aurelien Domont" userId="6da7715ce44349b3" providerId="LiveId" clId="{900ED9AA-9E3E-4466-B9E3-DFC8365613D8}" dt="2022-03-17T05:48:45.475" v="2538" actId="478"/>
          <ac:spMkLst>
            <pc:docMk/>
            <pc:sldMk cId="2411212562" sldId="2391"/>
            <ac:spMk id="60" creationId="{EDDAAF7E-6B6B-4363-B0ED-C4EE20F324EE}"/>
          </ac:spMkLst>
        </pc:spChg>
        <pc:spChg chg="del">
          <ac:chgData name="Aurelien Domont" userId="6da7715ce44349b3" providerId="LiveId" clId="{900ED9AA-9E3E-4466-B9E3-DFC8365613D8}" dt="2022-03-17T05:48:45.475" v="2538" actId="478"/>
          <ac:spMkLst>
            <pc:docMk/>
            <pc:sldMk cId="2411212562" sldId="2391"/>
            <ac:spMk id="61" creationId="{450F4232-98D8-4071-9EB8-1C16B68E951C}"/>
          </ac:spMkLst>
        </pc:spChg>
        <pc:spChg chg="del">
          <ac:chgData name="Aurelien Domont" userId="6da7715ce44349b3" providerId="LiveId" clId="{900ED9AA-9E3E-4466-B9E3-DFC8365613D8}" dt="2022-03-17T05:48:45.475" v="2538" actId="478"/>
          <ac:spMkLst>
            <pc:docMk/>
            <pc:sldMk cId="2411212562" sldId="2391"/>
            <ac:spMk id="62" creationId="{AAFFB827-E030-4A79-B525-EEE9E2D86DC5}"/>
          </ac:spMkLst>
        </pc:spChg>
        <pc:spChg chg="del">
          <ac:chgData name="Aurelien Domont" userId="6da7715ce44349b3" providerId="LiveId" clId="{900ED9AA-9E3E-4466-B9E3-DFC8365613D8}" dt="2022-03-17T05:48:45.475" v="2538" actId="478"/>
          <ac:spMkLst>
            <pc:docMk/>
            <pc:sldMk cId="2411212562" sldId="2391"/>
            <ac:spMk id="63" creationId="{2CE72724-0683-4D25-91E0-E32236D4322E}"/>
          </ac:spMkLst>
        </pc:spChg>
        <pc:spChg chg="add mod">
          <ac:chgData name="Aurelien Domont" userId="6da7715ce44349b3" providerId="LiveId" clId="{900ED9AA-9E3E-4466-B9E3-DFC8365613D8}" dt="2022-03-17T05:50:29.507" v="2576" actId="207"/>
          <ac:spMkLst>
            <pc:docMk/>
            <pc:sldMk cId="2411212562" sldId="2391"/>
            <ac:spMk id="64" creationId="{FE1820CD-8F32-4CDD-B6B5-793FEC969111}"/>
          </ac:spMkLst>
        </pc:spChg>
        <pc:spChg chg="add mod">
          <ac:chgData name="Aurelien Domont" userId="6da7715ce44349b3" providerId="LiveId" clId="{900ED9AA-9E3E-4466-B9E3-DFC8365613D8}" dt="2022-03-17T05:48:55.593" v="2539"/>
          <ac:spMkLst>
            <pc:docMk/>
            <pc:sldMk cId="2411212562" sldId="2391"/>
            <ac:spMk id="65" creationId="{C4802611-6060-4521-8D04-9FA01627248C}"/>
          </ac:spMkLst>
        </pc:spChg>
        <pc:spChg chg="add mod">
          <ac:chgData name="Aurelien Domont" userId="6da7715ce44349b3" providerId="LiveId" clId="{900ED9AA-9E3E-4466-B9E3-DFC8365613D8}" dt="2022-03-17T05:48:55.593" v="2539"/>
          <ac:spMkLst>
            <pc:docMk/>
            <pc:sldMk cId="2411212562" sldId="2391"/>
            <ac:spMk id="66" creationId="{EA26D75A-3517-454E-81AA-0B600CF97CD3}"/>
          </ac:spMkLst>
        </pc:spChg>
        <pc:spChg chg="add mod">
          <ac:chgData name="Aurelien Domont" userId="6da7715ce44349b3" providerId="LiveId" clId="{900ED9AA-9E3E-4466-B9E3-DFC8365613D8}" dt="2022-03-17T05:48:55.593" v="2539"/>
          <ac:spMkLst>
            <pc:docMk/>
            <pc:sldMk cId="2411212562" sldId="2391"/>
            <ac:spMk id="67" creationId="{58251E98-181E-4FCE-8B63-690B068E1352}"/>
          </ac:spMkLst>
        </pc:spChg>
        <pc:picChg chg="del">
          <ac:chgData name="Aurelien Domont" userId="6da7715ce44349b3" providerId="LiveId" clId="{900ED9AA-9E3E-4466-B9E3-DFC8365613D8}" dt="2022-03-17T05:48:45.475" v="2538" actId="478"/>
          <ac:picMkLst>
            <pc:docMk/>
            <pc:sldMk cId="2411212562" sldId="2391"/>
            <ac:picMk id="25" creationId="{637413D4-38EB-4920-812A-003859D8D0CA}"/>
          </ac:picMkLst>
        </pc:picChg>
        <pc:picChg chg="del">
          <ac:chgData name="Aurelien Domont" userId="6da7715ce44349b3" providerId="LiveId" clId="{900ED9AA-9E3E-4466-B9E3-DFC8365613D8}" dt="2022-03-17T05:48:45.475" v="2538" actId="478"/>
          <ac:picMkLst>
            <pc:docMk/>
            <pc:sldMk cId="2411212562" sldId="2391"/>
            <ac:picMk id="27" creationId="{CE3CBCF7-AC46-4630-9406-7D0E27FC99CA}"/>
          </ac:picMkLst>
        </pc:picChg>
        <pc:picChg chg="del">
          <ac:chgData name="Aurelien Domont" userId="6da7715ce44349b3" providerId="LiveId" clId="{900ED9AA-9E3E-4466-B9E3-DFC8365613D8}" dt="2022-03-17T05:48:45.475" v="2538" actId="478"/>
          <ac:picMkLst>
            <pc:docMk/>
            <pc:sldMk cId="2411212562" sldId="2391"/>
            <ac:picMk id="29" creationId="{B1096718-D41F-4B02-B2EB-B42DA00C3C03}"/>
          </ac:picMkLst>
        </pc:picChg>
        <pc:picChg chg="del">
          <ac:chgData name="Aurelien Domont" userId="6da7715ce44349b3" providerId="LiveId" clId="{900ED9AA-9E3E-4466-B9E3-DFC8365613D8}" dt="2022-03-17T05:48:45.475" v="2538" actId="478"/>
          <ac:picMkLst>
            <pc:docMk/>
            <pc:sldMk cId="2411212562" sldId="2391"/>
            <ac:picMk id="31" creationId="{251AB365-DC99-4F73-BE5B-DB80C328C584}"/>
          </ac:picMkLst>
        </pc:picChg>
        <pc:picChg chg="del">
          <ac:chgData name="Aurelien Domont" userId="6da7715ce44349b3" providerId="LiveId" clId="{900ED9AA-9E3E-4466-B9E3-DFC8365613D8}" dt="2022-03-17T05:48:45.475" v="2538" actId="478"/>
          <ac:picMkLst>
            <pc:docMk/>
            <pc:sldMk cId="2411212562" sldId="2391"/>
            <ac:picMk id="33" creationId="{F11DE3EA-EC3E-4D4F-8A16-678896010F94}"/>
          </ac:picMkLst>
        </pc:picChg>
        <pc:picChg chg="del">
          <ac:chgData name="Aurelien Domont" userId="6da7715ce44349b3" providerId="LiveId" clId="{900ED9AA-9E3E-4466-B9E3-DFC8365613D8}" dt="2022-03-17T05:48:45.475" v="2538" actId="478"/>
          <ac:picMkLst>
            <pc:docMk/>
            <pc:sldMk cId="2411212562" sldId="2391"/>
            <ac:picMk id="45" creationId="{F80C8090-92C6-4F8E-8A9B-E8305654FE68}"/>
          </ac:picMkLst>
        </pc:picChg>
        <pc:picChg chg="del">
          <ac:chgData name="Aurelien Domont" userId="6da7715ce44349b3" providerId="LiveId" clId="{900ED9AA-9E3E-4466-B9E3-DFC8365613D8}" dt="2022-03-17T05:48:45.475" v="2538" actId="478"/>
          <ac:picMkLst>
            <pc:docMk/>
            <pc:sldMk cId="2411212562" sldId="2391"/>
            <ac:picMk id="46" creationId="{5CF1B6B0-DDC1-4587-91AB-92A27A38193E}"/>
          </ac:picMkLst>
        </pc:picChg>
        <pc:picChg chg="del">
          <ac:chgData name="Aurelien Domont" userId="6da7715ce44349b3" providerId="LiveId" clId="{900ED9AA-9E3E-4466-B9E3-DFC8365613D8}" dt="2022-03-17T05:48:45.475" v="2538" actId="478"/>
          <ac:picMkLst>
            <pc:docMk/>
            <pc:sldMk cId="2411212562" sldId="2391"/>
            <ac:picMk id="47" creationId="{B1D43FE1-EDA0-44EC-B984-3A7EC9ACE109}"/>
          </ac:picMkLst>
        </pc:picChg>
        <pc:picChg chg="del">
          <ac:chgData name="Aurelien Domont" userId="6da7715ce44349b3" providerId="LiveId" clId="{900ED9AA-9E3E-4466-B9E3-DFC8365613D8}" dt="2022-03-17T05:48:45.475" v="2538" actId="478"/>
          <ac:picMkLst>
            <pc:docMk/>
            <pc:sldMk cId="2411212562" sldId="2391"/>
            <ac:picMk id="48" creationId="{B6D497DE-15B3-4CB5-AE6C-B367ACA3F49A}"/>
          </ac:picMkLst>
        </pc:picChg>
        <pc:picChg chg="del">
          <ac:chgData name="Aurelien Domont" userId="6da7715ce44349b3" providerId="LiveId" clId="{900ED9AA-9E3E-4466-B9E3-DFC8365613D8}" dt="2022-03-17T05:48:45.475" v="2538" actId="478"/>
          <ac:picMkLst>
            <pc:docMk/>
            <pc:sldMk cId="2411212562" sldId="2391"/>
            <ac:picMk id="49" creationId="{102F6293-1E9E-49A3-B858-BF084B1093F7}"/>
          </ac:picMkLst>
        </pc:picChg>
        <pc:picChg chg="del">
          <ac:chgData name="Aurelien Domont" userId="6da7715ce44349b3" providerId="LiveId" clId="{900ED9AA-9E3E-4466-B9E3-DFC8365613D8}" dt="2022-03-17T05:48:45.475" v="2538" actId="478"/>
          <ac:picMkLst>
            <pc:docMk/>
            <pc:sldMk cId="2411212562" sldId="2391"/>
            <ac:picMk id="50" creationId="{3ADA56BF-86AC-4742-B892-D1642A8E47AD}"/>
          </ac:picMkLst>
        </pc:picChg>
        <pc:picChg chg="del">
          <ac:chgData name="Aurelien Domont" userId="6da7715ce44349b3" providerId="LiveId" clId="{900ED9AA-9E3E-4466-B9E3-DFC8365613D8}" dt="2022-03-17T05:48:45.475" v="2538" actId="478"/>
          <ac:picMkLst>
            <pc:docMk/>
            <pc:sldMk cId="2411212562" sldId="2391"/>
            <ac:picMk id="51" creationId="{7782F357-1A38-4439-A5C1-B10C436577BE}"/>
          </ac:picMkLst>
        </pc:picChg>
        <pc:picChg chg="add mod">
          <ac:chgData name="Aurelien Domont" userId="6da7715ce44349b3" providerId="LiveId" clId="{900ED9AA-9E3E-4466-B9E3-DFC8365613D8}" dt="2022-03-17T05:48:55.593" v="2539"/>
          <ac:picMkLst>
            <pc:docMk/>
            <pc:sldMk cId="2411212562" sldId="2391"/>
            <ac:picMk id="68" creationId="{6D77EDE6-55C6-4319-8518-3EA0DE0757A4}"/>
          </ac:picMkLst>
        </pc:picChg>
        <pc:picChg chg="add mod">
          <ac:chgData name="Aurelien Domont" userId="6da7715ce44349b3" providerId="LiveId" clId="{900ED9AA-9E3E-4466-B9E3-DFC8365613D8}" dt="2022-03-17T05:51:15.870" v="2605" actId="207"/>
          <ac:picMkLst>
            <pc:docMk/>
            <pc:sldMk cId="2411212562" sldId="2391"/>
            <ac:picMk id="69" creationId="{04E2A8BA-520F-4CA3-AD6A-8C64DB478309}"/>
          </ac:picMkLst>
        </pc:picChg>
        <pc:picChg chg="add mod">
          <ac:chgData name="Aurelien Domont" userId="6da7715ce44349b3" providerId="LiveId" clId="{900ED9AA-9E3E-4466-B9E3-DFC8365613D8}" dt="2022-03-17T05:48:55.593" v="2539"/>
          <ac:picMkLst>
            <pc:docMk/>
            <pc:sldMk cId="2411212562" sldId="2391"/>
            <ac:picMk id="70" creationId="{B438BF09-E0F5-41F0-993C-C89D0670C865}"/>
          </ac:picMkLst>
        </pc:picChg>
        <pc:picChg chg="add mod">
          <ac:chgData name="Aurelien Domont" userId="6da7715ce44349b3" providerId="LiveId" clId="{900ED9AA-9E3E-4466-B9E3-DFC8365613D8}" dt="2022-03-17T05:48:55.593" v="2539"/>
          <ac:picMkLst>
            <pc:docMk/>
            <pc:sldMk cId="2411212562" sldId="2391"/>
            <ac:picMk id="71" creationId="{BB54900F-3AD6-49BB-A9EC-3362161A0DE6}"/>
          </ac:picMkLst>
        </pc:picChg>
        <pc:cxnChg chg="add mod">
          <ac:chgData name="Aurelien Domont" userId="6da7715ce44349b3" providerId="LiveId" clId="{900ED9AA-9E3E-4466-B9E3-DFC8365613D8}" dt="2022-03-17T05:49:19.032" v="2543" actId="14100"/>
          <ac:cxnSpMkLst>
            <pc:docMk/>
            <pc:sldMk cId="2411212562" sldId="2391"/>
            <ac:cxnSpMk id="4" creationId="{F6D9384B-BC99-4420-A376-3E1BFCA31B5A}"/>
          </ac:cxnSpMkLst>
        </pc:cxnChg>
      </pc:sldChg>
      <pc:sldChg chg="add del">
        <pc:chgData name="Aurelien Domont" userId="6da7715ce44349b3" providerId="LiveId" clId="{900ED9AA-9E3E-4466-B9E3-DFC8365613D8}" dt="2022-03-18T03:34:12.312" v="2793" actId="47"/>
        <pc:sldMkLst>
          <pc:docMk/>
          <pc:sldMk cId="2096057692" sldId="2392"/>
        </pc:sldMkLst>
      </pc:sldChg>
      <pc:sldChg chg="add del">
        <pc:chgData name="Aurelien Domont" userId="6da7715ce44349b3" providerId="LiveId" clId="{900ED9AA-9E3E-4466-B9E3-DFC8365613D8}" dt="2022-03-18T03:55:03.983" v="3105" actId="47"/>
        <pc:sldMkLst>
          <pc:docMk/>
          <pc:sldMk cId="3201611016" sldId="2392"/>
        </pc:sldMkLst>
      </pc:sldChg>
      <pc:sldChg chg="addSp modSp add mod">
        <pc:chgData name="Aurelien Domont" userId="6da7715ce44349b3" providerId="LiveId" clId="{900ED9AA-9E3E-4466-B9E3-DFC8365613D8}" dt="2022-03-22T03:50:28.334" v="3337"/>
        <pc:sldMkLst>
          <pc:docMk/>
          <pc:sldMk cId="3291231662" sldId="2392"/>
        </pc:sldMkLst>
        <pc:spChg chg="mod">
          <ac:chgData name="Aurelien Domont" userId="6da7715ce44349b3" providerId="LiveId" clId="{900ED9AA-9E3E-4466-B9E3-DFC8365613D8}" dt="2022-03-22T03:50:28.334" v="3337"/>
          <ac:spMkLst>
            <pc:docMk/>
            <pc:sldMk cId="3291231662" sldId="2392"/>
            <ac:spMk id="24" creationId="{E2E2B69D-D4CD-4D18-8AD9-709B42984A2C}"/>
          </ac:spMkLst>
        </pc:spChg>
        <pc:spChg chg="add mod ord">
          <ac:chgData name="Aurelien Domont" userId="6da7715ce44349b3" providerId="LiveId" clId="{900ED9AA-9E3E-4466-B9E3-DFC8365613D8}" dt="2022-03-22T03:33:24.835" v="3161" actId="167"/>
          <ac:spMkLst>
            <pc:docMk/>
            <pc:sldMk cId="3291231662" sldId="2392"/>
            <ac:spMk id="29" creationId="{5BFCA980-D82E-478A-A0A6-92914F64712D}"/>
          </ac:spMkLst>
        </pc:spChg>
      </pc:sldChg>
      <pc:sldChg chg="modSp add mod">
        <pc:chgData name="Aurelien Domont" userId="6da7715ce44349b3" providerId="LiveId" clId="{900ED9AA-9E3E-4466-B9E3-DFC8365613D8}" dt="2022-03-22T03:50:34.907" v="3338"/>
        <pc:sldMkLst>
          <pc:docMk/>
          <pc:sldMk cId="1641887066" sldId="2393"/>
        </pc:sldMkLst>
        <pc:spChg chg="mod">
          <ac:chgData name="Aurelien Domont" userId="6da7715ce44349b3" providerId="LiveId" clId="{900ED9AA-9E3E-4466-B9E3-DFC8365613D8}" dt="2022-03-22T03:50:34.907" v="3338"/>
          <ac:spMkLst>
            <pc:docMk/>
            <pc:sldMk cId="1641887066" sldId="2393"/>
            <ac:spMk id="24" creationId="{E2E2B69D-D4CD-4D18-8AD9-709B42984A2C}"/>
          </ac:spMkLst>
        </pc:spChg>
        <pc:spChg chg="mod">
          <ac:chgData name="Aurelien Domont" userId="6da7715ce44349b3" providerId="LiveId" clId="{900ED9AA-9E3E-4466-B9E3-DFC8365613D8}" dt="2022-03-22T03:33:47.536" v="3181" actId="1036"/>
          <ac:spMkLst>
            <pc:docMk/>
            <pc:sldMk cId="1641887066" sldId="2393"/>
            <ac:spMk id="29" creationId="{5BFCA980-D82E-478A-A0A6-92914F64712D}"/>
          </ac:spMkLst>
        </pc:spChg>
      </pc:sldChg>
      <pc:sldChg chg="modSp add mod">
        <pc:chgData name="Aurelien Domont" userId="6da7715ce44349b3" providerId="LiveId" clId="{900ED9AA-9E3E-4466-B9E3-DFC8365613D8}" dt="2022-03-22T03:34:14.040" v="3204" actId="1036"/>
        <pc:sldMkLst>
          <pc:docMk/>
          <pc:sldMk cId="979576458" sldId="2394"/>
        </pc:sldMkLst>
        <pc:spChg chg="mod">
          <ac:chgData name="Aurelien Domont" userId="6da7715ce44349b3" providerId="LiveId" clId="{900ED9AA-9E3E-4466-B9E3-DFC8365613D8}" dt="2022-03-22T03:34:14.040" v="3204" actId="1036"/>
          <ac:spMkLst>
            <pc:docMk/>
            <pc:sldMk cId="979576458" sldId="2394"/>
            <ac:spMk id="29" creationId="{5BFCA980-D82E-478A-A0A6-92914F64712D}"/>
          </ac:spMkLst>
        </pc:spChg>
      </pc:sldChg>
      <pc:sldChg chg="add del">
        <pc:chgData name="Aurelien Domont" userId="6da7715ce44349b3" providerId="LiveId" clId="{900ED9AA-9E3E-4466-B9E3-DFC8365613D8}" dt="2022-03-22T03:33:55.781" v="3183" actId="2696"/>
        <pc:sldMkLst>
          <pc:docMk/>
          <pc:sldMk cId="2023857802" sldId="2394"/>
        </pc:sldMkLst>
      </pc:sldChg>
      <pc:sldChg chg="modSp add mod">
        <pc:chgData name="Aurelien Domont" userId="6da7715ce44349b3" providerId="LiveId" clId="{900ED9AA-9E3E-4466-B9E3-DFC8365613D8}" dt="2022-03-22T03:50:39.115" v="3339"/>
        <pc:sldMkLst>
          <pc:docMk/>
          <pc:sldMk cId="2167400129" sldId="2395"/>
        </pc:sldMkLst>
        <pc:spChg chg="mod">
          <ac:chgData name="Aurelien Domont" userId="6da7715ce44349b3" providerId="LiveId" clId="{900ED9AA-9E3E-4466-B9E3-DFC8365613D8}" dt="2022-03-22T03:50:39.115" v="3339"/>
          <ac:spMkLst>
            <pc:docMk/>
            <pc:sldMk cId="2167400129" sldId="2395"/>
            <ac:spMk id="24" creationId="{E2E2B69D-D4CD-4D18-8AD9-709B42984A2C}"/>
          </ac:spMkLst>
        </pc:spChg>
        <pc:spChg chg="mod">
          <ac:chgData name="Aurelien Domont" userId="6da7715ce44349b3" providerId="LiveId" clId="{900ED9AA-9E3E-4466-B9E3-DFC8365613D8}" dt="2022-03-22T03:34:32.632" v="3227" actId="1036"/>
          <ac:spMkLst>
            <pc:docMk/>
            <pc:sldMk cId="2167400129" sldId="2395"/>
            <ac:spMk id="29" creationId="{5BFCA980-D82E-478A-A0A6-92914F64712D}"/>
          </ac:spMkLst>
        </pc:spChg>
      </pc:sldChg>
      <pc:sldChg chg="modSp add mod">
        <pc:chgData name="Aurelien Domont" userId="6da7715ce44349b3" providerId="LiveId" clId="{900ED9AA-9E3E-4466-B9E3-DFC8365613D8}" dt="2022-03-22T03:50:42.828" v="3340"/>
        <pc:sldMkLst>
          <pc:docMk/>
          <pc:sldMk cId="1020083957" sldId="2396"/>
        </pc:sldMkLst>
        <pc:spChg chg="mod">
          <ac:chgData name="Aurelien Domont" userId="6da7715ce44349b3" providerId="LiveId" clId="{900ED9AA-9E3E-4466-B9E3-DFC8365613D8}" dt="2022-03-22T03:50:42.828" v="3340"/>
          <ac:spMkLst>
            <pc:docMk/>
            <pc:sldMk cId="1020083957" sldId="2396"/>
            <ac:spMk id="24" creationId="{E2E2B69D-D4CD-4D18-8AD9-709B42984A2C}"/>
          </ac:spMkLst>
        </pc:spChg>
        <pc:spChg chg="mod">
          <ac:chgData name="Aurelien Domont" userId="6da7715ce44349b3" providerId="LiveId" clId="{900ED9AA-9E3E-4466-B9E3-DFC8365613D8}" dt="2022-03-22T03:34:51.761" v="3252" actId="1035"/>
          <ac:spMkLst>
            <pc:docMk/>
            <pc:sldMk cId="1020083957" sldId="2396"/>
            <ac:spMk id="29" creationId="{5BFCA980-D82E-478A-A0A6-92914F64712D}"/>
          </ac:spMkLst>
        </pc:spChg>
      </pc:sldChg>
      <pc:sldChg chg="modSp add mod">
        <pc:chgData name="Aurelien Domont" userId="6da7715ce44349b3" providerId="LiveId" clId="{900ED9AA-9E3E-4466-B9E3-DFC8365613D8}" dt="2022-03-22T03:50:46.993" v="3341"/>
        <pc:sldMkLst>
          <pc:docMk/>
          <pc:sldMk cId="1748776397" sldId="2397"/>
        </pc:sldMkLst>
        <pc:spChg chg="mod">
          <ac:chgData name="Aurelien Domont" userId="6da7715ce44349b3" providerId="LiveId" clId="{900ED9AA-9E3E-4466-B9E3-DFC8365613D8}" dt="2022-03-22T03:50:46.993" v="3341"/>
          <ac:spMkLst>
            <pc:docMk/>
            <pc:sldMk cId="1748776397" sldId="2397"/>
            <ac:spMk id="24" creationId="{E2E2B69D-D4CD-4D18-8AD9-709B42984A2C}"/>
          </ac:spMkLst>
        </pc:spChg>
        <pc:spChg chg="mod">
          <ac:chgData name="Aurelien Domont" userId="6da7715ce44349b3" providerId="LiveId" clId="{900ED9AA-9E3E-4466-B9E3-DFC8365613D8}" dt="2022-03-22T03:35:07.015" v="3281" actId="1035"/>
          <ac:spMkLst>
            <pc:docMk/>
            <pc:sldMk cId="1748776397" sldId="2397"/>
            <ac:spMk id="29" creationId="{5BFCA980-D82E-478A-A0A6-92914F64712D}"/>
          </ac:spMkLst>
        </pc:spChg>
      </pc:sldChg>
      <pc:sldChg chg="modSp add mod">
        <pc:chgData name="Aurelien Domont" userId="6da7715ce44349b3" providerId="LiveId" clId="{900ED9AA-9E3E-4466-B9E3-DFC8365613D8}" dt="2022-03-22T03:50:50.181" v="3342"/>
        <pc:sldMkLst>
          <pc:docMk/>
          <pc:sldMk cId="483228230" sldId="2398"/>
        </pc:sldMkLst>
        <pc:spChg chg="mod">
          <ac:chgData name="Aurelien Domont" userId="6da7715ce44349b3" providerId="LiveId" clId="{900ED9AA-9E3E-4466-B9E3-DFC8365613D8}" dt="2022-03-22T03:50:50.181" v="3342"/>
          <ac:spMkLst>
            <pc:docMk/>
            <pc:sldMk cId="483228230" sldId="2398"/>
            <ac:spMk id="24" creationId="{E2E2B69D-D4CD-4D18-8AD9-709B42984A2C}"/>
          </ac:spMkLst>
        </pc:spChg>
        <pc:spChg chg="mod">
          <ac:chgData name="Aurelien Domont" userId="6da7715ce44349b3" providerId="LiveId" clId="{900ED9AA-9E3E-4466-B9E3-DFC8365613D8}" dt="2022-03-22T03:35:18.799" v="3297" actId="1036"/>
          <ac:spMkLst>
            <pc:docMk/>
            <pc:sldMk cId="483228230" sldId="2398"/>
            <ac:spMk id="29" creationId="{5BFCA980-D82E-478A-A0A6-92914F64712D}"/>
          </ac:spMkLst>
        </pc:spChg>
      </pc:sldChg>
      <pc:sldChg chg="modSp add mod">
        <pc:chgData name="Aurelien Domont" userId="6da7715ce44349b3" providerId="LiveId" clId="{900ED9AA-9E3E-4466-B9E3-DFC8365613D8}" dt="2022-03-22T03:50:53.630" v="3343"/>
        <pc:sldMkLst>
          <pc:docMk/>
          <pc:sldMk cId="3574663825" sldId="2399"/>
        </pc:sldMkLst>
        <pc:spChg chg="mod">
          <ac:chgData name="Aurelien Domont" userId="6da7715ce44349b3" providerId="LiveId" clId="{900ED9AA-9E3E-4466-B9E3-DFC8365613D8}" dt="2022-03-22T03:50:53.630" v="3343"/>
          <ac:spMkLst>
            <pc:docMk/>
            <pc:sldMk cId="3574663825" sldId="2399"/>
            <ac:spMk id="24" creationId="{E2E2B69D-D4CD-4D18-8AD9-709B42984A2C}"/>
          </ac:spMkLst>
        </pc:spChg>
        <pc:spChg chg="mod">
          <ac:chgData name="Aurelien Domont" userId="6da7715ce44349b3" providerId="LiveId" clId="{900ED9AA-9E3E-4466-B9E3-DFC8365613D8}" dt="2022-03-22T03:35:30.736" v="3312" actId="14100"/>
          <ac:spMkLst>
            <pc:docMk/>
            <pc:sldMk cId="3574663825" sldId="2399"/>
            <ac:spMk id="29" creationId="{5BFCA980-D82E-478A-A0A6-92914F64712D}"/>
          </ac:spMkLst>
        </pc:spChg>
      </pc:sldChg>
      <pc:sldChg chg="modSp add mod">
        <pc:chgData name="Aurelien Domont" userId="6da7715ce44349b3" providerId="LiveId" clId="{900ED9AA-9E3E-4466-B9E3-DFC8365613D8}" dt="2022-03-22T03:50:57.128" v="3344"/>
        <pc:sldMkLst>
          <pc:docMk/>
          <pc:sldMk cId="1258609676" sldId="2400"/>
        </pc:sldMkLst>
        <pc:spChg chg="mod">
          <ac:chgData name="Aurelien Domont" userId="6da7715ce44349b3" providerId="LiveId" clId="{900ED9AA-9E3E-4466-B9E3-DFC8365613D8}" dt="2022-03-22T03:50:57.128" v="3344"/>
          <ac:spMkLst>
            <pc:docMk/>
            <pc:sldMk cId="1258609676" sldId="2400"/>
            <ac:spMk id="24" creationId="{E2E2B69D-D4CD-4D18-8AD9-709B42984A2C}"/>
          </ac:spMkLst>
        </pc:spChg>
        <pc:spChg chg="mod">
          <ac:chgData name="Aurelien Domont" userId="6da7715ce44349b3" providerId="LiveId" clId="{900ED9AA-9E3E-4466-B9E3-DFC8365613D8}" dt="2022-03-22T03:35:41.517" v="3333" actId="14100"/>
          <ac:spMkLst>
            <pc:docMk/>
            <pc:sldMk cId="1258609676" sldId="2400"/>
            <ac:spMk id="29" creationId="{5BFCA980-D82E-478A-A0A6-92914F64712D}"/>
          </ac:spMkLst>
        </pc:spChg>
      </pc:sldChg>
      <pc:sldChg chg="addSp delSp modSp add mod">
        <pc:chgData name="Aurelien Domont" userId="6da7715ce44349b3" providerId="LiveId" clId="{900ED9AA-9E3E-4466-B9E3-DFC8365613D8}" dt="2022-03-22T04:12:39.664" v="3429" actId="313"/>
        <pc:sldMkLst>
          <pc:docMk/>
          <pc:sldMk cId="1433362125" sldId="2401"/>
        </pc:sldMkLst>
        <pc:spChg chg="mod">
          <ac:chgData name="Aurelien Domont" userId="6da7715ce44349b3" providerId="LiveId" clId="{900ED9AA-9E3E-4466-B9E3-DFC8365613D8}" dt="2022-03-22T04:11:52.815" v="3396" actId="20577"/>
          <ac:spMkLst>
            <pc:docMk/>
            <pc:sldMk cId="1433362125" sldId="2401"/>
            <ac:spMk id="15" creationId="{C816B62F-A902-46DC-A95B-1D730E459414}"/>
          </ac:spMkLst>
        </pc:spChg>
        <pc:spChg chg="add mod">
          <ac:chgData name="Aurelien Domont" userId="6da7715ce44349b3" providerId="LiveId" clId="{900ED9AA-9E3E-4466-B9E3-DFC8365613D8}" dt="2022-03-22T04:12:39.664" v="3429" actId="313"/>
          <ac:spMkLst>
            <pc:docMk/>
            <pc:sldMk cId="1433362125" sldId="2401"/>
            <ac:spMk id="17" creationId="{0926508A-1149-4FEB-B81E-B6AAB7507A7E}"/>
          </ac:spMkLst>
        </pc:spChg>
        <pc:spChg chg="del">
          <ac:chgData name="Aurelien Domont" userId="6da7715ce44349b3" providerId="LiveId" clId="{900ED9AA-9E3E-4466-B9E3-DFC8365613D8}" dt="2022-03-22T04:12:06.378" v="3398" actId="478"/>
          <ac:spMkLst>
            <pc:docMk/>
            <pc:sldMk cId="1433362125" sldId="2401"/>
            <ac:spMk id="19" creationId="{CB8B0A8F-584D-48CD-99CA-DBDCA0327760}"/>
          </ac:spMkLst>
        </pc:spChg>
      </pc:sldChg>
      <pc:sldChg chg="add del">
        <pc:chgData name="Aurelien Domont" userId="6da7715ce44349b3" providerId="LiveId" clId="{900ED9AA-9E3E-4466-B9E3-DFC8365613D8}" dt="2022-03-17T05:39:40.901" v="2200"/>
        <pc:sldMkLst>
          <pc:docMk/>
          <pc:sldMk cId="3440366293" sldId="2418"/>
        </pc:sldMkLst>
      </pc:sldChg>
      <pc:sldMasterChg chg="addSp modSldLayout">
        <pc:chgData name="Aurelien Domont" userId="6da7715ce44349b3" providerId="LiveId" clId="{900ED9AA-9E3E-4466-B9E3-DFC8365613D8}" dt="2022-03-17T03:36:31.348" v="130"/>
        <pc:sldMasterMkLst>
          <pc:docMk/>
          <pc:sldMasterMk cId="3510198698" sldId="2147483673"/>
        </pc:sldMasterMkLst>
        <pc:spChg chg="add">
          <ac:chgData name="Aurelien Domont" userId="6da7715ce44349b3" providerId="LiveId" clId="{900ED9AA-9E3E-4466-B9E3-DFC8365613D8}" dt="2022-03-17T03:36:31.348" v="130"/>
          <ac:spMkLst>
            <pc:docMk/>
            <pc:sldMasterMk cId="3510198698" sldId="2147483673"/>
            <ac:spMk id="11" creationId="{D7FA7203-CE12-4B66-BC46-AC32AF2F5FAB}"/>
          </ac:spMkLst>
        </pc:spChg>
        <pc:spChg chg="add">
          <ac:chgData name="Aurelien Domont" userId="6da7715ce44349b3" providerId="LiveId" clId="{900ED9AA-9E3E-4466-B9E3-DFC8365613D8}" dt="2022-03-17T03:36:31.348" v="130"/>
          <ac:spMkLst>
            <pc:docMk/>
            <pc:sldMasterMk cId="3510198698" sldId="2147483673"/>
            <ac:spMk id="12" creationId="{2C288E43-64D1-47D8-97FB-C4B308D30FAA}"/>
          </ac:spMkLst>
        </pc:spChg>
        <pc:graphicFrameChg chg="add">
          <ac:chgData name="Aurelien Domont" userId="6da7715ce44349b3" providerId="LiveId" clId="{900ED9AA-9E3E-4466-B9E3-DFC8365613D8}" dt="2022-03-17T03:36:31.348" v="130"/>
          <ac:graphicFrameMkLst>
            <pc:docMk/>
            <pc:sldMasterMk cId="3510198698" sldId="2147483673"/>
            <ac:graphicFrameMk id="10" creationId="{C97FAD1F-1957-4CFA-AC06-854B55FCB940}"/>
          </ac:graphicFrameMkLst>
        </pc:graphicFrameChg>
        <pc:cxnChg chg="add">
          <ac:chgData name="Aurelien Domont" userId="6da7715ce44349b3" providerId="LiveId" clId="{900ED9AA-9E3E-4466-B9E3-DFC8365613D8}" dt="2022-03-17T03:36:31.348" v="130"/>
          <ac:cxnSpMkLst>
            <pc:docMk/>
            <pc:sldMasterMk cId="3510198698" sldId="2147483673"/>
            <ac:cxnSpMk id="13" creationId="{07586BF5-A5F2-4F0A-BF11-BFBB9306DA5B}"/>
          </ac:cxnSpMkLst>
        </pc:cxnChg>
        <pc:sldLayoutChg chg="addSp">
          <pc:chgData name="Aurelien Domont" userId="6da7715ce44349b3" providerId="LiveId" clId="{900ED9AA-9E3E-4466-B9E3-DFC8365613D8}" dt="2022-03-17T03:36:31.348" v="130"/>
          <pc:sldLayoutMkLst>
            <pc:docMk/>
            <pc:sldMasterMk cId="3510198698" sldId="2147483673"/>
            <pc:sldLayoutMk cId="570326465" sldId="2147483674"/>
          </pc:sldLayoutMkLst>
          <pc:spChg chg="add">
            <ac:chgData name="Aurelien Domont" userId="6da7715ce44349b3" providerId="LiveId" clId="{900ED9AA-9E3E-4466-B9E3-DFC8365613D8}" dt="2022-03-17T03:36:31.348" v="130"/>
            <ac:spMkLst>
              <pc:docMk/>
              <pc:sldMasterMk cId="3510198698" sldId="2147483673"/>
              <pc:sldLayoutMk cId="570326465" sldId="2147483674"/>
              <ac:spMk id="9" creationId="{594F06A6-755B-4132-B600-05315E0C6776}"/>
            </ac:spMkLst>
          </pc:spChg>
          <pc:spChg chg="add">
            <ac:chgData name="Aurelien Domont" userId="6da7715ce44349b3" providerId="LiveId" clId="{900ED9AA-9E3E-4466-B9E3-DFC8365613D8}" dt="2022-03-17T03:36:31.348" v="130"/>
            <ac:spMkLst>
              <pc:docMk/>
              <pc:sldMasterMk cId="3510198698" sldId="2147483673"/>
              <pc:sldLayoutMk cId="570326465" sldId="2147483674"/>
              <ac:spMk id="10" creationId="{25475374-5203-41B2-A96F-2CD964FA3BB9}"/>
            </ac:spMkLst>
          </pc:spChg>
          <pc:graphicFrameChg chg="add">
            <ac:chgData name="Aurelien Domont" userId="6da7715ce44349b3" providerId="LiveId" clId="{900ED9AA-9E3E-4466-B9E3-DFC8365613D8}" dt="2022-03-17T03:36:31.348" v="130"/>
            <ac:graphicFrameMkLst>
              <pc:docMk/>
              <pc:sldMasterMk cId="3510198698" sldId="2147483673"/>
              <pc:sldLayoutMk cId="570326465" sldId="2147483674"/>
              <ac:graphicFrameMk id="8" creationId="{27535CFC-DAB8-4291-A45C-5FE154CA4CB7}"/>
            </ac:graphicFrameMkLst>
          </pc:graphicFrameChg>
        </pc:sldLayoutChg>
        <pc:sldLayoutChg chg="addSp">
          <pc:chgData name="Aurelien Domont" userId="6da7715ce44349b3" providerId="LiveId" clId="{900ED9AA-9E3E-4466-B9E3-DFC8365613D8}" dt="2022-03-17T03:36:31.348" v="130"/>
          <pc:sldLayoutMkLst>
            <pc:docMk/>
            <pc:sldMasterMk cId="3510198698" sldId="2147483673"/>
            <pc:sldLayoutMk cId="163536995" sldId="2147483675"/>
          </pc:sldLayoutMkLst>
          <pc:spChg chg="add">
            <ac:chgData name="Aurelien Domont" userId="6da7715ce44349b3" providerId="LiveId" clId="{900ED9AA-9E3E-4466-B9E3-DFC8365613D8}" dt="2022-03-17T03:36:31.348" v="130"/>
            <ac:spMkLst>
              <pc:docMk/>
              <pc:sldMasterMk cId="3510198698" sldId="2147483673"/>
              <pc:sldLayoutMk cId="163536995" sldId="2147483675"/>
              <ac:spMk id="12" creationId="{4C12EB0D-22FE-4032-916E-90F129D76A6A}"/>
            </ac:spMkLst>
          </pc:spChg>
          <pc:spChg chg="add">
            <ac:chgData name="Aurelien Domont" userId="6da7715ce44349b3" providerId="LiveId" clId="{900ED9AA-9E3E-4466-B9E3-DFC8365613D8}" dt="2022-03-17T03:36:31.348" v="130"/>
            <ac:spMkLst>
              <pc:docMk/>
              <pc:sldMasterMk cId="3510198698" sldId="2147483673"/>
              <pc:sldLayoutMk cId="163536995" sldId="2147483675"/>
              <ac:spMk id="14" creationId="{21F0E2B3-E539-41B3-9107-AFCA0F88660D}"/>
            </ac:spMkLst>
          </pc:spChg>
          <pc:graphicFrameChg chg="add">
            <ac:chgData name="Aurelien Domont" userId="6da7715ce44349b3" providerId="LiveId" clId="{900ED9AA-9E3E-4466-B9E3-DFC8365613D8}" dt="2022-03-17T03:36:31.348" v="130"/>
            <ac:graphicFrameMkLst>
              <pc:docMk/>
              <pc:sldMasterMk cId="3510198698" sldId="2147483673"/>
              <pc:sldLayoutMk cId="163536995" sldId="2147483675"/>
              <ac:graphicFrameMk id="10" creationId="{564B880C-B662-4900-86A9-8AD309BBB57B}"/>
            </ac:graphicFrameMkLst>
          </pc:graphicFrameChg>
          <pc:cxnChg chg="add">
            <ac:chgData name="Aurelien Domont" userId="6da7715ce44349b3" providerId="LiveId" clId="{900ED9AA-9E3E-4466-B9E3-DFC8365613D8}" dt="2022-03-17T03:36:31.348" v="130"/>
            <ac:cxnSpMkLst>
              <pc:docMk/>
              <pc:sldMasterMk cId="3510198698" sldId="2147483673"/>
              <pc:sldLayoutMk cId="163536995" sldId="2147483675"/>
              <ac:cxnSpMk id="15" creationId="{6F3D286B-5E11-4B92-BBA8-AB83B496E020}"/>
            </ac:cxnSpMkLst>
          </pc:cxnChg>
        </pc:sldLayoutChg>
        <pc:sldLayoutChg chg="addSp">
          <pc:chgData name="Aurelien Domont" userId="6da7715ce44349b3" providerId="LiveId" clId="{900ED9AA-9E3E-4466-B9E3-DFC8365613D8}" dt="2022-03-17T03:36:31.348" v="130"/>
          <pc:sldLayoutMkLst>
            <pc:docMk/>
            <pc:sldMasterMk cId="3510198698" sldId="2147483673"/>
            <pc:sldLayoutMk cId="3937574706" sldId="2147483676"/>
          </pc:sldLayoutMkLst>
          <pc:spChg chg="add">
            <ac:chgData name="Aurelien Domont" userId="6da7715ce44349b3" providerId="LiveId" clId="{900ED9AA-9E3E-4466-B9E3-DFC8365613D8}" dt="2022-03-17T03:36:31.348" v="130"/>
            <ac:spMkLst>
              <pc:docMk/>
              <pc:sldMasterMk cId="3510198698" sldId="2147483673"/>
              <pc:sldLayoutMk cId="3937574706" sldId="2147483676"/>
              <ac:spMk id="12" creationId="{522384C7-15C8-4D1A-BDFF-54251091E1F5}"/>
            </ac:spMkLst>
          </pc:spChg>
          <pc:spChg chg="add">
            <ac:chgData name="Aurelien Domont" userId="6da7715ce44349b3" providerId="LiveId" clId="{900ED9AA-9E3E-4466-B9E3-DFC8365613D8}" dt="2022-03-17T03:36:31.348" v="130"/>
            <ac:spMkLst>
              <pc:docMk/>
              <pc:sldMasterMk cId="3510198698" sldId="2147483673"/>
              <pc:sldLayoutMk cId="3937574706" sldId="2147483676"/>
              <ac:spMk id="13" creationId="{B2AC5810-3007-4564-A1E5-A5B7C3C2B1C1}"/>
            </ac:spMkLst>
          </pc:spChg>
          <pc:graphicFrameChg chg="add">
            <ac:chgData name="Aurelien Domont" userId="6da7715ce44349b3" providerId="LiveId" clId="{900ED9AA-9E3E-4466-B9E3-DFC8365613D8}" dt="2022-03-17T03:36:31.348" v="130"/>
            <ac:graphicFrameMkLst>
              <pc:docMk/>
              <pc:sldMasterMk cId="3510198698" sldId="2147483673"/>
              <pc:sldLayoutMk cId="3937574706" sldId="2147483676"/>
              <ac:graphicFrameMk id="11" creationId="{9C7F1A98-3598-424A-9B86-2DB04D599886}"/>
            </ac:graphicFrameMkLst>
          </pc:graphicFrameChg>
          <pc:cxnChg chg="add">
            <ac:chgData name="Aurelien Domont" userId="6da7715ce44349b3" providerId="LiveId" clId="{900ED9AA-9E3E-4466-B9E3-DFC8365613D8}" dt="2022-03-17T03:36:31.348" v="130"/>
            <ac:cxnSpMkLst>
              <pc:docMk/>
              <pc:sldMasterMk cId="3510198698" sldId="2147483673"/>
              <pc:sldLayoutMk cId="3937574706" sldId="2147483676"/>
              <ac:cxnSpMk id="14" creationId="{612CA7E5-7E1C-4C69-A58D-B06F9F95B1E6}"/>
            </ac:cxnSpMkLst>
          </pc:cxnChg>
        </pc:sldLayoutChg>
        <pc:sldLayoutChg chg="addSp">
          <pc:chgData name="Aurelien Domont" userId="6da7715ce44349b3" providerId="LiveId" clId="{900ED9AA-9E3E-4466-B9E3-DFC8365613D8}" dt="2022-03-17T03:36:31.348" v="130"/>
          <pc:sldLayoutMkLst>
            <pc:docMk/>
            <pc:sldMasterMk cId="3510198698" sldId="2147483673"/>
            <pc:sldLayoutMk cId="45999791" sldId="2147483677"/>
          </pc:sldLayoutMkLst>
          <pc:spChg chg="add">
            <ac:chgData name="Aurelien Domont" userId="6da7715ce44349b3" providerId="LiveId" clId="{900ED9AA-9E3E-4466-B9E3-DFC8365613D8}" dt="2022-03-17T03:36:31.348" v="130"/>
            <ac:spMkLst>
              <pc:docMk/>
              <pc:sldMasterMk cId="3510198698" sldId="2147483673"/>
              <pc:sldLayoutMk cId="45999791" sldId="2147483677"/>
              <ac:spMk id="13" creationId="{8500C7D3-F7A7-4E6F-94B2-B04A898B8ABD}"/>
            </ac:spMkLst>
          </pc:spChg>
          <pc:spChg chg="add">
            <ac:chgData name="Aurelien Domont" userId="6da7715ce44349b3" providerId="LiveId" clId="{900ED9AA-9E3E-4466-B9E3-DFC8365613D8}" dt="2022-03-17T03:36:31.348" v="130"/>
            <ac:spMkLst>
              <pc:docMk/>
              <pc:sldMasterMk cId="3510198698" sldId="2147483673"/>
              <pc:sldLayoutMk cId="45999791" sldId="2147483677"/>
              <ac:spMk id="14" creationId="{5956A5CC-5B47-4B20-B0BB-A0F07B724E9F}"/>
            </ac:spMkLst>
          </pc:spChg>
          <pc:graphicFrameChg chg="add">
            <ac:chgData name="Aurelien Domont" userId="6da7715ce44349b3" providerId="LiveId" clId="{900ED9AA-9E3E-4466-B9E3-DFC8365613D8}" dt="2022-03-17T03:36:31.348" v="130"/>
            <ac:graphicFrameMkLst>
              <pc:docMk/>
              <pc:sldMasterMk cId="3510198698" sldId="2147483673"/>
              <pc:sldLayoutMk cId="45999791" sldId="2147483677"/>
              <ac:graphicFrameMk id="11" creationId="{1087656F-136B-435C-99F9-4184FDFF171F}"/>
            </ac:graphicFrameMkLst>
          </pc:graphicFrameChg>
          <pc:cxnChg chg="add">
            <ac:chgData name="Aurelien Domont" userId="6da7715ce44349b3" providerId="LiveId" clId="{900ED9AA-9E3E-4466-B9E3-DFC8365613D8}" dt="2022-03-17T03:36:31.348" v="130"/>
            <ac:cxnSpMkLst>
              <pc:docMk/>
              <pc:sldMasterMk cId="3510198698" sldId="2147483673"/>
              <pc:sldLayoutMk cId="45999791" sldId="2147483677"/>
              <ac:cxnSpMk id="15" creationId="{4554EE44-A352-45FA-ABF7-AD20948384F0}"/>
            </ac:cxnSpMkLst>
          </pc:cxnChg>
        </pc:sldLayoutChg>
        <pc:sldLayoutChg chg="addSp">
          <pc:chgData name="Aurelien Domont" userId="6da7715ce44349b3" providerId="LiveId" clId="{900ED9AA-9E3E-4466-B9E3-DFC8365613D8}" dt="2022-03-17T03:36:31.348" v="130"/>
          <pc:sldLayoutMkLst>
            <pc:docMk/>
            <pc:sldMasterMk cId="3510198698" sldId="2147483673"/>
            <pc:sldLayoutMk cId="4273708068" sldId="2147483678"/>
          </pc:sldLayoutMkLst>
          <pc:spChg chg="add">
            <ac:chgData name="Aurelien Domont" userId="6da7715ce44349b3" providerId="LiveId" clId="{900ED9AA-9E3E-4466-B9E3-DFC8365613D8}" dt="2022-03-17T03:36:31.348" v="130"/>
            <ac:spMkLst>
              <pc:docMk/>
              <pc:sldMasterMk cId="3510198698" sldId="2147483673"/>
              <pc:sldLayoutMk cId="4273708068" sldId="2147483678"/>
              <ac:spMk id="17" creationId="{0F79C88C-796E-4F14-8ACF-8E6F2D99C773}"/>
            </ac:spMkLst>
          </pc:spChg>
          <pc:spChg chg="add">
            <ac:chgData name="Aurelien Domont" userId="6da7715ce44349b3" providerId="LiveId" clId="{900ED9AA-9E3E-4466-B9E3-DFC8365613D8}" dt="2022-03-17T03:36:31.348" v="130"/>
            <ac:spMkLst>
              <pc:docMk/>
              <pc:sldMasterMk cId="3510198698" sldId="2147483673"/>
              <pc:sldLayoutMk cId="4273708068" sldId="2147483678"/>
              <ac:spMk id="18" creationId="{8D6B889F-05D3-4D26-9E95-31B38EB08921}"/>
            </ac:spMkLst>
          </pc:spChg>
          <pc:spChg chg="add">
            <ac:chgData name="Aurelien Domont" userId="6da7715ce44349b3" providerId="LiveId" clId="{900ED9AA-9E3E-4466-B9E3-DFC8365613D8}" dt="2022-03-17T03:36:31.348" v="130"/>
            <ac:spMkLst>
              <pc:docMk/>
              <pc:sldMasterMk cId="3510198698" sldId="2147483673"/>
              <pc:sldLayoutMk cId="4273708068" sldId="2147483678"/>
              <ac:spMk id="20" creationId="{66A7B4F4-FABB-48E0-ABC5-190C6B9CEE77}"/>
            </ac:spMkLst>
          </pc:spChg>
          <pc:graphicFrameChg chg="add">
            <ac:chgData name="Aurelien Domont" userId="6da7715ce44349b3" providerId="LiveId" clId="{900ED9AA-9E3E-4466-B9E3-DFC8365613D8}" dt="2022-03-17T03:36:31.348" v="130"/>
            <ac:graphicFrameMkLst>
              <pc:docMk/>
              <pc:sldMasterMk cId="3510198698" sldId="2147483673"/>
              <pc:sldLayoutMk cId="4273708068" sldId="2147483678"/>
              <ac:graphicFrameMk id="16" creationId="{097B75B3-96C4-4901-A162-42E719DE7F52}"/>
            </ac:graphicFrameMkLst>
          </pc:graphicFrameChg>
          <pc:cxnChg chg="add">
            <ac:chgData name="Aurelien Domont" userId="6da7715ce44349b3" providerId="LiveId" clId="{900ED9AA-9E3E-4466-B9E3-DFC8365613D8}" dt="2022-03-17T03:36:31.348" v="130"/>
            <ac:cxnSpMkLst>
              <pc:docMk/>
              <pc:sldMasterMk cId="3510198698" sldId="2147483673"/>
              <pc:sldLayoutMk cId="4273708068" sldId="2147483678"/>
              <ac:cxnSpMk id="19" creationId="{A0630536-F7FF-4E45-ACB9-98CF55A738A8}"/>
            </ac:cxnSpMkLst>
          </pc:cxnChg>
        </pc:sldLayoutChg>
        <pc:sldLayoutChg chg="addSp">
          <pc:chgData name="Aurelien Domont" userId="6da7715ce44349b3" providerId="LiveId" clId="{900ED9AA-9E3E-4466-B9E3-DFC8365613D8}" dt="2022-03-17T03:36:31.348" v="130"/>
          <pc:sldLayoutMkLst>
            <pc:docMk/>
            <pc:sldMasterMk cId="3510198698" sldId="2147483673"/>
            <pc:sldLayoutMk cId="743124425" sldId="2147483679"/>
          </pc:sldLayoutMkLst>
          <pc:spChg chg="add">
            <ac:chgData name="Aurelien Domont" userId="6da7715ce44349b3" providerId="LiveId" clId="{900ED9AA-9E3E-4466-B9E3-DFC8365613D8}" dt="2022-03-17T03:36:31.348" v="130"/>
            <ac:spMkLst>
              <pc:docMk/>
              <pc:sldMasterMk cId="3510198698" sldId="2147483673"/>
              <pc:sldLayoutMk cId="743124425" sldId="2147483679"/>
              <ac:spMk id="6" creationId="{13DEE248-493D-41A3-9372-C158992884F8}"/>
            </ac:spMkLst>
          </pc:spChg>
          <pc:graphicFrameChg chg="add">
            <ac:chgData name="Aurelien Domont" userId="6da7715ce44349b3" providerId="LiveId" clId="{900ED9AA-9E3E-4466-B9E3-DFC8365613D8}" dt="2022-03-17T03:36:31.348" v="130"/>
            <ac:graphicFrameMkLst>
              <pc:docMk/>
              <pc:sldMasterMk cId="3510198698" sldId="2147483673"/>
              <pc:sldLayoutMk cId="743124425" sldId="2147483679"/>
              <ac:graphicFrameMk id="5" creationId="{7275BAFF-4003-41BF-9D6C-26B054884017}"/>
            </ac:graphicFrameMkLst>
          </pc:graphicFrameChg>
        </pc:sldLayoutChg>
        <pc:sldLayoutChg chg="addSp">
          <pc:chgData name="Aurelien Domont" userId="6da7715ce44349b3" providerId="LiveId" clId="{900ED9AA-9E3E-4466-B9E3-DFC8365613D8}" dt="2022-03-17T03:36:31.348" v="130"/>
          <pc:sldLayoutMkLst>
            <pc:docMk/>
            <pc:sldMasterMk cId="3510198698" sldId="2147483673"/>
            <pc:sldLayoutMk cId="1016518897" sldId="2147483680"/>
          </pc:sldLayoutMkLst>
          <pc:spChg chg="add">
            <ac:chgData name="Aurelien Domont" userId="6da7715ce44349b3" providerId="LiveId" clId="{900ED9AA-9E3E-4466-B9E3-DFC8365613D8}" dt="2022-03-17T03:36:31.348" v="130"/>
            <ac:spMkLst>
              <pc:docMk/>
              <pc:sldMasterMk cId="3510198698" sldId="2147483673"/>
              <pc:sldLayoutMk cId="1016518897" sldId="2147483680"/>
              <ac:spMk id="6" creationId="{847A8004-1715-4851-AFD7-1E3075D58C5C}"/>
            </ac:spMkLst>
          </pc:spChg>
          <pc:graphicFrameChg chg="add">
            <ac:chgData name="Aurelien Domont" userId="6da7715ce44349b3" providerId="LiveId" clId="{900ED9AA-9E3E-4466-B9E3-DFC8365613D8}" dt="2022-03-17T03:36:31.348" v="130"/>
            <ac:graphicFrameMkLst>
              <pc:docMk/>
              <pc:sldMasterMk cId="3510198698" sldId="2147483673"/>
              <pc:sldLayoutMk cId="1016518897" sldId="2147483680"/>
              <ac:graphicFrameMk id="5" creationId="{363FB5E3-39CB-4C85-A560-88563F22F692}"/>
            </ac:graphicFrameMkLst>
          </pc:graphicFrameChg>
        </pc:sldLayoutChg>
      </pc:sldMasterChg>
    </pc:docChg>
  </pc:docChgLst>
  <pc:docChgLst>
    <pc:chgData name="Aurelien Domont" userId="6da7715ce44349b3" providerId="LiveId" clId="{30A766B1-982E-4295-BCAD-093FA0E8E566}"/>
    <pc:docChg chg="undo redo custSel addSld delSld modSld sldOrd delMainMaster modMainMaster">
      <pc:chgData name="Aurelien Domont" userId="6da7715ce44349b3" providerId="LiveId" clId="{30A766B1-982E-4295-BCAD-093FA0E8E566}" dt="2023-01-19T22:59:09.282" v="15940"/>
      <pc:docMkLst>
        <pc:docMk/>
      </pc:docMkLst>
      <pc:sldChg chg="addSp delSp modSp mod">
        <pc:chgData name="Aurelien Domont" userId="6da7715ce44349b3" providerId="LiveId" clId="{30A766B1-982E-4295-BCAD-093FA0E8E566}" dt="2023-01-18T05:38:52.879" v="14939" actId="1076"/>
        <pc:sldMkLst>
          <pc:docMk/>
          <pc:sldMk cId="3131901387" sldId="256"/>
        </pc:sldMkLst>
        <pc:spChg chg="mod">
          <ac:chgData name="Aurelien Domont" userId="6da7715ce44349b3" providerId="LiveId" clId="{30A766B1-982E-4295-BCAD-093FA0E8E566}" dt="2023-01-18T05:33:22.831" v="14927" actId="20577"/>
          <ac:spMkLst>
            <pc:docMk/>
            <pc:sldMk cId="3131901387" sldId="256"/>
            <ac:spMk id="2" creationId="{5261080C-C60C-4746-B6B1-A9A4FFA86785}"/>
          </ac:spMkLst>
        </pc:spChg>
        <pc:spChg chg="add del mod">
          <ac:chgData name="Aurelien Domont" userId="6da7715ce44349b3" providerId="LiveId" clId="{30A766B1-982E-4295-BCAD-093FA0E8E566}" dt="2023-01-18T05:23:26.493" v="14513" actId="478"/>
          <ac:spMkLst>
            <pc:docMk/>
            <pc:sldMk cId="3131901387" sldId="256"/>
            <ac:spMk id="3" creationId="{EEB53BD6-8726-E29E-DC9B-3A76AEA11A32}"/>
          </ac:spMkLst>
        </pc:spChg>
        <pc:spChg chg="mod">
          <ac:chgData name="Aurelien Domont" userId="6da7715ce44349b3" providerId="LiveId" clId="{30A766B1-982E-4295-BCAD-093FA0E8E566}" dt="2023-01-18T05:36:54.723" v="14936" actId="1076"/>
          <ac:spMkLst>
            <pc:docMk/>
            <pc:sldMk cId="3131901387" sldId="256"/>
            <ac:spMk id="16" creationId="{2436D48A-FAB5-4E4C-AB97-233E7A3795E6}"/>
          </ac:spMkLst>
        </pc:spChg>
        <pc:picChg chg="add mod">
          <ac:chgData name="Aurelien Domont" userId="6da7715ce44349b3" providerId="LiveId" clId="{30A766B1-982E-4295-BCAD-093FA0E8E566}" dt="2023-01-18T05:36:44.801" v="14931" actId="14100"/>
          <ac:picMkLst>
            <pc:docMk/>
            <pc:sldMk cId="3131901387" sldId="256"/>
            <ac:picMk id="4" creationId="{69C2B395-D309-3B1E-76E1-421DE876ED58}"/>
          </ac:picMkLst>
        </pc:picChg>
        <pc:picChg chg="add mod">
          <ac:chgData name="Aurelien Domont" userId="6da7715ce44349b3" providerId="LiveId" clId="{30A766B1-982E-4295-BCAD-093FA0E8E566}" dt="2023-01-18T05:38:52.879" v="14939" actId="1076"/>
          <ac:picMkLst>
            <pc:docMk/>
            <pc:sldMk cId="3131901387" sldId="256"/>
            <ac:picMk id="7" creationId="{E9965CB9-8342-68A0-A67D-40729389100D}"/>
          </ac:picMkLst>
        </pc:picChg>
        <pc:picChg chg="del">
          <ac:chgData name="Aurelien Domont" userId="6da7715ce44349b3" providerId="LiveId" clId="{30A766B1-982E-4295-BCAD-093FA0E8E566}" dt="2023-01-18T05:36:59.073" v="14937" actId="478"/>
          <ac:picMkLst>
            <pc:docMk/>
            <pc:sldMk cId="3131901387" sldId="256"/>
            <ac:picMk id="13" creationId="{F8F79F1C-EF8B-4B21-8919-F3BCE5C96088}"/>
          </ac:picMkLst>
        </pc:picChg>
      </pc:sldChg>
      <pc:sldChg chg="del">
        <pc:chgData name="Aurelien Domont" userId="6da7715ce44349b3" providerId="LiveId" clId="{30A766B1-982E-4295-BCAD-093FA0E8E566}" dt="2022-09-23T04:16:28.011" v="13418" actId="47"/>
        <pc:sldMkLst>
          <pc:docMk/>
          <pc:sldMk cId="1447772011" sldId="1236"/>
        </pc:sldMkLst>
      </pc:sldChg>
      <pc:sldChg chg="del">
        <pc:chgData name="Aurelien Domont" userId="6da7715ce44349b3" providerId="LiveId" clId="{30A766B1-982E-4295-BCAD-093FA0E8E566}" dt="2022-09-23T04:16:28.011" v="13418" actId="47"/>
        <pc:sldMkLst>
          <pc:docMk/>
          <pc:sldMk cId="3055921083" sldId="1499"/>
        </pc:sldMkLst>
      </pc:sldChg>
      <pc:sldChg chg="del">
        <pc:chgData name="Aurelien Domont" userId="6da7715ce44349b3" providerId="LiveId" clId="{30A766B1-982E-4295-BCAD-093FA0E8E566}" dt="2022-09-23T04:16:28.011" v="13418" actId="47"/>
        <pc:sldMkLst>
          <pc:docMk/>
          <pc:sldMk cId="2781049302" sldId="1518"/>
        </pc:sldMkLst>
      </pc:sldChg>
      <pc:sldChg chg="del">
        <pc:chgData name="Aurelien Domont" userId="6da7715ce44349b3" providerId="LiveId" clId="{30A766B1-982E-4295-BCAD-093FA0E8E566}" dt="2022-09-23T04:16:28.011" v="13418" actId="47"/>
        <pc:sldMkLst>
          <pc:docMk/>
          <pc:sldMk cId="3014473461" sldId="1527"/>
        </pc:sldMkLst>
      </pc:sldChg>
      <pc:sldChg chg="del">
        <pc:chgData name="Aurelien Domont" userId="6da7715ce44349b3" providerId="LiveId" clId="{30A766B1-982E-4295-BCAD-093FA0E8E566}" dt="2022-09-23T04:16:28.011" v="13418" actId="47"/>
        <pc:sldMkLst>
          <pc:docMk/>
          <pc:sldMk cId="2721843527" sldId="1528"/>
        </pc:sldMkLst>
      </pc:sldChg>
      <pc:sldChg chg="del">
        <pc:chgData name="Aurelien Domont" userId="6da7715ce44349b3" providerId="LiveId" clId="{30A766B1-982E-4295-BCAD-093FA0E8E566}" dt="2022-09-23T04:16:28.011" v="13418" actId="47"/>
        <pc:sldMkLst>
          <pc:docMk/>
          <pc:sldMk cId="265478975" sldId="1529"/>
        </pc:sldMkLst>
      </pc:sldChg>
      <pc:sldChg chg="del">
        <pc:chgData name="Aurelien Domont" userId="6da7715ce44349b3" providerId="LiveId" clId="{30A766B1-982E-4295-BCAD-093FA0E8E566}" dt="2022-09-23T04:16:28.011" v="13418" actId="47"/>
        <pc:sldMkLst>
          <pc:docMk/>
          <pc:sldMk cId="4130717619" sldId="1530"/>
        </pc:sldMkLst>
      </pc:sldChg>
      <pc:sldChg chg="del">
        <pc:chgData name="Aurelien Domont" userId="6da7715ce44349b3" providerId="LiveId" clId="{30A766B1-982E-4295-BCAD-093FA0E8E566}" dt="2022-09-23T04:16:28.011" v="13418" actId="47"/>
        <pc:sldMkLst>
          <pc:docMk/>
          <pc:sldMk cId="2993258290" sldId="1531"/>
        </pc:sldMkLst>
      </pc:sldChg>
      <pc:sldChg chg="del">
        <pc:chgData name="Aurelien Domont" userId="6da7715ce44349b3" providerId="LiveId" clId="{30A766B1-982E-4295-BCAD-093FA0E8E566}" dt="2022-09-23T04:16:28.011" v="13418" actId="47"/>
        <pc:sldMkLst>
          <pc:docMk/>
          <pc:sldMk cId="1793073278" sldId="1533"/>
        </pc:sldMkLst>
      </pc:sldChg>
      <pc:sldChg chg="del">
        <pc:chgData name="Aurelien Domont" userId="6da7715ce44349b3" providerId="LiveId" clId="{30A766B1-982E-4295-BCAD-093FA0E8E566}" dt="2022-09-23T04:16:28.011" v="13418" actId="47"/>
        <pc:sldMkLst>
          <pc:docMk/>
          <pc:sldMk cId="2590906409" sldId="1534"/>
        </pc:sldMkLst>
      </pc:sldChg>
      <pc:sldChg chg="del">
        <pc:chgData name="Aurelien Domont" userId="6da7715ce44349b3" providerId="LiveId" clId="{30A766B1-982E-4295-BCAD-093FA0E8E566}" dt="2022-09-23T04:16:28.011" v="13418" actId="47"/>
        <pc:sldMkLst>
          <pc:docMk/>
          <pc:sldMk cId="3560175579" sldId="1575"/>
        </pc:sldMkLst>
      </pc:sldChg>
      <pc:sldChg chg="del">
        <pc:chgData name="Aurelien Domont" userId="6da7715ce44349b3" providerId="LiveId" clId="{30A766B1-982E-4295-BCAD-093FA0E8E566}" dt="2022-09-23T04:16:28.011" v="13418" actId="47"/>
        <pc:sldMkLst>
          <pc:docMk/>
          <pc:sldMk cId="3128898479" sldId="1576"/>
        </pc:sldMkLst>
      </pc:sldChg>
      <pc:sldChg chg="del">
        <pc:chgData name="Aurelien Domont" userId="6da7715ce44349b3" providerId="LiveId" clId="{30A766B1-982E-4295-BCAD-093FA0E8E566}" dt="2022-09-23T04:16:28.011" v="13418" actId="47"/>
        <pc:sldMkLst>
          <pc:docMk/>
          <pc:sldMk cId="2356517374" sldId="1597"/>
        </pc:sldMkLst>
      </pc:sldChg>
      <pc:sldChg chg="del">
        <pc:chgData name="Aurelien Domont" userId="6da7715ce44349b3" providerId="LiveId" clId="{30A766B1-982E-4295-BCAD-093FA0E8E566}" dt="2022-09-23T04:16:28.011" v="13418" actId="47"/>
        <pc:sldMkLst>
          <pc:docMk/>
          <pc:sldMk cId="2815671749" sldId="1601"/>
        </pc:sldMkLst>
      </pc:sldChg>
      <pc:sldChg chg="modSp add del mod">
        <pc:chgData name="Aurelien Domont" userId="6da7715ce44349b3" providerId="LiveId" clId="{30A766B1-982E-4295-BCAD-093FA0E8E566}" dt="2022-04-26T06:29:51.395" v="5470" actId="47"/>
        <pc:sldMkLst>
          <pc:docMk/>
          <pc:sldMk cId="41853081" sldId="2223"/>
        </pc:sldMkLst>
        <pc:spChg chg="mod">
          <ac:chgData name="Aurelien Domont" userId="6da7715ce44349b3" providerId="LiveId" clId="{30A766B1-982E-4295-BCAD-093FA0E8E566}" dt="2022-04-26T06:01:07.089" v="4507" actId="20577"/>
          <ac:spMkLst>
            <pc:docMk/>
            <pc:sldMk cId="41853081" sldId="2223"/>
            <ac:spMk id="10" creationId="{83A9572C-F54D-42E3-89EA-410B17A06E5D}"/>
          </ac:spMkLst>
        </pc:spChg>
        <pc:spChg chg="mod">
          <ac:chgData name="Aurelien Domont" userId="6da7715ce44349b3" providerId="LiveId" clId="{30A766B1-982E-4295-BCAD-093FA0E8E566}" dt="2022-04-26T06:01:05.292" v="4506"/>
          <ac:spMkLst>
            <pc:docMk/>
            <pc:sldMk cId="41853081" sldId="2223"/>
            <ac:spMk id="11" creationId="{3F391C4B-7123-45E4-8045-4AB04EE93871}"/>
          </ac:spMkLst>
        </pc:spChg>
      </pc:sldChg>
      <pc:sldChg chg="del">
        <pc:chgData name="Aurelien Domont" userId="6da7715ce44349b3" providerId="LiveId" clId="{30A766B1-982E-4295-BCAD-093FA0E8E566}" dt="2022-09-23T04:16:28.011" v="13418" actId="47"/>
        <pc:sldMkLst>
          <pc:docMk/>
          <pc:sldMk cId="506849499" sldId="2230"/>
        </pc:sldMkLst>
      </pc:sldChg>
      <pc:sldChg chg="del">
        <pc:chgData name="Aurelien Domont" userId="6da7715ce44349b3" providerId="LiveId" clId="{30A766B1-982E-4295-BCAD-093FA0E8E566}" dt="2022-09-23T04:16:28.011" v="13418" actId="47"/>
        <pc:sldMkLst>
          <pc:docMk/>
          <pc:sldMk cId="679090537" sldId="2232"/>
        </pc:sldMkLst>
      </pc:sldChg>
      <pc:sldChg chg="del">
        <pc:chgData name="Aurelien Domont" userId="6da7715ce44349b3" providerId="LiveId" clId="{30A766B1-982E-4295-BCAD-093FA0E8E566}" dt="2022-09-23T04:16:28.011" v="13418" actId="47"/>
        <pc:sldMkLst>
          <pc:docMk/>
          <pc:sldMk cId="2582080201" sldId="2233"/>
        </pc:sldMkLst>
      </pc:sldChg>
      <pc:sldChg chg="del">
        <pc:chgData name="Aurelien Domont" userId="6da7715ce44349b3" providerId="LiveId" clId="{30A766B1-982E-4295-BCAD-093FA0E8E566}" dt="2022-09-23T04:16:28.011" v="13418" actId="47"/>
        <pc:sldMkLst>
          <pc:docMk/>
          <pc:sldMk cId="4217328411" sldId="2309"/>
        </pc:sldMkLst>
      </pc:sldChg>
      <pc:sldChg chg="del">
        <pc:chgData name="Aurelien Domont" userId="6da7715ce44349b3" providerId="LiveId" clId="{30A766B1-982E-4295-BCAD-093FA0E8E566}" dt="2022-09-23T04:16:28.011" v="13418" actId="47"/>
        <pc:sldMkLst>
          <pc:docMk/>
          <pc:sldMk cId="3430959687" sldId="2312"/>
        </pc:sldMkLst>
      </pc:sldChg>
      <pc:sldChg chg="del">
        <pc:chgData name="Aurelien Domont" userId="6da7715ce44349b3" providerId="LiveId" clId="{30A766B1-982E-4295-BCAD-093FA0E8E566}" dt="2022-09-23T04:16:28.011" v="13418" actId="47"/>
        <pc:sldMkLst>
          <pc:docMk/>
          <pc:sldMk cId="1770060775" sldId="2320"/>
        </pc:sldMkLst>
      </pc:sldChg>
      <pc:sldChg chg="del">
        <pc:chgData name="Aurelien Domont" userId="6da7715ce44349b3" providerId="LiveId" clId="{30A766B1-982E-4295-BCAD-093FA0E8E566}" dt="2022-09-23T04:16:28.011" v="13418" actId="47"/>
        <pc:sldMkLst>
          <pc:docMk/>
          <pc:sldMk cId="2726258025" sldId="2324"/>
        </pc:sldMkLst>
      </pc:sldChg>
      <pc:sldChg chg="del">
        <pc:chgData name="Aurelien Domont" userId="6da7715ce44349b3" providerId="LiveId" clId="{30A766B1-982E-4295-BCAD-093FA0E8E566}" dt="2022-09-23T04:16:28.011" v="13418" actId="47"/>
        <pc:sldMkLst>
          <pc:docMk/>
          <pc:sldMk cId="1101361176" sldId="2325"/>
        </pc:sldMkLst>
      </pc:sldChg>
      <pc:sldChg chg="del">
        <pc:chgData name="Aurelien Domont" userId="6da7715ce44349b3" providerId="LiveId" clId="{30A766B1-982E-4295-BCAD-093FA0E8E566}" dt="2022-09-23T04:16:28.011" v="13418" actId="47"/>
        <pc:sldMkLst>
          <pc:docMk/>
          <pc:sldMk cId="3206766822" sldId="2337"/>
        </pc:sldMkLst>
      </pc:sldChg>
      <pc:sldChg chg="del">
        <pc:chgData name="Aurelien Domont" userId="6da7715ce44349b3" providerId="LiveId" clId="{30A766B1-982E-4295-BCAD-093FA0E8E566}" dt="2022-09-23T04:16:28.011" v="13418" actId="47"/>
        <pc:sldMkLst>
          <pc:docMk/>
          <pc:sldMk cId="1835460928" sldId="2343"/>
        </pc:sldMkLst>
      </pc:sldChg>
      <pc:sldChg chg="del">
        <pc:chgData name="Aurelien Domont" userId="6da7715ce44349b3" providerId="LiveId" clId="{30A766B1-982E-4295-BCAD-093FA0E8E566}" dt="2022-09-23T04:16:28.011" v="13418" actId="47"/>
        <pc:sldMkLst>
          <pc:docMk/>
          <pc:sldMk cId="996013072" sldId="2346"/>
        </pc:sldMkLst>
      </pc:sldChg>
      <pc:sldChg chg="del ord">
        <pc:chgData name="Aurelien Domont" userId="6da7715ce44349b3" providerId="LiveId" clId="{30A766B1-982E-4295-BCAD-093FA0E8E566}" dt="2022-09-23T04:16:28.011" v="13418" actId="47"/>
        <pc:sldMkLst>
          <pc:docMk/>
          <pc:sldMk cId="2872911886" sldId="2348"/>
        </pc:sldMkLst>
      </pc:sldChg>
      <pc:sldChg chg="del">
        <pc:chgData name="Aurelien Domont" userId="6da7715ce44349b3" providerId="LiveId" clId="{30A766B1-982E-4295-BCAD-093FA0E8E566}" dt="2022-09-23T04:16:28.011" v="13418" actId="47"/>
        <pc:sldMkLst>
          <pc:docMk/>
          <pc:sldMk cId="2029122538" sldId="2359"/>
        </pc:sldMkLst>
      </pc:sldChg>
      <pc:sldChg chg="addSp modSp del mod ord">
        <pc:chgData name="Aurelien Domont" userId="6da7715ce44349b3" providerId="LiveId" clId="{30A766B1-982E-4295-BCAD-093FA0E8E566}" dt="2022-05-26T03:51:03.616" v="8142" actId="2696"/>
        <pc:sldMkLst>
          <pc:docMk/>
          <pc:sldMk cId="654898064" sldId="2365"/>
        </pc:sldMkLst>
        <pc:spChg chg="mod">
          <ac:chgData name="Aurelien Domont" userId="6da7715ce44349b3" providerId="LiveId" clId="{30A766B1-982E-4295-BCAD-093FA0E8E566}" dt="2022-04-27T05:47:35.719" v="7054" actId="14100"/>
          <ac:spMkLst>
            <pc:docMk/>
            <pc:sldMk cId="654898064" sldId="2365"/>
            <ac:spMk id="6" creationId="{73F8416A-AC64-451F-8B00-C47D484A1B81}"/>
          </ac:spMkLst>
        </pc:spChg>
        <pc:spChg chg="add mod">
          <ac:chgData name="Aurelien Domont" userId="6da7715ce44349b3" providerId="LiveId" clId="{30A766B1-982E-4295-BCAD-093FA0E8E566}" dt="2022-04-27T05:47:39.577" v="7055" actId="1076"/>
          <ac:spMkLst>
            <pc:docMk/>
            <pc:sldMk cId="654898064" sldId="2365"/>
            <ac:spMk id="7" creationId="{455B04D5-1E81-4280-B303-BFA4261486E8}"/>
          </ac:spMkLst>
        </pc:spChg>
        <pc:spChg chg="mod">
          <ac:chgData name="Aurelien Domont" userId="6da7715ce44349b3" providerId="LiveId" clId="{30A766B1-982E-4295-BCAD-093FA0E8E566}" dt="2022-04-27T05:45:54.196" v="6983" actId="20577"/>
          <ac:spMkLst>
            <pc:docMk/>
            <pc:sldMk cId="654898064" sldId="2365"/>
            <ac:spMk id="16" creationId="{6C2BB713-9637-4B9B-938F-E9768876782A}"/>
          </ac:spMkLst>
        </pc:spChg>
        <pc:picChg chg="add mod">
          <ac:chgData name="Aurelien Domont" userId="6da7715ce44349b3" providerId="LiveId" clId="{30A766B1-982E-4295-BCAD-093FA0E8E566}" dt="2022-04-27T05:46:39.778" v="6996" actId="1076"/>
          <ac:picMkLst>
            <pc:docMk/>
            <pc:sldMk cId="654898064" sldId="2365"/>
            <ac:picMk id="8" creationId="{B1526C64-562E-4BB6-89BA-472EB092C290}"/>
          </ac:picMkLst>
        </pc:picChg>
      </pc:sldChg>
      <pc:sldChg chg="modSp add">
        <pc:chgData name="Aurelien Domont" userId="6da7715ce44349b3" providerId="LiveId" clId="{30A766B1-982E-4295-BCAD-093FA0E8E566}" dt="2023-01-18T05:33:07.832" v="14918"/>
        <pc:sldMkLst>
          <pc:docMk/>
          <pc:sldMk cId="974107381" sldId="2365"/>
        </pc:sldMkLst>
        <pc:spChg chg="mod">
          <ac:chgData name="Aurelien Domont" userId="6da7715ce44349b3" providerId="LiveId" clId="{30A766B1-982E-4295-BCAD-093FA0E8E566}" dt="2023-01-18T05:33:07.832" v="14918"/>
          <ac:spMkLst>
            <pc:docMk/>
            <pc:sldMk cId="974107381" sldId="2365"/>
            <ac:spMk id="3" creationId="{CE2529A3-BA97-486F-9E02-8DFAAA7D8D38}"/>
          </ac:spMkLst>
        </pc:spChg>
        <pc:spChg chg="mod">
          <ac:chgData name="Aurelien Domont" userId="6da7715ce44349b3" providerId="LiveId" clId="{30A766B1-982E-4295-BCAD-093FA0E8E566}" dt="2023-01-18T05:33:07.832" v="14918"/>
          <ac:spMkLst>
            <pc:docMk/>
            <pc:sldMk cId="974107381" sldId="2365"/>
            <ac:spMk id="16" creationId="{6C2BB713-9637-4B9B-938F-E9768876782A}"/>
          </ac:spMkLst>
        </pc:spChg>
      </pc:sldChg>
      <pc:sldChg chg="modSp">
        <pc:chgData name="Aurelien Domont" userId="6da7715ce44349b3" providerId="LiveId" clId="{30A766B1-982E-4295-BCAD-093FA0E8E566}" dt="2023-01-18T05:33:07.832" v="14918"/>
        <pc:sldMkLst>
          <pc:docMk/>
          <pc:sldMk cId="3491690442" sldId="2367"/>
        </pc:sldMkLst>
        <pc:spChg chg="mod">
          <ac:chgData name="Aurelien Domont" userId="6da7715ce44349b3" providerId="LiveId" clId="{30A766B1-982E-4295-BCAD-093FA0E8E566}" dt="2023-01-18T05:33:07.832" v="14918"/>
          <ac:spMkLst>
            <pc:docMk/>
            <pc:sldMk cId="3491690442" sldId="2367"/>
            <ac:spMk id="8" creationId="{3D029769-9B2F-4A51-8446-2206A9A2EF30}"/>
          </ac:spMkLst>
        </pc:spChg>
      </pc:sldChg>
      <pc:sldChg chg="del">
        <pc:chgData name="Aurelien Domont" userId="6da7715ce44349b3" providerId="LiveId" clId="{30A766B1-982E-4295-BCAD-093FA0E8E566}" dt="2022-09-23T04:16:28.011" v="13418" actId="47"/>
        <pc:sldMkLst>
          <pc:docMk/>
          <pc:sldMk cId="283455328" sldId="2368"/>
        </pc:sldMkLst>
      </pc:sldChg>
      <pc:sldChg chg="del">
        <pc:chgData name="Aurelien Domont" userId="6da7715ce44349b3" providerId="LiveId" clId="{30A766B1-982E-4295-BCAD-093FA0E8E566}" dt="2022-09-23T04:16:28.011" v="13418" actId="47"/>
        <pc:sldMkLst>
          <pc:docMk/>
          <pc:sldMk cId="3266860291" sldId="2371"/>
        </pc:sldMkLst>
      </pc:sldChg>
      <pc:sldChg chg="del">
        <pc:chgData name="Aurelien Domont" userId="6da7715ce44349b3" providerId="LiveId" clId="{30A766B1-982E-4295-BCAD-093FA0E8E566}" dt="2022-09-23T04:16:28.011" v="13418" actId="47"/>
        <pc:sldMkLst>
          <pc:docMk/>
          <pc:sldMk cId="3243680915" sldId="2373"/>
        </pc:sldMkLst>
      </pc:sldChg>
      <pc:sldChg chg="del">
        <pc:chgData name="Aurelien Domont" userId="6da7715ce44349b3" providerId="LiveId" clId="{30A766B1-982E-4295-BCAD-093FA0E8E566}" dt="2022-09-23T04:16:28.011" v="13418" actId="47"/>
        <pc:sldMkLst>
          <pc:docMk/>
          <pc:sldMk cId="1612830510" sldId="2375"/>
        </pc:sldMkLst>
      </pc:sldChg>
      <pc:sldChg chg="del">
        <pc:chgData name="Aurelien Domont" userId="6da7715ce44349b3" providerId="LiveId" clId="{30A766B1-982E-4295-BCAD-093FA0E8E566}" dt="2022-09-23T04:16:28.011" v="13418" actId="47"/>
        <pc:sldMkLst>
          <pc:docMk/>
          <pc:sldMk cId="542215322" sldId="2377"/>
        </pc:sldMkLst>
      </pc:sldChg>
      <pc:sldChg chg="del">
        <pc:chgData name="Aurelien Domont" userId="6da7715ce44349b3" providerId="LiveId" clId="{30A766B1-982E-4295-BCAD-093FA0E8E566}" dt="2022-09-23T04:16:28.011" v="13418" actId="47"/>
        <pc:sldMkLst>
          <pc:docMk/>
          <pc:sldMk cId="904759924" sldId="2378"/>
        </pc:sldMkLst>
      </pc:sldChg>
      <pc:sldChg chg="del">
        <pc:chgData name="Aurelien Domont" userId="6da7715ce44349b3" providerId="LiveId" clId="{30A766B1-982E-4295-BCAD-093FA0E8E566}" dt="2022-09-23T04:16:28.011" v="13418" actId="47"/>
        <pc:sldMkLst>
          <pc:docMk/>
          <pc:sldMk cId="906577703" sldId="2379"/>
        </pc:sldMkLst>
      </pc:sldChg>
      <pc:sldChg chg="del">
        <pc:chgData name="Aurelien Domont" userId="6da7715ce44349b3" providerId="LiveId" clId="{30A766B1-982E-4295-BCAD-093FA0E8E566}" dt="2022-09-23T04:16:28.011" v="13418" actId="47"/>
        <pc:sldMkLst>
          <pc:docMk/>
          <pc:sldMk cId="413075639" sldId="2381"/>
        </pc:sldMkLst>
      </pc:sldChg>
      <pc:sldChg chg="del">
        <pc:chgData name="Aurelien Domont" userId="6da7715ce44349b3" providerId="LiveId" clId="{30A766B1-982E-4295-BCAD-093FA0E8E566}" dt="2022-09-23T04:16:28.011" v="13418" actId="47"/>
        <pc:sldMkLst>
          <pc:docMk/>
          <pc:sldMk cId="2540020461" sldId="2382"/>
        </pc:sldMkLst>
      </pc:sldChg>
      <pc:sldChg chg="del">
        <pc:chgData name="Aurelien Domont" userId="6da7715ce44349b3" providerId="LiveId" clId="{30A766B1-982E-4295-BCAD-093FA0E8E566}" dt="2022-09-23T04:16:28.011" v="13418" actId="47"/>
        <pc:sldMkLst>
          <pc:docMk/>
          <pc:sldMk cId="2690114265" sldId="2383"/>
        </pc:sldMkLst>
      </pc:sldChg>
      <pc:sldChg chg="del">
        <pc:chgData name="Aurelien Domont" userId="6da7715ce44349b3" providerId="LiveId" clId="{30A766B1-982E-4295-BCAD-093FA0E8E566}" dt="2022-09-23T04:16:28.011" v="13418" actId="47"/>
        <pc:sldMkLst>
          <pc:docMk/>
          <pc:sldMk cId="1217256635" sldId="2385"/>
        </pc:sldMkLst>
      </pc:sldChg>
      <pc:sldChg chg="del">
        <pc:chgData name="Aurelien Domont" userId="6da7715ce44349b3" providerId="LiveId" clId="{30A766B1-982E-4295-BCAD-093FA0E8E566}" dt="2022-09-23T04:16:28.011" v="13418" actId="47"/>
        <pc:sldMkLst>
          <pc:docMk/>
          <pc:sldMk cId="136462931" sldId="2386"/>
        </pc:sldMkLst>
      </pc:sldChg>
      <pc:sldChg chg="del">
        <pc:chgData name="Aurelien Domont" userId="6da7715ce44349b3" providerId="LiveId" clId="{30A766B1-982E-4295-BCAD-093FA0E8E566}" dt="2022-09-23T04:16:28.011" v="13418" actId="47"/>
        <pc:sldMkLst>
          <pc:docMk/>
          <pc:sldMk cId="2287265630" sldId="2389"/>
        </pc:sldMkLst>
      </pc:sldChg>
      <pc:sldChg chg="del">
        <pc:chgData name="Aurelien Domont" userId="6da7715ce44349b3" providerId="LiveId" clId="{30A766B1-982E-4295-BCAD-093FA0E8E566}" dt="2022-09-23T04:16:28.011" v="13418" actId="47"/>
        <pc:sldMkLst>
          <pc:docMk/>
          <pc:sldMk cId="2411212562" sldId="2391"/>
        </pc:sldMkLst>
      </pc:sldChg>
      <pc:sldChg chg="del">
        <pc:chgData name="Aurelien Domont" userId="6da7715ce44349b3" providerId="LiveId" clId="{30A766B1-982E-4295-BCAD-093FA0E8E566}" dt="2022-09-23T04:16:28.011" v="13418" actId="47"/>
        <pc:sldMkLst>
          <pc:docMk/>
          <pc:sldMk cId="3291231662" sldId="2392"/>
        </pc:sldMkLst>
      </pc:sldChg>
      <pc:sldChg chg="del">
        <pc:chgData name="Aurelien Domont" userId="6da7715ce44349b3" providerId="LiveId" clId="{30A766B1-982E-4295-BCAD-093FA0E8E566}" dt="2022-09-23T04:16:28.011" v="13418" actId="47"/>
        <pc:sldMkLst>
          <pc:docMk/>
          <pc:sldMk cId="1641887066" sldId="2393"/>
        </pc:sldMkLst>
      </pc:sldChg>
      <pc:sldChg chg="del">
        <pc:chgData name="Aurelien Domont" userId="6da7715ce44349b3" providerId="LiveId" clId="{30A766B1-982E-4295-BCAD-093FA0E8E566}" dt="2022-09-23T04:16:28.011" v="13418" actId="47"/>
        <pc:sldMkLst>
          <pc:docMk/>
          <pc:sldMk cId="979576458" sldId="2394"/>
        </pc:sldMkLst>
      </pc:sldChg>
      <pc:sldChg chg="del">
        <pc:chgData name="Aurelien Domont" userId="6da7715ce44349b3" providerId="LiveId" clId="{30A766B1-982E-4295-BCAD-093FA0E8E566}" dt="2022-09-23T04:16:28.011" v="13418" actId="47"/>
        <pc:sldMkLst>
          <pc:docMk/>
          <pc:sldMk cId="2167400129" sldId="2395"/>
        </pc:sldMkLst>
      </pc:sldChg>
      <pc:sldChg chg="del">
        <pc:chgData name="Aurelien Domont" userId="6da7715ce44349b3" providerId="LiveId" clId="{30A766B1-982E-4295-BCAD-093FA0E8E566}" dt="2022-09-23T04:16:28.011" v="13418" actId="47"/>
        <pc:sldMkLst>
          <pc:docMk/>
          <pc:sldMk cId="1020083957" sldId="2396"/>
        </pc:sldMkLst>
      </pc:sldChg>
      <pc:sldChg chg="del">
        <pc:chgData name="Aurelien Domont" userId="6da7715ce44349b3" providerId="LiveId" clId="{30A766B1-982E-4295-BCAD-093FA0E8E566}" dt="2022-09-23T04:16:28.011" v="13418" actId="47"/>
        <pc:sldMkLst>
          <pc:docMk/>
          <pc:sldMk cId="1748776397" sldId="2397"/>
        </pc:sldMkLst>
      </pc:sldChg>
      <pc:sldChg chg="del">
        <pc:chgData name="Aurelien Domont" userId="6da7715ce44349b3" providerId="LiveId" clId="{30A766B1-982E-4295-BCAD-093FA0E8E566}" dt="2022-09-23T04:16:28.011" v="13418" actId="47"/>
        <pc:sldMkLst>
          <pc:docMk/>
          <pc:sldMk cId="483228230" sldId="2398"/>
        </pc:sldMkLst>
      </pc:sldChg>
      <pc:sldChg chg="del">
        <pc:chgData name="Aurelien Domont" userId="6da7715ce44349b3" providerId="LiveId" clId="{30A766B1-982E-4295-BCAD-093FA0E8E566}" dt="2022-09-23T04:16:28.011" v="13418" actId="47"/>
        <pc:sldMkLst>
          <pc:docMk/>
          <pc:sldMk cId="3574663825" sldId="2399"/>
        </pc:sldMkLst>
      </pc:sldChg>
      <pc:sldChg chg="del">
        <pc:chgData name="Aurelien Domont" userId="6da7715ce44349b3" providerId="LiveId" clId="{30A766B1-982E-4295-BCAD-093FA0E8E566}" dt="2022-09-23T04:16:28.011" v="13418" actId="47"/>
        <pc:sldMkLst>
          <pc:docMk/>
          <pc:sldMk cId="1258609676" sldId="2400"/>
        </pc:sldMkLst>
      </pc:sldChg>
      <pc:sldChg chg="del">
        <pc:chgData name="Aurelien Domont" userId="6da7715ce44349b3" providerId="LiveId" clId="{30A766B1-982E-4295-BCAD-093FA0E8E566}" dt="2022-09-23T04:16:28.011" v="13418" actId="47"/>
        <pc:sldMkLst>
          <pc:docMk/>
          <pc:sldMk cId="1433362125" sldId="2401"/>
        </pc:sldMkLst>
      </pc:sldChg>
      <pc:sldChg chg="addSp modSp new mod">
        <pc:chgData name="Aurelien Domont" userId="6da7715ce44349b3" providerId="LiveId" clId="{30A766B1-982E-4295-BCAD-093FA0E8E566}" dt="2023-01-18T05:33:07.832" v="14918"/>
        <pc:sldMkLst>
          <pc:docMk/>
          <pc:sldMk cId="1888256250" sldId="2402"/>
        </pc:sldMkLst>
        <pc:spChg chg="mod">
          <ac:chgData name="Aurelien Domont" userId="6da7715ce44349b3" providerId="LiveId" clId="{30A766B1-982E-4295-BCAD-093FA0E8E566}" dt="2023-01-18T05:33:07.832" v="14918"/>
          <ac:spMkLst>
            <pc:docMk/>
            <pc:sldMk cId="1888256250" sldId="2402"/>
            <ac:spMk id="2" creationId="{DDC2D88E-5301-4473-A14F-4D99283C337B}"/>
          </ac:spMkLst>
        </pc:spChg>
        <pc:spChg chg="mod">
          <ac:chgData name="Aurelien Domont" userId="6da7715ce44349b3" providerId="LiveId" clId="{30A766B1-982E-4295-BCAD-093FA0E8E566}" dt="2023-01-18T05:33:07.832" v="14918"/>
          <ac:spMkLst>
            <pc:docMk/>
            <pc:sldMk cId="1888256250" sldId="2402"/>
            <ac:spMk id="3" creationId="{67F49DFD-1CB5-422A-958D-A08A65C88A85}"/>
          </ac:spMkLst>
        </pc:spChg>
        <pc:spChg chg="mod">
          <ac:chgData name="Aurelien Domont" userId="6da7715ce44349b3" providerId="LiveId" clId="{30A766B1-982E-4295-BCAD-093FA0E8E566}" dt="2023-01-18T05:33:07.832" v="14918"/>
          <ac:spMkLst>
            <pc:docMk/>
            <pc:sldMk cId="1888256250" sldId="2402"/>
            <ac:spMk id="4" creationId="{D780A33B-80E7-4372-B3E5-1F36E911C2A5}"/>
          </ac:spMkLst>
        </pc:spChg>
        <pc:spChg chg="mod">
          <ac:chgData name="Aurelien Domont" userId="6da7715ce44349b3" providerId="LiveId" clId="{30A766B1-982E-4295-BCAD-093FA0E8E566}" dt="2023-01-18T05:33:07.832" v="14918"/>
          <ac:spMkLst>
            <pc:docMk/>
            <pc:sldMk cId="1888256250" sldId="2402"/>
            <ac:spMk id="5" creationId="{86CAE2C9-EDF7-4852-84A0-C90776FDB079}"/>
          </ac:spMkLst>
        </pc:spChg>
        <pc:spChg chg="mod">
          <ac:chgData name="Aurelien Domont" userId="6da7715ce44349b3" providerId="LiveId" clId="{30A766B1-982E-4295-BCAD-093FA0E8E566}" dt="2023-01-18T05:33:07.832" v="14918"/>
          <ac:spMkLst>
            <pc:docMk/>
            <pc:sldMk cId="1888256250" sldId="2402"/>
            <ac:spMk id="6" creationId="{5B68615C-09BB-44FA-A921-AC95EF1B9D41}"/>
          </ac:spMkLst>
        </pc:spChg>
        <pc:spChg chg="mod">
          <ac:chgData name="Aurelien Domont" userId="6da7715ce44349b3" providerId="LiveId" clId="{30A766B1-982E-4295-BCAD-093FA0E8E566}" dt="2023-01-18T05:33:07.832" v="14918"/>
          <ac:spMkLst>
            <pc:docMk/>
            <pc:sldMk cId="1888256250" sldId="2402"/>
            <ac:spMk id="7" creationId="{7BDDC00A-F4EE-4023-97F9-F12F8FFCC0E7}"/>
          </ac:spMkLst>
        </pc:spChg>
        <pc:spChg chg="add mod">
          <ac:chgData name="Aurelien Domont" userId="6da7715ce44349b3" providerId="LiveId" clId="{30A766B1-982E-4295-BCAD-093FA0E8E566}" dt="2022-04-21T04:29:23.341" v="4" actId="2085"/>
          <ac:spMkLst>
            <pc:docMk/>
            <pc:sldMk cId="1888256250" sldId="2402"/>
            <ac:spMk id="8" creationId="{3D3703FD-6F0D-4A3D-850C-EA19E82D4788}"/>
          </ac:spMkLst>
        </pc:spChg>
      </pc:sldChg>
      <pc:sldChg chg="addSp delSp modSp add mod">
        <pc:chgData name="Aurelien Domont" userId="6da7715ce44349b3" providerId="LiveId" clId="{30A766B1-982E-4295-BCAD-093FA0E8E566}" dt="2023-01-18T05:33:07.832" v="14918"/>
        <pc:sldMkLst>
          <pc:docMk/>
          <pc:sldMk cId="3988936821" sldId="2403"/>
        </pc:sldMkLst>
        <pc:spChg chg="mod">
          <ac:chgData name="Aurelien Domont" userId="6da7715ce44349b3" providerId="LiveId" clId="{30A766B1-982E-4295-BCAD-093FA0E8E566}" dt="2023-01-18T05:33:07.832" v="14918"/>
          <ac:spMkLst>
            <pc:docMk/>
            <pc:sldMk cId="3988936821" sldId="2403"/>
            <ac:spMk id="3" creationId="{CE2529A3-BA97-486F-9E02-8DFAAA7D8D38}"/>
          </ac:spMkLst>
        </pc:spChg>
        <pc:spChg chg="add del mod">
          <ac:chgData name="Aurelien Domont" userId="6da7715ce44349b3" providerId="LiveId" clId="{30A766B1-982E-4295-BCAD-093FA0E8E566}" dt="2022-04-21T04:37:25.866" v="49" actId="478"/>
          <ac:spMkLst>
            <pc:docMk/>
            <pc:sldMk cId="3988936821" sldId="2403"/>
            <ac:spMk id="5" creationId="{A4EA2049-B765-4311-9B6E-FEDCBD040271}"/>
          </ac:spMkLst>
        </pc:spChg>
        <pc:spChg chg="del">
          <ac:chgData name="Aurelien Domont" userId="6da7715ce44349b3" providerId="LiveId" clId="{30A766B1-982E-4295-BCAD-093FA0E8E566}" dt="2022-04-21T04:31:22.197" v="14" actId="478"/>
          <ac:spMkLst>
            <pc:docMk/>
            <pc:sldMk cId="3988936821" sldId="2403"/>
            <ac:spMk id="14" creationId="{F4C7F968-1261-4E5F-90D6-3DD87E5D3284}"/>
          </ac:spMkLst>
        </pc:spChg>
        <pc:spChg chg="del">
          <ac:chgData name="Aurelien Domont" userId="6da7715ce44349b3" providerId="LiveId" clId="{30A766B1-982E-4295-BCAD-093FA0E8E566}" dt="2022-04-21T04:31:22.197" v="14" actId="478"/>
          <ac:spMkLst>
            <pc:docMk/>
            <pc:sldMk cId="3988936821" sldId="2403"/>
            <ac:spMk id="15" creationId="{0EDDC19E-5E9E-4730-A724-F214DB8579F1}"/>
          </ac:spMkLst>
        </pc:spChg>
        <pc:spChg chg="mod">
          <ac:chgData name="Aurelien Domont" userId="6da7715ce44349b3" providerId="LiveId" clId="{30A766B1-982E-4295-BCAD-093FA0E8E566}" dt="2023-01-18T05:33:07.832" v="14918"/>
          <ac:spMkLst>
            <pc:docMk/>
            <pc:sldMk cId="3988936821" sldId="2403"/>
            <ac:spMk id="16" creationId="{6C2BB713-9637-4B9B-938F-E9768876782A}"/>
          </ac:spMkLst>
        </pc:spChg>
        <pc:spChg chg="del">
          <ac:chgData name="Aurelien Domont" userId="6da7715ce44349b3" providerId="LiveId" clId="{30A766B1-982E-4295-BCAD-093FA0E8E566}" dt="2022-04-21T04:31:22.197" v="14" actId="478"/>
          <ac:spMkLst>
            <pc:docMk/>
            <pc:sldMk cId="3988936821" sldId="2403"/>
            <ac:spMk id="17" creationId="{4E4AD717-266C-478F-8237-E69A86C4CB75}"/>
          </ac:spMkLst>
        </pc:spChg>
        <pc:spChg chg="del">
          <ac:chgData name="Aurelien Domont" userId="6da7715ce44349b3" providerId="LiveId" clId="{30A766B1-982E-4295-BCAD-093FA0E8E566}" dt="2022-04-21T04:31:22.197" v="14" actId="478"/>
          <ac:spMkLst>
            <pc:docMk/>
            <pc:sldMk cId="3988936821" sldId="2403"/>
            <ac:spMk id="18" creationId="{0562D663-AD67-4819-A41B-4C3008605AB5}"/>
          </ac:spMkLst>
        </pc:spChg>
        <pc:spChg chg="add mod">
          <ac:chgData name="Aurelien Domont" userId="6da7715ce44349b3" providerId="LiveId" clId="{30A766B1-982E-4295-BCAD-093FA0E8E566}" dt="2022-04-21T04:45:09.012" v="112" actId="14100"/>
          <ac:spMkLst>
            <pc:docMk/>
            <pc:sldMk cId="3988936821" sldId="2403"/>
            <ac:spMk id="19" creationId="{46C5EA18-8144-4F35-8786-8AEC0801BAA8}"/>
          </ac:spMkLst>
        </pc:spChg>
        <pc:spChg chg="add del mod">
          <ac:chgData name="Aurelien Domont" userId="6da7715ce44349b3" providerId="LiveId" clId="{30A766B1-982E-4295-BCAD-093FA0E8E566}" dt="2022-04-21T04:36:49.350" v="42" actId="478"/>
          <ac:spMkLst>
            <pc:docMk/>
            <pc:sldMk cId="3988936821" sldId="2403"/>
            <ac:spMk id="27" creationId="{DF7DB2FC-CDA4-4022-AC23-B53A0539CD17}"/>
          </ac:spMkLst>
        </pc:spChg>
        <pc:spChg chg="add del mod">
          <ac:chgData name="Aurelien Domont" userId="6da7715ce44349b3" providerId="LiveId" clId="{30A766B1-982E-4295-BCAD-093FA0E8E566}" dt="2022-04-21T04:39:16.775" v="78" actId="478"/>
          <ac:spMkLst>
            <pc:docMk/>
            <pc:sldMk cId="3988936821" sldId="2403"/>
            <ac:spMk id="28" creationId="{1CA69AEE-87CC-47F7-96B3-0C96E463ABF4}"/>
          </ac:spMkLst>
        </pc:spChg>
        <pc:spChg chg="add del mod">
          <ac:chgData name="Aurelien Domont" userId="6da7715ce44349b3" providerId="LiveId" clId="{30A766B1-982E-4295-BCAD-093FA0E8E566}" dt="2022-04-21T04:39:16.775" v="78" actId="478"/>
          <ac:spMkLst>
            <pc:docMk/>
            <pc:sldMk cId="3988936821" sldId="2403"/>
            <ac:spMk id="29" creationId="{6E67F0CA-3827-44B5-9A3B-3D6E88371F29}"/>
          </ac:spMkLst>
        </pc:spChg>
        <pc:spChg chg="add mod">
          <ac:chgData name="Aurelien Domont" userId="6da7715ce44349b3" providerId="LiveId" clId="{30A766B1-982E-4295-BCAD-093FA0E8E566}" dt="2022-04-21T04:46:01.978" v="116" actId="1035"/>
          <ac:spMkLst>
            <pc:docMk/>
            <pc:sldMk cId="3988936821" sldId="2403"/>
            <ac:spMk id="31" creationId="{75E6E7DB-F4E4-4712-AC65-23F362F39338}"/>
          </ac:spMkLst>
        </pc:spChg>
        <pc:spChg chg="add mod">
          <ac:chgData name="Aurelien Domont" userId="6da7715ce44349b3" providerId="LiveId" clId="{30A766B1-982E-4295-BCAD-093FA0E8E566}" dt="2022-04-21T04:48:19.447" v="130" actId="20577"/>
          <ac:spMkLst>
            <pc:docMk/>
            <pc:sldMk cId="3988936821" sldId="2403"/>
            <ac:spMk id="35" creationId="{13F9DF7E-1BA4-4760-8B22-A867111399AC}"/>
          </ac:spMkLst>
        </pc:spChg>
        <pc:picChg chg="add mod ord">
          <ac:chgData name="Aurelien Domont" userId="6da7715ce44349b3" providerId="LiveId" clId="{30A766B1-982E-4295-BCAD-093FA0E8E566}" dt="2022-04-21T04:39:02.063" v="70" actId="1076"/>
          <ac:picMkLst>
            <pc:docMk/>
            <pc:sldMk cId="3988936821" sldId="2403"/>
            <ac:picMk id="4" creationId="{E4E9FDB1-3A8F-4378-9305-40BA6E33B9ED}"/>
          </ac:picMkLst>
        </pc:picChg>
        <pc:picChg chg="add mod">
          <ac:chgData name="Aurelien Domont" userId="6da7715ce44349b3" providerId="LiveId" clId="{30A766B1-982E-4295-BCAD-093FA0E8E566}" dt="2022-04-21T04:46:01.978" v="116" actId="1035"/>
          <ac:picMkLst>
            <pc:docMk/>
            <pc:sldMk cId="3988936821" sldId="2403"/>
            <ac:picMk id="11" creationId="{02BE1B67-3DFA-42A7-A81E-9460EC7285FB}"/>
          </ac:picMkLst>
        </pc:picChg>
        <pc:picChg chg="add del mod">
          <ac:chgData name="Aurelien Domont" userId="6da7715ce44349b3" providerId="LiveId" clId="{30A766B1-982E-4295-BCAD-093FA0E8E566}" dt="2022-04-21T04:36:12.894" v="34" actId="478"/>
          <ac:picMkLst>
            <pc:docMk/>
            <pc:sldMk cId="3988936821" sldId="2403"/>
            <ac:picMk id="20" creationId="{93DE538B-12F2-4B06-A855-19CE0F8FA56F}"/>
          </ac:picMkLst>
        </pc:picChg>
        <pc:picChg chg="add del mod">
          <ac:chgData name="Aurelien Domont" userId="6da7715ce44349b3" providerId="LiveId" clId="{30A766B1-982E-4295-BCAD-093FA0E8E566}" dt="2022-04-21T04:36:12.894" v="34" actId="478"/>
          <ac:picMkLst>
            <pc:docMk/>
            <pc:sldMk cId="3988936821" sldId="2403"/>
            <ac:picMk id="21" creationId="{5F73D0B0-201B-4752-9AD9-3EC2B1F6E676}"/>
          </ac:picMkLst>
        </pc:picChg>
        <pc:picChg chg="add del mod">
          <ac:chgData name="Aurelien Domont" userId="6da7715ce44349b3" providerId="LiveId" clId="{30A766B1-982E-4295-BCAD-093FA0E8E566}" dt="2022-04-21T04:39:16.775" v="78" actId="478"/>
          <ac:picMkLst>
            <pc:docMk/>
            <pc:sldMk cId="3988936821" sldId="2403"/>
            <ac:picMk id="22" creationId="{557D2F4A-0173-498C-9079-6D61D15D65BB}"/>
          </ac:picMkLst>
        </pc:picChg>
        <pc:picChg chg="del">
          <ac:chgData name="Aurelien Domont" userId="6da7715ce44349b3" providerId="LiveId" clId="{30A766B1-982E-4295-BCAD-093FA0E8E566}" dt="2022-04-21T04:31:22.197" v="14" actId="478"/>
          <ac:picMkLst>
            <pc:docMk/>
            <pc:sldMk cId="3988936821" sldId="2403"/>
            <ac:picMk id="23" creationId="{91567E4C-8895-4ADC-B2BB-831870CC4EE6}"/>
          </ac:picMkLst>
        </pc:picChg>
        <pc:picChg chg="del">
          <ac:chgData name="Aurelien Domont" userId="6da7715ce44349b3" providerId="LiveId" clId="{30A766B1-982E-4295-BCAD-093FA0E8E566}" dt="2022-04-21T04:31:22.197" v="14" actId="478"/>
          <ac:picMkLst>
            <pc:docMk/>
            <pc:sldMk cId="3988936821" sldId="2403"/>
            <ac:picMk id="24" creationId="{FF341462-60E9-447A-9D10-AB1DC0D46A43}"/>
          </ac:picMkLst>
        </pc:picChg>
        <pc:picChg chg="del">
          <ac:chgData name="Aurelien Domont" userId="6da7715ce44349b3" providerId="LiveId" clId="{30A766B1-982E-4295-BCAD-093FA0E8E566}" dt="2022-04-21T04:31:22.197" v="14" actId="478"/>
          <ac:picMkLst>
            <pc:docMk/>
            <pc:sldMk cId="3988936821" sldId="2403"/>
            <ac:picMk id="25" creationId="{E8D431F3-4D66-413A-9B33-4E55CC96CB73}"/>
          </ac:picMkLst>
        </pc:picChg>
        <pc:picChg chg="del">
          <ac:chgData name="Aurelien Domont" userId="6da7715ce44349b3" providerId="LiveId" clId="{30A766B1-982E-4295-BCAD-093FA0E8E566}" dt="2022-04-21T04:31:22.197" v="14" actId="478"/>
          <ac:picMkLst>
            <pc:docMk/>
            <pc:sldMk cId="3988936821" sldId="2403"/>
            <ac:picMk id="26" creationId="{52FF373F-AF56-4DE0-8FC9-CF8EAA38CCA9}"/>
          </ac:picMkLst>
        </pc:picChg>
        <pc:picChg chg="add del mod">
          <ac:chgData name="Aurelien Domont" userId="6da7715ce44349b3" providerId="LiveId" clId="{30A766B1-982E-4295-BCAD-093FA0E8E566}" dt="2022-04-21T04:39:16.775" v="78" actId="478"/>
          <ac:picMkLst>
            <pc:docMk/>
            <pc:sldMk cId="3988936821" sldId="2403"/>
            <ac:picMk id="30" creationId="{4D1D5DC3-A72D-4813-8F1B-4918ED11F371}"/>
          </ac:picMkLst>
        </pc:picChg>
        <pc:picChg chg="add del mod">
          <ac:chgData name="Aurelien Domont" userId="6da7715ce44349b3" providerId="LiveId" clId="{30A766B1-982E-4295-BCAD-093FA0E8E566}" dt="2022-04-21T04:42:10.128" v="85" actId="478"/>
          <ac:picMkLst>
            <pc:docMk/>
            <pc:sldMk cId="3988936821" sldId="2403"/>
            <ac:picMk id="32" creationId="{174218AE-B37C-4A1B-8815-9933C3994E4B}"/>
          </ac:picMkLst>
        </pc:picChg>
        <pc:picChg chg="add del mod">
          <ac:chgData name="Aurelien Domont" userId="6da7715ce44349b3" providerId="LiveId" clId="{30A766B1-982E-4295-BCAD-093FA0E8E566}" dt="2022-04-21T04:42:38.890" v="91" actId="478"/>
          <ac:picMkLst>
            <pc:docMk/>
            <pc:sldMk cId="3988936821" sldId="2403"/>
            <ac:picMk id="34" creationId="{A2FCE3B2-9B84-41D1-9CAB-AF86D2D3BC6A}"/>
          </ac:picMkLst>
        </pc:picChg>
        <pc:picChg chg="add del mod">
          <ac:chgData name="Aurelien Domont" userId="6da7715ce44349b3" providerId="LiveId" clId="{30A766B1-982E-4295-BCAD-093FA0E8E566}" dt="2022-04-21T04:50:25.636" v="134" actId="478"/>
          <ac:picMkLst>
            <pc:docMk/>
            <pc:sldMk cId="3988936821" sldId="2403"/>
            <ac:picMk id="37" creationId="{4F827356-05D3-411F-9D6F-BFB0041B7DCF}"/>
          </ac:picMkLst>
        </pc:picChg>
        <pc:picChg chg="add del mod">
          <ac:chgData name="Aurelien Domont" userId="6da7715ce44349b3" providerId="LiveId" clId="{30A766B1-982E-4295-BCAD-093FA0E8E566}" dt="2022-04-21T04:50:26.544" v="135" actId="478"/>
          <ac:picMkLst>
            <pc:docMk/>
            <pc:sldMk cId="3988936821" sldId="2403"/>
            <ac:picMk id="38" creationId="{76734542-C22A-421D-BBC7-12F621210B2F}"/>
          </ac:picMkLst>
        </pc:picChg>
        <pc:picChg chg="add del mod">
          <ac:chgData name="Aurelien Domont" userId="6da7715ce44349b3" providerId="LiveId" clId="{30A766B1-982E-4295-BCAD-093FA0E8E566}" dt="2022-04-21T04:50:25.636" v="134" actId="478"/>
          <ac:picMkLst>
            <pc:docMk/>
            <pc:sldMk cId="3988936821" sldId="2403"/>
            <ac:picMk id="40" creationId="{3DEB5477-0C22-4815-8540-2B31531B9528}"/>
          </ac:picMkLst>
        </pc:picChg>
        <pc:picChg chg="add mod">
          <ac:chgData name="Aurelien Domont" userId="6da7715ce44349b3" providerId="LiveId" clId="{30A766B1-982E-4295-BCAD-093FA0E8E566}" dt="2022-04-21T04:50:32.968" v="137" actId="108"/>
          <ac:picMkLst>
            <pc:docMk/>
            <pc:sldMk cId="3988936821" sldId="2403"/>
            <ac:picMk id="42" creationId="{19C22682-828C-4496-8A6B-A5477BA4E367}"/>
          </ac:picMkLst>
        </pc:picChg>
        <pc:cxnChg chg="add mod">
          <ac:chgData name="Aurelien Domont" userId="6da7715ce44349b3" providerId="LiveId" clId="{30A766B1-982E-4295-BCAD-093FA0E8E566}" dt="2022-04-21T04:39:22.868" v="79" actId="1036"/>
          <ac:cxnSpMkLst>
            <pc:docMk/>
            <pc:sldMk cId="3988936821" sldId="2403"/>
            <ac:cxnSpMk id="7" creationId="{8F5164F6-9179-463D-822A-6B676BAEA672}"/>
          </ac:cxnSpMkLst>
        </pc:cxnChg>
        <pc:cxnChg chg="add mod">
          <ac:chgData name="Aurelien Domont" userId="6da7715ce44349b3" providerId="LiveId" clId="{30A766B1-982E-4295-BCAD-093FA0E8E566}" dt="2022-04-21T04:46:01.978" v="116" actId="1035"/>
          <ac:cxnSpMkLst>
            <pc:docMk/>
            <pc:sldMk cId="3988936821" sldId="2403"/>
            <ac:cxnSpMk id="33" creationId="{19C05A51-0824-4879-BD7A-981B3F9F9A36}"/>
          </ac:cxnSpMkLst>
        </pc:cxnChg>
        <pc:cxnChg chg="add mod">
          <ac:chgData name="Aurelien Domont" userId="6da7715ce44349b3" providerId="LiveId" clId="{30A766B1-982E-4295-BCAD-093FA0E8E566}" dt="2022-04-21T04:45:55.913" v="114" actId="571"/>
          <ac:cxnSpMkLst>
            <pc:docMk/>
            <pc:sldMk cId="3988936821" sldId="2403"/>
            <ac:cxnSpMk id="36" creationId="{E7A7A90A-C8D0-48B5-ACF7-6DC7F3B08FE2}"/>
          </ac:cxnSpMkLst>
        </pc:cxnChg>
      </pc:sldChg>
      <pc:sldChg chg="addSp delSp modSp add mod">
        <pc:chgData name="Aurelien Domont" userId="6da7715ce44349b3" providerId="LiveId" clId="{30A766B1-982E-4295-BCAD-093FA0E8E566}" dt="2023-01-19T00:34:38.908" v="15509" actId="20577"/>
        <pc:sldMkLst>
          <pc:docMk/>
          <pc:sldMk cId="2071212216" sldId="2404"/>
        </pc:sldMkLst>
        <pc:spChg chg="add del mod">
          <ac:chgData name="Aurelien Domont" userId="6da7715ce44349b3" providerId="LiveId" clId="{30A766B1-982E-4295-BCAD-093FA0E8E566}" dt="2023-01-18T05:40:42.776" v="14943" actId="478"/>
          <ac:spMkLst>
            <pc:docMk/>
            <pc:sldMk cId="2071212216" sldId="2404"/>
            <ac:spMk id="2" creationId="{49195189-D29B-FE3D-FBE5-5689F7C564A7}"/>
          </ac:spMkLst>
        </pc:spChg>
        <pc:spChg chg="mod">
          <ac:chgData name="Aurelien Domont" userId="6da7715ce44349b3" providerId="LiveId" clId="{30A766B1-982E-4295-BCAD-093FA0E8E566}" dt="2023-01-18T05:33:07.832" v="14918"/>
          <ac:spMkLst>
            <pc:docMk/>
            <pc:sldMk cId="2071212216" sldId="2404"/>
            <ac:spMk id="3" creationId="{CE2529A3-BA97-486F-9E02-8DFAAA7D8D38}"/>
          </ac:spMkLst>
        </pc:spChg>
        <pc:spChg chg="add del mod">
          <ac:chgData name="Aurelien Domont" userId="6da7715ce44349b3" providerId="LiveId" clId="{30A766B1-982E-4295-BCAD-093FA0E8E566}" dt="2023-01-18T05:40:42.776" v="14943" actId="478"/>
          <ac:spMkLst>
            <pc:docMk/>
            <pc:sldMk cId="2071212216" sldId="2404"/>
            <ac:spMk id="4" creationId="{B449BF5B-1C3C-31F7-35B0-3430FEE47F77}"/>
          </ac:spMkLst>
        </pc:spChg>
        <pc:spChg chg="add del mod">
          <ac:chgData name="Aurelien Domont" userId="6da7715ce44349b3" providerId="LiveId" clId="{30A766B1-982E-4295-BCAD-093FA0E8E566}" dt="2023-01-18T05:40:42.776" v="14943" actId="478"/>
          <ac:spMkLst>
            <pc:docMk/>
            <pc:sldMk cId="2071212216" sldId="2404"/>
            <ac:spMk id="5" creationId="{F83CB017-8CBE-576D-0908-9C9FD5C1ADD2}"/>
          </ac:spMkLst>
        </pc:spChg>
        <pc:spChg chg="add del mod">
          <ac:chgData name="Aurelien Domont" userId="6da7715ce44349b3" providerId="LiveId" clId="{30A766B1-982E-4295-BCAD-093FA0E8E566}" dt="2023-01-18T05:39:56.863" v="14942" actId="478"/>
          <ac:spMkLst>
            <pc:docMk/>
            <pc:sldMk cId="2071212216" sldId="2404"/>
            <ac:spMk id="6" creationId="{93ACD56B-E817-A09B-FB9C-5F0810CB63FF}"/>
          </ac:spMkLst>
        </pc:spChg>
        <pc:spChg chg="add mod">
          <ac:chgData name="Aurelien Domont" userId="6da7715ce44349b3" providerId="LiveId" clId="{30A766B1-982E-4295-BCAD-093FA0E8E566}" dt="2023-01-18T05:41:11.763" v="14947" actId="164"/>
          <ac:spMkLst>
            <pc:docMk/>
            <pc:sldMk cId="2071212216" sldId="2404"/>
            <ac:spMk id="7" creationId="{0114C692-0762-4929-A503-598679B53664}"/>
          </ac:spMkLst>
        </pc:spChg>
        <pc:spChg chg="add mod">
          <ac:chgData name="Aurelien Domont" userId="6da7715ce44349b3" providerId="LiveId" clId="{30A766B1-982E-4295-BCAD-093FA0E8E566}" dt="2023-01-18T05:41:11.763" v="14947" actId="164"/>
          <ac:spMkLst>
            <pc:docMk/>
            <pc:sldMk cId="2071212216" sldId="2404"/>
            <ac:spMk id="8" creationId="{129E4C2A-9965-8EBE-0C77-7DFA017A9568}"/>
          </ac:spMkLst>
        </pc:spChg>
        <pc:spChg chg="add mod">
          <ac:chgData name="Aurelien Domont" userId="6da7715ce44349b3" providerId="LiveId" clId="{30A766B1-982E-4295-BCAD-093FA0E8E566}" dt="2023-01-18T05:41:11.763" v="14947" actId="164"/>
          <ac:spMkLst>
            <pc:docMk/>
            <pc:sldMk cId="2071212216" sldId="2404"/>
            <ac:spMk id="9" creationId="{41995570-F110-6E2C-7742-75CAF108EDA3}"/>
          </ac:spMkLst>
        </pc:spChg>
        <pc:spChg chg="add mod">
          <ac:chgData name="Aurelien Domont" userId="6da7715ce44349b3" providerId="LiveId" clId="{30A766B1-982E-4295-BCAD-093FA0E8E566}" dt="2023-01-18T05:41:11.763" v="14947" actId="164"/>
          <ac:spMkLst>
            <pc:docMk/>
            <pc:sldMk cId="2071212216" sldId="2404"/>
            <ac:spMk id="10" creationId="{A07BB23E-4103-7C90-F15F-352D9F2CFAB2}"/>
          </ac:spMkLst>
        </pc:spChg>
        <pc:spChg chg="add mod">
          <ac:chgData name="Aurelien Domont" userId="6da7715ce44349b3" providerId="LiveId" clId="{30A766B1-982E-4295-BCAD-093FA0E8E566}" dt="2023-01-18T05:42:06.835" v="14950" actId="20577"/>
          <ac:spMkLst>
            <pc:docMk/>
            <pc:sldMk cId="2071212216" sldId="2404"/>
            <ac:spMk id="11" creationId="{72665987-E810-F1FF-47A9-1CA11AAC2C4B}"/>
          </ac:spMkLst>
        </pc:spChg>
        <pc:spChg chg="add mod">
          <ac:chgData name="Aurelien Domont" userId="6da7715ce44349b3" providerId="LiveId" clId="{30A766B1-982E-4295-BCAD-093FA0E8E566}" dt="2023-01-18T05:41:11.763" v="14947" actId="164"/>
          <ac:spMkLst>
            <pc:docMk/>
            <pc:sldMk cId="2071212216" sldId="2404"/>
            <ac:spMk id="12" creationId="{02CBE9A0-A4DC-1B00-7B34-790D951F56D5}"/>
          </ac:spMkLst>
        </pc:spChg>
        <pc:spChg chg="add mod">
          <ac:chgData name="Aurelien Domont" userId="6da7715ce44349b3" providerId="LiveId" clId="{30A766B1-982E-4295-BCAD-093FA0E8E566}" dt="2023-01-18T05:41:11.763" v="14947" actId="164"/>
          <ac:spMkLst>
            <pc:docMk/>
            <pc:sldMk cId="2071212216" sldId="2404"/>
            <ac:spMk id="14" creationId="{01043288-437F-437F-C109-0272396971BE}"/>
          </ac:spMkLst>
        </pc:spChg>
        <pc:spChg chg="add del mod">
          <ac:chgData name="Aurelien Domont" userId="6da7715ce44349b3" providerId="LiveId" clId="{30A766B1-982E-4295-BCAD-093FA0E8E566}" dt="2023-01-16T05:40:41.762" v="14377" actId="478"/>
          <ac:spMkLst>
            <pc:docMk/>
            <pc:sldMk cId="2071212216" sldId="2404"/>
            <ac:spMk id="14" creationId="{BA409E50-020C-4927-9896-D6844DC5CFD4}"/>
          </ac:spMkLst>
        </pc:spChg>
        <pc:spChg chg="add del mod">
          <ac:chgData name="Aurelien Domont" userId="6da7715ce44349b3" providerId="LiveId" clId="{30A766B1-982E-4295-BCAD-093FA0E8E566}" dt="2022-04-21T05:19:26.750" v="347" actId="478"/>
          <ac:spMkLst>
            <pc:docMk/>
            <pc:sldMk cId="2071212216" sldId="2404"/>
            <ac:spMk id="15" creationId="{E9205823-FA0F-4834-956D-C62FBC4264AA}"/>
          </ac:spMkLst>
        </pc:spChg>
        <pc:spChg chg="mod">
          <ac:chgData name="Aurelien Domont" userId="6da7715ce44349b3" providerId="LiveId" clId="{30A766B1-982E-4295-BCAD-093FA0E8E566}" dt="2023-01-19T00:34:38.908" v="15509" actId="20577"/>
          <ac:spMkLst>
            <pc:docMk/>
            <pc:sldMk cId="2071212216" sldId="2404"/>
            <ac:spMk id="16" creationId="{6C2BB713-9637-4B9B-938F-E9768876782A}"/>
          </ac:spMkLst>
        </pc:spChg>
        <pc:spChg chg="add del mod">
          <ac:chgData name="Aurelien Domont" userId="6da7715ce44349b3" providerId="LiveId" clId="{30A766B1-982E-4295-BCAD-093FA0E8E566}" dt="2023-01-16T05:40:41.762" v="14377" actId="478"/>
          <ac:spMkLst>
            <pc:docMk/>
            <pc:sldMk cId="2071212216" sldId="2404"/>
            <ac:spMk id="17" creationId="{534C3FA6-F518-41DE-9786-53A613CBE692}"/>
          </ac:spMkLst>
        </pc:spChg>
        <pc:spChg chg="add mod">
          <ac:chgData name="Aurelien Domont" userId="6da7715ce44349b3" providerId="LiveId" clId="{30A766B1-982E-4295-BCAD-093FA0E8E566}" dt="2023-01-18T05:53:12.623" v="15264" actId="403"/>
          <ac:spMkLst>
            <pc:docMk/>
            <pc:sldMk cId="2071212216" sldId="2404"/>
            <ac:spMk id="17" creationId="{5F124178-05C4-3F6D-19F9-340572E1C166}"/>
          </ac:spMkLst>
        </pc:spChg>
        <pc:spChg chg="add del mod">
          <ac:chgData name="Aurelien Domont" userId="6da7715ce44349b3" providerId="LiveId" clId="{30A766B1-982E-4295-BCAD-093FA0E8E566}" dt="2022-04-21T05:19:20.087" v="340" actId="478"/>
          <ac:spMkLst>
            <pc:docMk/>
            <pc:sldMk cId="2071212216" sldId="2404"/>
            <ac:spMk id="18" creationId="{C28A7AB5-1259-4A91-9A24-96298C592D34}"/>
          </ac:spMkLst>
        </pc:spChg>
        <pc:spChg chg="del">
          <ac:chgData name="Aurelien Domont" userId="6da7715ce44349b3" providerId="LiveId" clId="{30A766B1-982E-4295-BCAD-093FA0E8E566}" dt="2022-04-21T04:56:33.319" v="311" actId="478"/>
          <ac:spMkLst>
            <pc:docMk/>
            <pc:sldMk cId="2071212216" sldId="2404"/>
            <ac:spMk id="19" creationId="{46C5EA18-8144-4F35-8786-8AEC0801BAA8}"/>
          </ac:spMkLst>
        </pc:spChg>
        <pc:spChg chg="add mod">
          <ac:chgData name="Aurelien Domont" userId="6da7715ce44349b3" providerId="LiveId" clId="{30A766B1-982E-4295-BCAD-093FA0E8E566}" dt="2023-01-18T05:49:42.156" v="15160" actId="14100"/>
          <ac:spMkLst>
            <pc:docMk/>
            <pc:sldMk cId="2071212216" sldId="2404"/>
            <ac:spMk id="19" creationId="{F88E3DA1-783C-CDE0-4AC3-D40C9440DA0C}"/>
          </ac:spMkLst>
        </pc:spChg>
        <pc:spChg chg="add mod">
          <ac:chgData name="Aurelien Domont" userId="6da7715ce44349b3" providerId="LiveId" clId="{30A766B1-982E-4295-BCAD-093FA0E8E566}" dt="2023-01-18T05:52:18.552" v="15257" actId="20577"/>
          <ac:spMkLst>
            <pc:docMk/>
            <pc:sldMk cId="2071212216" sldId="2404"/>
            <ac:spMk id="20" creationId="{775A85ED-8ED7-5C3F-C4DF-216C3CCE9D0E}"/>
          </ac:spMkLst>
        </pc:spChg>
        <pc:spChg chg="add del mod">
          <ac:chgData name="Aurelien Domont" userId="6da7715ce44349b3" providerId="LiveId" clId="{30A766B1-982E-4295-BCAD-093FA0E8E566}" dt="2023-01-16T05:40:41.762" v="14377" actId="478"/>
          <ac:spMkLst>
            <pc:docMk/>
            <pc:sldMk cId="2071212216" sldId="2404"/>
            <ac:spMk id="20" creationId="{B82819FF-6112-4A31-9B51-D5C3DB75AC14}"/>
          </ac:spMkLst>
        </pc:spChg>
        <pc:spChg chg="add del mod">
          <ac:chgData name="Aurelien Domont" userId="6da7715ce44349b3" providerId="LiveId" clId="{30A766B1-982E-4295-BCAD-093FA0E8E566}" dt="2022-04-21T05:19:22.755" v="343" actId="478"/>
          <ac:spMkLst>
            <pc:docMk/>
            <pc:sldMk cId="2071212216" sldId="2404"/>
            <ac:spMk id="21" creationId="{6DB2E93A-E157-4E9A-9A9D-60097B140BEC}"/>
          </ac:spMkLst>
        </pc:spChg>
        <pc:spChg chg="add mod">
          <ac:chgData name="Aurelien Domont" userId="6da7715ce44349b3" providerId="LiveId" clId="{30A766B1-982E-4295-BCAD-093FA0E8E566}" dt="2023-01-18T05:52:29.211" v="15260" actId="20577"/>
          <ac:spMkLst>
            <pc:docMk/>
            <pc:sldMk cId="2071212216" sldId="2404"/>
            <ac:spMk id="21" creationId="{A01FBACB-0A8C-6680-75BC-9D97137648E4}"/>
          </ac:spMkLst>
        </pc:spChg>
        <pc:spChg chg="add del mod">
          <ac:chgData name="Aurelien Domont" userId="6da7715ce44349b3" providerId="LiveId" clId="{30A766B1-982E-4295-BCAD-093FA0E8E566}" dt="2022-04-21T05:19:22.063" v="342" actId="478"/>
          <ac:spMkLst>
            <pc:docMk/>
            <pc:sldMk cId="2071212216" sldId="2404"/>
            <ac:spMk id="22" creationId="{28FFD624-031A-4713-B732-839B676995C4}"/>
          </ac:spMkLst>
        </pc:spChg>
        <pc:spChg chg="add del mod">
          <ac:chgData name="Aurelien Domont" userId="6da7715ce44349b3" providerId="LiveId" clId="{30A766B1-982E-4295-BCAD-093FA0E8E566}" dt="2022-04-21T05:19:28.266" v="348" actId="478"/>
          <ac:spMkLst>
            <pc:docMk/>
            <pc:sldMk cId="2071212216" sldId="2404"/>
            <ac:spMk id="23" creationId="{7450AF8A-3C62-49B0-A748-84E5CDFE2B93}"/>
          </ac:spMkLst>
        </pc:spChg>
        <pc:spChg chg="add del mod">
          <ac:chgData name="Aurelien Domont" userId="6da7715ce44349b3" providerId="LiveId" clId="{30A766B1-982E-4295-BCAD-093FA0E8E566}" dt="2022-04-21T05:19:21.334" v="341" actId="478"/>
          <ac:spMkLst>
            <pc:docMk/>
            <pc:sldMk cId="2071212216" sldId="2404"/>
            <ac:spMk id="24" creationId="{0F9E1EE4-38AF-429C-935F-A324B5246C63}"/>
          </ac:spMkLst>
        </pc:spChg>
        <pc:spChg chg="add del mod">
          <ac:chgData name="Aurelien Domont" userId="6da7715ce44349b3" providerId="LiveId" clId="{30A766B1-982E-4295-BCAD-093FA0E8E566}" dt="2022-04-21T05:20:51.446" v="392" actId="478"/>
          <ac:spMkLst>
            <pc:docMk/>
            <pc:sldMk cId="2071212216" sldId="2404"/>
            <ac:spMk id="25" creationId="{526CA938-9C37-4246-90B1-E71065775FB9}"/>
          </ac:spMkLst>
        </pc:spChg>
        <pc:spChg chg="add del mod">
          <ac:chgData name="Aurelien Domont" userId="6da7715ce44349b3" providerId="LiveId" clId="{30A766B1-982E-4295-BCAD-093FA0E8E566}" dt="2022-04-21T05:20:51.446" v="392" actId="478"/>
          <ac:spMkLst>
            <pc:docMk/>
            <pc:sldMk cId="2071212216" sldId="2404"/>
            <ac:spMk id="26" creationId="{813C17ED-CA7E-418E-ABB5-169EEB5914F9}"/>
          </ac:spMkLst>
        </pc:spChg>
        <pc:spChg chg="add del mod">
          <ac:chgData name="Aurelien Domont" userId="6da7715ce44349b3" providerId="LiveId" clId="{30A766B1-982E-4295-BCAD-093FA0E8E566}" dt="2022-04-21T05:20:51.446" v="392" actId="478"/>
          <ac:spMkLst>
            <pc:docMk/>
            <pc:sldMk cId="2071212216" sldId="2404"/>
            <ac:spMk id="27" creationId="{9740AEFE-EC3E-48E0-9EAE-2741EA66A0A1}"/>
          </ac:spMkLst>
        </pc:spChg>
        <pc:spChg chg="add del mod">
          <ac:chgData name="Aurelien Domont" userId="6da7715ce44349b3" providerId="LiveId" clId="{30A766B1-982E-4295-BCAD-093FA0E8E566}" dt="2023-01-16T05:40:41.762" v="14377" actId="478"/>
          <ac:spMkLst>
            <pc:docMk/>
            <pc:sldMk cId="2071212216" sldId="2404"/>
            <ac:spMk id="28" creationId="{18B3490D-9C9C-4E11-80B6-C8AF2E41D17B}"/>
          </ac:spMkLst>
        </pc:spChg>
        <pc:spChg chg="add del mod">
          <ac:chgData name="Aurelien Domont" userId="6da7715ce44349b3" providerId="LiveId" clId="{30A766B1-982E-4295-BCAD-093FA0E8E566}" dt="2022-04-21T05:19:23.955" v="344" actId="478"/>
          <ac:spMkLst>
            <pc:docMk/>
            <pc:sldMk cId="2071212216" sldId="2404"/>
            <ac:spMk id="29" creationId="{CB18D28C-39C2-4A26-AAA6-D90630F1D643}"/>
          </ac:spMkLst>
        </pc:spChg>
        <pc:spChg chg="add del mod">
          <ac:chgData name="Aurelien Domont" userId="6da7715ce44349b3" providerId="LiveId" clId="{30A766B1-982E-4295-BCAD-093FA0E8E566}" dt="2022-04-21T05:19:25.927" v="346" actId="478"/>
          <ac:spMkLst>
            <pc:docMk/>
            <pc:sldMk cId="2071212216" sldId="2404"/>
            <ac:spMk id="30" creationId="{7469E464-D1B5-4097-9371-CF3AF092A317}"/>
          </ac:spMkLst>
        </pc:spChg>
        <pc:spChg chg="del">
          <ac:chgData name="Aurelien Domont" userId="6da7715ce44349b3" providerId="LiveId" clId="{30A766B1-982E-4295-BCAD-093FA0E8E566}" dt="2022-04-21T04:56:33.319" v="311" actId="478"/>
          <ac:spMkLst>
            <pc:docMk/>
            <pc:sldMk cId="2071212216" sldId="2404"/>
            <ac:spMk id="31" creationId="{75E6E7DB-F4E4-4712-AC65-23F362F39338}"/>
          </ac:spMkLst>
        </pc:spChg>
        <pc:spChg chg="add del mod">
          <ac:chgData name="Aurelien Domont" userId="6da7715ce44349b3" providerId="LiveId" clId="{30A766B1-982E-4295-BCAD-093FA0E8E566}" dt="2022-04-21T05:19:45.420" v="361" actId="478"/>
          <ac:spMkLst>
            <pc:docMk/>
            <pc:sldMk cId="2071212216" sldId="2404"/>
            <ac:spMk id="32" creationId="{D937AE19-512D-48C8-BF63-8C6FED28A094}"/>
          </ac:spMkLst>
        </pc:spChg>
        <pc:spChg chg="add del mod">
          <ac:chgData name="Aurelien Domont" userId="6da7715ce44349b3" providerId="LiveId" clId="{30A766B1-982E-4295-BCAD-093FA0E8E566}" dt="2022-04-21T05:17:20.873" v="313" actId="478"/>
          <ac:spMkLst>
            <pc:docMk/>
            <pc:sldMk cId="2071212216" sldId="2404"/>
            <ac:spMk id="34" creationId="{E29E0CAA-49A5-4AFA-B335-456987A52E7A}"/>
          </ac:spMkLst>
        </pc:spChg>
        <pc:spChg chg="del">
          <ac:chgData name="Aurelien Domont" userId="6da7715ce44349b3" providerId="LiveId" clId="{30A766B1-982E-4295-BCAD-093FA0E8E566}" dt="2022-04-21T04:56:33.319" v="311" actId="478"/>
          <ac:spMkLst>
            <pc:docMk/>
            <pc:sldMk cId="2071212216" sldId="2404"/>
            <ac:spMk id="35" creationId="{13F9DF7E-1BA4-4760-8B22-A867111399AC}"/>
          </ac:spMkLst>
        </pc:spChg>
        <pc:grpChg chg="add mod">
          <ac:chgData name="Aurelien Domont" userId="6da7715ce44349b3" providerId="LiveId" clId="{30A766B1-982E-4295-BCAD-093FA0E8E566}" dt="2023-01-18T05:45:10.452" v="14991" actId="1035"/>
          <ac:grpSpMkLst>
            <pc:docMk/>
            <pc:sldMk cId="2071212216" sldId="2404"/>
            <ac:grpSpMk id="15" creationId="{7169B6D6-FA39-6046-33FA-34A86D2DDE34}"/>
          </ac:grpSpMkLst>
        </pc:grpChg>
        <pc:picChg chg="del">
          <ac:chgData name="Aurelien Domont" userId="6da7715ce44349b3" providerId="LiveId" clId="{30A766B1-982E-4295-BCAD-093FA0E8E566}" dt="2022-04-21T04:56:33.319" v="311" actId="478"/>
          <ac:picMkLst>
            <pc:docMk/>
            <pc:sldMk cId="2071212216" sldId="2404"/>
            <ac:picMk id="4" creationId="{E4E9FDB1-3A8F-4378-9305-40BA6E33B9ED}"/>
          </ac:picMkLst>
        </pc:picChg>
        <pc:picChg chg="del">
          <ac:chgData name="Aurelien Domont" userId="6da7715ce44349b3" providerId="LiveId" clId="{30A766B1-982E-4295-BCAD-093FA0E8E566}" dt="2022-04-21T04:56:33.319" v="311" actId="478"/>
          <ac:picMkLst>
            <pc:docMk/>
            <pc:sldMk cId="2071212216" sldId="2404"/>
            <ac:picMk id="11" creationId="{02BE1B67-3DFA-42A7-A81E-9460EC7285FB}"/>
          </ac:picMkLst>
        </pc:picChg>
        <pc:picChg chg="del">
          <ac:chgData name="Aurelien Domont" userId="6da7715ce44349b3" providerId="LiveId" clId="{30A766B1-982E-4295-BCAD-093FA0E8E566}" dt="2022-04-21T04:56:33.319" v="311" actId="478"/>
          <ac:picMkLst>
            <pc:docMk/>
            <pc:sldMk cId="2071212216" sldId="2404"/>
            <ac:picMk id="42" creationId="{19C22682-828C-4496-8A6B-A5477BA4E367}"/>
          </ac:picMkLst>
        </pc:picChg>
        <pc:cxnChg chg="del">
          <ac:chgData name="Aurelien Domont" userId="6da7715ce44349b3" providerId="LiveId" clId="{30A766B1-982E-4295-BCAD-093FA0E8E566}" dt="2022-04-21T04:56:33.319" v="311" actId="478"/>
          <ac:cxnSpMkLst>
            <pc:docMk/>
            <pc:sldMk cId="2071212216" sldId="2404"/>
            <ac:cxnSpMk id="7" creationId="{8F5164F6-9179-463D-822A-6B676BAEA672}"/>
          </ac:cxnSpMkLst>
        </pc:cxnChg>
        <pc:cxnChg chg="add mod">
          <ac:chgData name="Aurelien Domont" userId="6da7715ce44349b3" providerId="LiveId" clId="{30A766B1-982E-4295-BCAD-093FA0E8E566}" dt="2023-01-18T05:45:10.452" v="14991" actId="1035"/>
          <ac:cxnSpMkLst>
            <pc:docMk/>
            <pc:sldMk cId="2071212216" sldId="2404"/>
            <ac:cxnSpMk id="18" creationId="{38E472FC-CE61-193F-AC9D-D0785206DC57}"/>
          </ac:cxnSpMkLst>
        </pc:cxnChg>
        <pc:cxnChg chg="del">
          <ac:chgData name="Aurelien Domont" userId="6da7715ce44349b3" providerId="LiveId" clId="{30A766B1-982E-4295-BCAD-093FA0E8E566}" dt="2022-04-21T04:56:33.319" v="311" actId="478"/>
          <ac:cxnSpMkLst>
            <pc:docMk/>
            <pc:sldMk cId="2071212216" sldId="2404"/>
            <ac:cxnSpMk id="33" creationId="{19C05A51-0824-4879-BD7A-981B3F9F9A36}"/>
          </ac:cxnSpMkLst>
        </pc:cxnChg>
        <pc:cxnChg chg="del">
          <ac:chgData name="Aurelien Domont" userId="6da7715ce44349b3" providerId="LiveId" clId="{30A766B1-982E-4295-BCAD-093FA0E8E566}" dt="2022-04-21T04:56:33.319" v="311" actId="478"/>
          <ac:cxnSpMkLst>
            <pc:docMk/>
            <pc:sldMk cId="2071212216" sldId="2404"/>
            <ac:cxnSpMk id="36" creationId="{E7A7A90A-C8D0-48B5-ACF7-6DC7F3B08FE2}"/>
          </ac:cxnSpMkLst>
        </pc:cxnChg>
      </pc:sldChg>
      <pc:sldChg chg="add del">
        <pc:chgData name="Aurelien Domont" userId="6da7715ce44349b3" providerId="LiveId" clId="{30A766B1-982E-4295-BCAD-093FA0E8E566}" dt="2022-04-21T04:50:55.932" v="138" actId="47"/>
        <pc:sldMkLst>
          <pc:docMk/>
          <pc:sldMk cId="2331968025" sldId="2404"/>
        </pc:sldMkLst>
      </pc:sldChg>
      <pc:sldChg chg="modSp add del mod ord">
        <pc:chgData name="Aurelien Domont" userId="6da7715ce44349b3" providerId="LiveId" clId="{30A766B1-982E-4295-BCAD-093FA0E8E566}" dt="2023-01-19T00:38:40.991" v="15530" actId="47"/>
        <pc:sldMkLst>
          <pc:docMk/>
          <pc:sldMk cId="356251112" sldId="2405"/>
        </pc:sldMkLst>
        <pc:spChg chg="mod">
          <ac:chgData name="Aurelien Domont" userId="6da7715ce44349b3" providerId="LiveId" clId="{30A766B1-982E-4295-BCAD-093FA0E8E566}" dt="2023-01-18T05:33:07.832" v="14918"/>
          <ac:spMkLst>
            <pc:docMk/>
            <pc:sldMk cId="356251112" sldId="2405"/>
            <ac:spMk id="3" creationId="{CE2529A3-BA97-486F-9E02-8DFAAA7D8D38}"/>
          </ac:spMkLst>
        </pc:spChg>
        <pc:spChg chg="mod">
          <ac:chgData name="Aurelien Domont" userId="6da7715ce44349b3" providerId="LiveId" clId="{30A766B1-982E-4295-BCAD-093FA0E8E566}" dt="2023-01-18T05:33:07.832" v="14918"/>
          <ac:spMkLst>
            <pc:docMk/>
            <pc:sldMk cId="356251112" sldId="2405"/>
            <ac:spMk id="16" creationId="{6C2BB713-9637-4B9B-938F-E9768876782A}"/>
          </ac:spMkLst>
        </pc:spChg>
      </pc:sldChg>
      <pc:sldChg chg="addSp delSp modSp add del mod">
        <pc:chgData name="Aurelien Domont" userId="6da7715ce44349b3" providerId="LiveId" clId="{30A766B1-982E-4295-BCAD-093FA0E8E566}" dt="2022-05-25T06:01:38.121" v="7282" actId="2696"/>
        <pc:sldMkLst>
          <pc:docMk/>
          <pc:sldMk cId="2111957083" sldId="2405"/>
        </pc:sldMkLst>
        <pc:spChg chg="add del mod">
          <ac:chgData name="Aurelien Domont" userId="6da7715ce44349b3" providerId="LiveId" clId="{30A766B1-982E-4295-BCAD-093FA0E8E566}" dt="2022-05-25T05:53:55.800" v="7100" actId="478"/>
          <ac:spMkLst>
            <pc:docMk/>
            <pc:sldMk cId="2111957083" sldId="2405"/>
            <ac:spMk id="2" creationId="{2EE86A9F-4CE5-49E9-95D6-D406609D749A}"/>
          </ac:spMkLst>
        </pc:spChg>
        <pc:spChg chg="add del mod">
          <ac:chgData name="Aurelien Domont" userId="6da7715ce44349b3" providerId="LiveId" clId="{30A766B1-982E-4295-BCAD-093FA0E8E566}" dt="2022-04-21T05:32:06.574" v="544" actId="478"/>
          <ac:spMkLst>
            <pc:docMk/>
            <pc:sldMk cId="2111957083" sldId="2405"/>
            <ac:spMk id="2" creationId="{780A7015-7454-4E11-B6BC-F9240AF5C7D0}"/>
          </ac:spMkLst>
        </pc:spChg>
        <pc:spChg chg="add mod topLvl">
          <ac:chgData name="Aurelien Domont" userId="6da7715ce44349b3" providerId="LiveId" clId="{30A766B1-982E-4295-BCAD-093FA0E8E566}" dt="2022-05-25T05:53:46.747" v="7099" actId="1035"/>
          <ac:spMkLst>
            <pc:docMk/>
            <pc:sldMk cId="2111957083" sldId="2405"/>
            <ac:spMk id="9" creationId="{0F4B39A0-2803-47D9-93AE-F99798C91F06}"/>
          </ac:spMkLst>
        </pc:spChg>
        <pc:spChg chg="add mod topLvl">
          <ac:chgData name="Aurelien Domont" userId="6da7715ce44349b3" providerId="LiveId" clId="{30A766B1-982E-4295-BCAD-093FA0E8E566}" dt="2022-05-25T05:53:46.747" v="7099" actId="1035"/>
          <ac:spMkLst>
            <pc:docMk/>
            <pc:sldMk cId="2111957083" sldId="2405"/>
            <ac:spMk id="10" creationId="{52524284-CA7D-416E-ADDB-CAB7040B62C4}"/>
          </ac:spMkLst>
        </pc:spChg>
        <pc:spChg chg="add mod topLvl">
          <ac:chgData name="Aurelien Domont" userId="6da7715ce44349b3" providerId="LiveId" clId="{30A766B1-982E-4295-BCAD-093FA0E8E566}" dt="2022-05-25T05:53:46.747" v="7099" actId="1035"/>
          <ac:spMkLst>
            <pc:docMk/>
            <pc:sldMk cId="2111957083" sldId="2405"/>
            <ac:spMk id="11" creationId="{DCA1B29F-4AB2-4DAE-B498-BC74026B1DDA}"/>
          </ac:spMkLst>
        </pc:spChg>
        <pc:spChg chg="add mod topLvl">
          <ac:chgData name="Aurelien Domont" userId="6da7715ce44349b3" providerId="LiveId" clId="{30A766B1-982E-4295-BCAD-093FA0E8E566}" dt="2022-05-25T05:53:46.747" v="7099" actId="1035"/>
          <ac:spMkLst>
            <pc:docMk/>
            <pc:sldMk cId="2111957083" sldId="2405"/>
            <ac:spMk id="12" creationId="{B9BBA604-AEF4-4807-AD42-75399F0043F4}"/>
          </ac:spMkLst>
        </pc:spChg>
        <pc:spChg chg="del">
          <ac:chgData name="Aurelien Domont" userId="6da7715ce44349b3" providerId="LiveId" clId="{30A766B1-982E-4295-BCAD-093FA0E8E566}" dt="2022-04-21T05:28:26.506" v="441" actId="478"/>
          <ac:spMkLst>
            <pc:docMk/>
            <pc:sldMk cId="2111957083" sldId="2405"/>
            <ac:spMk id="14" creationId="{BA409E50-020C-4927-9896-D6844DC5CFD4}"/>
          </ac:spMkLst>
        </pc:spChg>
        <pc:spChg chg="mod">
          <ac:chgData name="Aurelien Domont" userId="6da7715ce44349b3" providerId="LiveId" clId="{30A766B1-982E-4295-BCAD-093FA0E8E566}" dt="2022-04-27T05:15:50.362" v="6703" actId="20577"/>
          <ac:spMkLst>
            <pc:docMk/>
            <pc:sldMk cId="2111957083" sldId="2405"/>
            <ac:spMk id="16" creationId="{6C2BB713-9637-4B9B-938F-E9768876782A}"/>
          </ac:spMkLst>
        </pc:spChg>
        <pc:spChg chg="del">
          <ac:chgData name="Aurelien Domont" userId="6da7715ce44349b3" providerId="LiveId" clId="{30A766B1-982E-4295-BCAD-093FA0E8E566}" dt="2022-04-21T05:28:26.506" v="441" actId="478"/>
          <ac:spMkLst>
            <pc:docMk/>
            <pc:sldMk cId="2111957083" sldId="2405"/>
            <ac:spMk id="17" creationId="{534C3FA6-F518-41DE-9786-53A613CBE692}"/>
          </ac:spMkLst>
        </pc:spChg>
        <pc:spChg chg="del">
          <ac:chgData name="Aurelien Domont" userId="6da7715ce44349b3" providerId="LiveId" clId="{30A766B1-982E-4295-BCAD-093FA0E8E566}" dt="2022-04-21T05:28:26.506" v="441" actId="478"/>
          <ac:spMkLst>
            <pc:docMk/>
            <pc:sldMk cId="2111957083" sldId="2405"/>
            <ac:spMk id="20" creationId="{B82819FF-6112-4A31-9B51-D5C3DB75AC14}"/>
          </ac:spMkLst>
        </pc:spChg>
        <pc:spChg chg="add mod topLvl">
          <ac:chgData name="Aurelien Domont" userId="6da7715ce44349b3" providerId="LiveId" clId="{30A766B1-982E-4295-BCAD-093FA0E8E566}" dt="2022-05-25T05:53:46.747" v="7099" actId="1035"/>
          <ac:spMkLst>
            <pc:docMk/>
            <pc:sldMk cId="2111957083" sldId="2405"/>
            <ac:spMk id="22" creationId="{8664D20B-2002-4C9F-A94C-AB6D33819DF8}"/>
          </ac:spMkLst>
        </pc:spChg>
        <pc:spChg chg="add del mod">
          <ac:chgData name="Aurelien Domont" userId="6da7715ce44349b3" providerId="LiveId" clId="{30A766B1-982E-4295-BCAD-093FA0E8E566}" dt="2022-04-21T05:29:59.576" v="504"/>
          <ac:spMkLst>
            <pc:docMk/>
            <pc:sldMk cId="2111957083" sldId="2405"/>
            <ac:spMk id="23" creationId="{00321A16-3E25-4F3B-82D8-3D92B996144F}"/>
          </ac:spMkLst>
        </pc:spChg>
        <pc:spChg chg="add del mod">
          <ac:chgData name="Aurelien Domont" userId="6da7715ce44349b3" providerId="LiveId" clId="{30A766B1-982E-4295-BCAD-093FA0E8E566}" dt="2022-04-27T05:12:52.714" v="6584" actId="478"/>
          <ac:spMkLst>
            <pc:docMk/>
            <pc:sldMk cId="2111957083" sldId="2405"/>
            <ac:spMk id="27" creationId="{54BC1734-C961-49B3-BBCE-81BBEF3EFD1B}"/>
          </ac:spMkLst>
        </pc:spChg>
        <pc:spChg chg="del">
          <ac:chgData name="Aurelien Domont" userId="6da7715ce44349b3" providerId="LiveId" clId="{30A766B1-982E-4295-BCAD-093FA0E8E566}" dt="2022-04-21T05:28:26.506" v="441" actId="478"/>
          <ac:spMkLst>
            <pc:docMk/>
            <pc:sldMk cId="2111957083" sldId="2405"/>
            <ac:spMk id="28" creationId="{18B3490D-9C9C-4E11-80B6-C8AF2E41D17B}"/>
          </ac:spMkLst>
        </pc:spChg>
        <pc:spChg chg="add del mod">
          <ac:chgData name="Aurelien Domont" userId="6da7715ce44349b3" providerId="LiveId" clId="{30A766B1-982E-4295-BCAD-093FA0E8E566}" dt="2022-04-27T05:12:52.714" v="6584" actId="478"/>
          <ac:spMkLst>
            <pc:docMk/>
            <pc:sldMk cId="2111957083" sldId="2405"/>
            <ac:spMk id="28" creationId="{4A40CCF3-55AD-4BA5-B3E8-AE7B563E3E35}"/>
          </ac:spMkLst>
        </pc:spChg>
        <pc:spChg chg="add del mod topLvl">
          <ac:chgData name="Aurelien Domont" userId="6da7715ce44349b3" providerId="LiveId" clId="{30A766B1-982E-4295-BCAD-093FA0E8E566}" dt="2022-04-27T05:12:52.714" v="6584" actId="478"/>
          <ac:spMkLst>
            <pc:docMk/>
            <pc:sldMk cId="2111957083" sldId="2405"/>
            <ac:spMk id="31" creationId="{1C1B78F5-CE09-4A06-8F1D-30227B5D6E15}"/>
          </ac:spMkLst>
        </pc:spChg>
        <pc:spChg chg="add del mod topLvl">
          <ac:chgData name="Aurelien Domont" userId="6da7715ce44349b3" providerId="LiveId" clId="{30A766B1-982E-4295-BCAD-093FA0E8E566}" dt="2022-04-27T05:12:52.714" v="6584" actId="478"/>
          <ac:spMkLst>
            <pc:docMk/>
            <pc:sldMk cId="2111957083" sldId="2405"/>
            <ac:spMk id="32" creationId="{3BEF6079-F38C-4B82-B044-53A13155F334}"/>
          </ac:spMkLst>
        </pc:spChg>
        <pc:spChg chg="add del mod topLvl">
          <ac:chgData name="Aurelien Domont" userId="6da7715ce44349b3" providerId="LiveId" clId="{30A766B1-982E-4295-BCAD-093FA0E8E566}" dt="2022-04-27T05:12:52.714" v="6584" actId="478"/>
          <ac:spMkLst>
            <pc:docMk/>
            <pc:sldMk cId="2111957083" sldId="2405"/>
            <ac:spMk id="33" creationId="{8260BE05-FEA7-4631-88CD-752AC5C966BA}"/>
          </ac:spMkLst>
        </pc:spChg>
        <pc:spChg chg="add del mod topLvl">
          <ac:chgData name="Aurelien Domont" userId="6da7715ce44349b3" providerId="LiveId" clId="{30A766B1-982E-4295-BCAD-093FA0E8E566}" dt="2022-04-27T05:12:52.714" v="6584" actId="478"/>
          <ac:spMkLst>
            <pc:docMk/>
            <pc:sldMk cId="2111957083" sldId="2405"/>
            <ac:spMk id="34" creationId="{473B4042-51F1-41BD-8EDF-E03E66716A5A}"/>
          </ac:spMkLst>
        </pc:spChg>
        <pc:spChg chg="add del mod topLvl">
          <ac:chgData name="Aurelien Domont" userId="6da7715ce44349b3" providerId="LiveId" clId="{30A766B1-982E-4295-BCAD-093FA0E8E566}" dt="2022-04-27T05:12:52.714" v="6584" actId="478"/>
          <ac:spMkLst>
            <pc:docMk/>
            <pc:sldMk cId="2111957083" sldId="2405"/>
            <ac:spMk id="35" creationId="{64C38490-8643-4DBA-8D8B-54C587ECA10D}"/>
          </ac:spMkLst>
        </pc:spChg>
        <pc:spChg chg="add mod">
          <ac:chgData name="Aurelien Domont" userId="6da7715ce44349b3" providerId="LiveId" clId="{30A766B1-982E-4295-BCAD-093FA0E8E566}" dt="2022-05-25T05:53:46.747" v="7099" actId="1035"/>
          <ac:spMkLst>
            <pc:docMk/>
            <pc:sldMk cId="2111957083" sldId="2405"/>
            <ac:spMk id="36" creationId="{1986B372-8067-410F-8B7C-D1E7178372BB}"/>
          </ac:spMkLst>
        </pc:spChg>
        <pc:spChg chg="add del mod">
          <ac:chgData name="Aurelien Domont" userId="6da7715ce44349b3" providerId="LiveId" clId="{30A766B1-982E-4295-BCAD-093FA0E8E566}" dt="2022-04-22T02:34:26.646" v="2986" actId="478"/>
          <ac:spMkLst>
            <pc:docMk/>
            <pc:sldMk cId="2111957083" sldId="2405"/>
            <ac:spMk id="36" creationId="{DD21B6DB-4893-4F57-917C-1828BD8F7DFD}"/>
          </ac:spMkLst>
        </pc:spChg>
        <pc:spChg chg="add del mod">
          <ac:chgData name="Aurelien Domont" userId="6da7715ce44349b3" providerId="LiveId" clId="{30A766B1-982E-4295-BCAD-093FA0E8E566}" dt="2022-04-27T05:12:52.714" v="6584" actId="478"/>
          <ac:spMkLst>
            <pc:docMk/>
            <pc:sldMk cId="2111957083" sldId="2405"/>
            <ac:spMk id="37" creationId="{31FE688D-FF20-4223-A037-1233B17CB62E}"/>
          </ac:spMkLst>
        </pc:spChg>
        <pc:spChg chg="add del mod">
          <ac:chgData name="Aurelien Domont" userId="6da7715ce44349b3" providerId="LiveId" clId="{30A766B1-982E-4295-BCAD-093FA0E8E566}" dt="2022-04-27T05:12:54.160" v="6585" actId="478"/>
          <ac:spMkLst>
            <pc:docMk/>
            <pc:sldMk cId="2111957083" sldId="2405"/>
            <ac:spMk id="38" creationId="{9D01B2F0-F734-4933-A904-035A8BF40F3D}"/>
          </ac:spMkLst>
        </pc:spChg>
        <pc:spChg chg="add mod">
          <ac:chgData name="Aurelien Domont" userId="6da7715ce44349b3" providerId="LiveId" clId="{30A766B1-982E-4295-BCAD-093FA0E8E566}" dt="2022-05-25T05:53:46.747" v="7099" actId="1035"/>
          <ac:spMkLst>
            <pc:docMk/>
            <pc:sldMk cId="2111957083" sldId="2405"/>
            <ac:spMk id="41" creationId="{FDDBF77E-A1BA-4D55-8310-78BB8D57F4CA}"/>
          </ac:spMkLst>
        </pc:spChg>
        <pc:spChg chg="add mod">
          <ac:chgData name="Aurelien Domont" userId="6da7715ce44349b3" providerId="LiveId" clId="{30A766B1-982E-4295-BCAD-093FA0E8E566}" dt="2022-05-25T05:53:46.747" v="7099" actId="1035"/>
          <ac:spMkLst>
            <pc:docMk/>
            <pc:sldMk cId="2111957083" sldId="2405"/>
            <ac:spMk id="44" creationId="{7AC00F69-A15C-4CC4-9D2A-F2208B8D37C3}"/>
          </ac:spMkLst>
        </pc:spChg>
        <pc:spChg chg="add mod">
          <ac:chgData name="Aurelien Domont" userId="6da7715ce44349b3" providerId="LiveId" clId="{30A766B1-982E-4295-BCAD-093FA0E8E566}" dt="2022-05-25T05:53:46.747" v="7099" actId="1035"/>
          <ac:spMkLst>
            <pc:docMk/>
            <pc:sldMk cId="2111957083" sldId="2405"/>
            <ac:spMk id="55" creationId="{427DB4D8-C180-4658-AA84-15C6BE309756}"/>
          </ac:spMkLst>
        </pc:spChg>
        <pc:grpChg chg="add del mod">
          <ac:chgData name="Aurelien Domont" userId="6da7715ce44349b3" providerId="LiveId" clId="{30A766B1-982E-4295-BCAD-093FA0E8E566}" dt="2022-04-22T00:22:29.739" v="1401" actId="165"/>
          <ac:grpSpMkLst>
            <pc:docMk/>
            <pc:sldMk cId="2111957083" sldId="2405"/>
            <ac:grpSpMk id="15" creationId="{DC59BFBF-D6D7-456F-A6B9-FCDF5197DE82}"/>
          </ac:grpSpMkLst>
        </pc:grpChg>
        <pc:picChg chg="add mod topLvl">
          <ac:chgData name="Aurelien Domont" userId="6da7715ce44349b3" providerId="LiveId" clId="{30A766B1-982E-4295-BCAD-093FA0E8E566}" dt="2022-05-25T05:53:46.747" v="7099" actId="1035"/>
          <ac:picMkLst>
            <pc:docMk/>
            <pc:sldMk cId="2111957083" sldId="2405"/>
            <ac:picMk id="5" creationId="{B591932E-445E-4FC6-BA49-B391B8DCAC7A}"/>
          </ac:picMkLst>
        </pc:picChg>
        <pc:picChg chg="add mod topLvl">
          <ac:chgData name="Aurelien Domont" userId="6da7715ce44349b3" providerId="LiveId" clId="{30A766B1-982E-4295-BCAD-093FA0E8E566}" dt="2022-05-25T05:53:46.747" v="7099" actId="1035"/>
          <ac:picMkLst>
            <pc:docMk/>
            <pc:sldMk cId="2111957083" sldId="2405"/>
            <ac:picMk id="7" creationId="{F8BDF65F-C179-4D90-9DAF-9A04B8C11C0C}"/>
          </ac:picMkLst>
        </pc:picChg>
        <pc:picChg chg="add del mod">
          <ac:chgData name="Aurelien Domont" userId="6da7715ce44349b3" providerId="LiveId" clId="{30A766B1-982E-4295-BCAD-093FA0E8E566}" dt="2022-04-21T05:41:26.679" v="596" actId="478"/>
          <ac:picMkLst>
            <pc:docMk/>
            <pc:sldMk cId="2111957083" sldId="2405"/>
            <ac:picMk id="15" creationId="{7B2FE741-C328-43B0-ACD5-DB2A42CF4460}"/>
          </ac:picMkLst>
        </pc:picChg>
        <pc:picChg chg="add del mod">
          <ac:chgData name="Aurelien Domont" userId="6da7715ce44349b3" providerId="LiveId" clId="{30A766B1-982E-4295-BCAD-093FA0E8E566}" dt="2022-04-21T05:38:24.020" v="558" actId="478"/>
          <ac:picMkLst>
            <pc:docMk/>
            <pc:sldMk cId="2111957083" sldId="2405"/>
            <ac:picMk id="18" creationId="{011F94EE-1948-46C1-BAD7-98C1F3115C43}"/>
          </ac:picMkLst>
        </pc:picChg>
        <pc:picChg chg="add del mod">
          <ac:chgData name="Aurelien Domont" userId="6da7715ce44349b3" providerId="LiveId" clId="{30A766B1-982E-4295-BCAD-093FA0E8E566}" dt="2022-04-21T05:38:46.341" v="569" actId="478"/>
          <ac:picMkLst>
            <pc:docMk/>
            <pc:sldMk cId="2111957083" sldId="2405"/>
            <ac:picMk id="19" creationId="{8BD5F1E8-CB6A-40B4-ABA3-B0348C5C2C71}"/>
          </ac:picMkLst>
        </pc:picChg>
        <pc:picChg chg="add del mod">
          <ac:chgData name="Aurelien Domont" userId="6da7715ce44349b3" providerId="LiveId" clId="{30A766B1-982E-4295-BCAD-093FA0E8E566}" dt="2022-04-21T05:43:32.134" v="606" actId="478"/>
          <ac:picMkLst>
            <pc:docMk/>
            <pc:sldMk cId="2111957083" sldId="2405"/>
            <ac:picMk id="21" creationId="{E15B671B-A242-4267-88A3-D6CA6DFBCC3C}"/>
          </ac:picMkLst>
        </pc:picChg>
        <pc:picChg chg="add mod topLvl">
          <ac:chgData name="Aurelien Domont" userId="6da7715ce44349b3" providerId="LiveId" clId="{30A766B1-982E-4295-BCAD-093FA0E8E566}" dt="2022-05-25T05:53:46.747" v="7099" actId="1035"/>
          <ac:picMkLst>
            <pc:docMk/>
            <pc:sldMk cId="2111957083" sldId="2405"/>
            <ac:picMk id="24" creationId="{D2DB75A5-E17D-431C-A54A-40A06ADDBEF3}"/>
          </ac:picMkLst>
        </pc:picChg>
        <pc:picChg chg="add mod topLvl">
          <ac:chgData name="Aurelien Domont" userId="6da7715ce44349b3" providerId="LiveId" clId="{30A766B1-982E-4295-BCAD-093FA0E8E566}" dt="2022-05-25T05:53:46.747" v="7099" actId="1035"/>
          <ac:picMkLst>
            <pc:docMk/>
            <pc:sldMk cId="2111957083" sldId="2405"/>
            <ac:picMk id="25" creationId="{86024EC3-117C-470E-8D6A-4C9B8B7C4E90}"/>
          </ac:picMkLst>
        </pc:picChg>
        <pc:picChg chg="add del mod">
          <ac:chgData name="Aurelien Domont" userId="6da7715ce44349b3" providerId="LiveId" clId="{30A766B1-982E-4295-BCAD-093FA0E8E566}" dt="2022-04-21T05:43:27.117" v="604" actId="478"/>
          <ac:picMkLst>
            <pc:docMk/>
            <pc:sldMk cId="2111957083" sldId="2405"/>
            <ac:picMk id="26" creationId="{AB3F5F1F-5744-450D-8DB9-A3FCBBE39368}"/>
          </ac:picMkLst>
        </pc:picChg>
        <pc:picChg chg="add del mod">
          <ac:chgData name="Aurelien Domont" userId="6da7715ce44349b3" providerId="LiveId" clId="{30A766B1-982E-4295-BCAD-093FA0E8E566}" dt="2022-04-21T06:23:49.757" v="878" actId="478"/>
          <ac:picMkLst>
            <pc:docMk/>
            <pc:sldMk cId="2111957083" sldId="2405"/>
            <ac:picMk id="29" creationId="{C088D4F7-5F4C-4027-878A-8E59A640B776}"/>
          </ac:picMkLst>
        </pc:picChg>
        <pc:picChg chg="add mod topLvl">
          <ac:chgData name="Aurelien Domont" userId="6da7715ce44349b3" providerId="LiveId" clId="{30A766B1-982E-4295-BCAD-093FA0E8E566}" dt="2022-05-25T05:53:46.747" v="7099" actId="1035"/>
          <ac:picMkLst>
            <pc:docMk/>
            <pc:sldMk cId="2111957083" sldId="2405"/>
            <ac:picMk id="30" creationId="{39260E92-FADF-4076-9052-5C1B0040ACAE}"/>
          </ac:picMkLst>
        </pc:picChg>
        <pc:cxnChg chg="add del mod">
          <ac:chgData name="Aurelien Domont" userId="6da7715ce44349b3" providerId="LiveId" clId="{30A766B1-982E-4295-BCAD-093FA0E8E566}" dt="2022-04-27T05:12:52.714" v="6584" actId="478"/>
          <ac:cxnSpMkLst>
            <pc:docMk/>
            <pc:sldMk cId="2111957083" sldId="2405"/>
            <ac:cxnSpMk id="19" creationId="{19DA62D3-92ED-4E24-A47E-4114E3BAC740}"/>
          </ac:cxnSpMkLst>
        </pc:cxnChg>
        <pc:cxnChg chg="add mod">
          <ac:chgData name="Aurelien Domont" userId="6da7715ce44349b3" providerId="LiveId" clId="{30A766B1-982E-4295-BCAD-093FA0E8E566}" dt="2022-05-25T05:53:46.747" v="7099" actId="1035"/>
          <ac:cxnSpMkLst>
            <pc:docMk/>
            <pc:sldMk cId="2111957083" sldId="2405"/>
            <ac:cxnSpMk id="29" creationId="{6F2BA6BB-1F7D-4C9C-AA14-97D7830489CA}"/>
          </ac:cxnSpMkLst>
        </pc:cxnChg>
        <pc:cxnChg chg="add del mod">
          <ac:chgData name="Aurelien Domont" userId="6da7715ce44349b3" providerId="LiveId" clId="{30A766B1-982E-4295-BCAD-093FA0E8E566}" dt="2022-04-21T06:35:33.228" v="1299" actId="478"/>
          <ac:cxnSpMkLst>
            <pc:docMk/>
            <pc:sldMk cId="2111957083" sldId="2405"/>
            <ac:cxnSpMk id="36" creationId="{1982C36E-6454-44DC-B942-F42E78BFC577}"/>
          </ac:cxnSpMkLst>
        </pc:cxnChg>
        <pc:cxnChg chg="add del mod">
          <ac:chgData name="Aurelien Domont" userId="6da7715ce44349b3" providerId="LiveId" clId="{30A766B1-982E-4295-BCAD-093FA0E8E566}" dt="2022-04-21T06:35:33.228" v="1299" actId="478"/>
          <ac:cxnSpMkLst>
            <pc:docMk/>
            <pc:sldMk cId="2111957083" sldId="2405"/>
            <ac:cxnSpMk id="38" creationId="{F00EC71A-299B-43BE-AE5C-74BE4D1C6074}"/>
          </ac:cxnSpMkLst>
        </pc:cxnChg>
        <pc:cxnChg chg="add del mod">
          <ac:chgData name="Aurelien Domont" userId="6da7715ce44349b3" providerId="LiveId" clId="{30A766B1-982E-4295-BCAD-093FA0E8E566}" dt="2022-04-27T05:14:15.775" v="6631" actId="478"/>
          <ac:cxnSpMkLst>
            <pc:docMk/>
            <pc:sldMk cId="2111957083" sldId="2405"/>
            <ac:cxnSpMk id="39" creationId="{8AC4FF28-6852-46EE-9BFB-82955A3C27DA}"/>
          </ac:cxnSpMkLst>
        </pc:cxnChg>
        <pc:cxnChg chg="add del mod">
          <ac:chgData name="Aurelien Domont" userId="6da7715ce44349b3" providerId="LiveId" clId="{30A766B1-982E-4295-BCAD-093FA0E8E566}" dt="2022-04-21T06:35:33.228" v="1299" actId="478"/>
          <ac:cxnSpMkLst>
            <pc:docMk/>
            <pc:sldMk cId="2111957083" sldId="2405"/>
            <ac:cxnSpMk id="39" creationId="{B6269F04-60C2-4A71-8533-FBDB0B74703C}"/>
          </ac:cxnSpMkLst>
        </pc:cxnChg>
        <pc:cxnChg chg="add del mod">
          <ac:chgData name="Aurelien Domont" userId="6da7715ce44349b3" providerId="LiveId" clId="{30A766B1-982E-4295-BCAD-093FA0E8E566}" dt="2022-04-21T06:35:33.228" v="1299" actId="478"/>
          <ac:cxnSpMkLst>
            <pc:docMk/>
            <pc:sldMk cId="2111957083" sldId="2405"/>
            <ac:cxnSpMk id="40" creationId="{0C5F3B54-4DB9-42D6-AB59-2E61A69DA188}"/>
          </ac:cxnSpMkLst>
        </pc:cxnChg>
        <pc:cxnChg chg="add mod">
          <ac:chgData name="Aurelien Domont" userId="6da7715ce44349b3" providerId="LiveId" clId="{30A766B1-982E-4295-BCAD-093FA0E8E566}" dt="2022-05-25T05:53:46.747" v="7099" actId="1035"/>
          <ac:cxnSpMkLst>
            <pc:docMk/>
            <pc:sldMk cId="2111957083" sldId="2405"/>
            <ac:cxnSpMk id="40" creationId="{7DC435C7-72F7-4452-A605-1CC928EB7321}"/>
          </ac:cxnSpMkLst>
        </pc:cxnChg>
        <pc:cxnChg chg="add del mod">
          <ac:chgData name="Aurelien Domont" userId="6da7715ce44349b3" providerId="LiveId" clId="{30A766B1-982E-4295-BCAD-093FA0E8E566}" dt="2022-04-21T06:35:33.228" v="1299" actId="478"/>
          <ac:cxnSpMkLst>
            <pc:docMk/>
            <pc:sldMk cId="2111957083" sldId="2405"/>
            <ac:cxnSpMk id="41" creationId="{27E78214-7FF3-4EE5-B6F8-23816B6EB09E}"/>
          </ac:cxnSpMkLst>
        </pc:cxnChg>
        <pc:cxnChg chg="add mod">
          <ac:chgData name="Aurelien Domont" userId="6da7715ce44349b3" providerId="LiveId" clId="{30A766B1-982E-4295-BCAD-093FA0E8E566}" dt="2022-05-25T05:53:46.747" v="7099" actId="1035"/>
          <ac:cxnSpMkLst>
            <pc:docMk/>
            <pc:sldMk cId="2111957083" sldId="2405"/>
            <ac:cxnSpMk id="42" creationId="{CBF05F7B-24D5-4569-B49B-093167EF08C2}"/>
          </ac:cxnSpMkLst>
        </pc:cxnChg>
        <pc:cxnChg chg="add del mod topLvl">
          <ac:chgData name="Aurelien Domont" userId="6da7715ce44349b3" providerId="LiveId" clId="{30A766B1-982E-4295-BCAD-093FA0E8E566}" dt="2022-04-27T05:12:34.690" v="6558" actId="478"/>
          <ac:cxnSpMkLst>
            <pc:docMk/>
            <pc:sldMk cId="2111957083" sldId="2405"/>
            <ac:cxnSpMk id="43" creationId="{31B5725B-0388-47A1-85B2-5668AD09E45F}"/>
          </ac:cxnSpMkLst>
        </pc:cxnChg>
        <pc:cxnChg chg="add mod">
          <ac:chgData name="Aurelien Domont" userId="6da7715ce44349b3" providerId="LiveId" clId="{30A766B1-982E-4295-BCAD-093FA0E8E566}" dt="2022-05-25T05:53:46.747" v="7099" actId="1035"/>
          <ac:cxnSpMkLst>
            <pc:docMk/>
            <pc:sldMk cId="2111957083" sldId="2405"/>
            <ac:cxnSpMk id="45" creationId="{E5E863B6-378E-4293-BD82-9F8BFAE1DCD7}"/>
          </ac:cxnSpMkLst>
        </pc:cxnChg>
      </pc:sldChg>
      <pc:sldChg chg="modSp add del mod">
        <pc:chgData name="Aurelien Domont" userId="6da7715ce44349b3" providerId="LiveId" clId="{30A766B1-982E-4295-BCAD-093FA0E8E566}" dt="2022-05-25T06:50:44.063" v="7456" actId="47"/>
        <pc:sldMkLst>
          <pc:docMk/>
          <pc:sldMk cId="1581693874" sldId="2406"/>
        </pc:sldMkLst>
        <pc:spChg chg="mod">
          <ac:chgData name="Aurelien Domont" userId="6da7715ce44349b3" providerId="LiveId" clId="{30A766B1-982E-4295-BCAD-093FA0E8E566}" dt="2022-04-22T00:43:28.461" v="1753" actId="207"/>
          <ac:spMkLst>
            <pc:docMk/>
            <pc:sldMk cId="1581693874" sldId="2406"/>
            <ac:spMk id="10" creationId="{52524284-CA7D-416E-ADDB-CAB7040B62C4}"/>
          </ac:spMkLst>
        </pc:spChg>
        <pc:spChg chg="mod">
          <ac:chgData name="Aurelien Domont" userId="6da7715ce44349b3" providerId="LiveId" clId="{30A766B1-982E-4295-BCAD-093FA0E8E566}" dt="2022-04-22T00:43:28.461" v="1753" actId="207"/>
          <ac:spMkLst>
            <pc:docMk/>
            <pc:sldMk cId="1581693874" sldId="2406"/>
            <ac:spMk id="11" creationId="{DCA1B29F-4AB2-4DAE-B498-BC74026B1DDA}"/>
          </ac:spMkLst>
        </pc:spChg>
        <pc:spChg chg="mod">
          <ac:chgData name="Aurelien Domont" userId="6da7715ce44349b3" providerId="LiveId" clId="{30A766B1-982E-4295-BCAD-093FA0E8E566}" dt="2022-04-22T00:43:28.461" v="1753" actId="207"/>
          <ac:spMkLst>
            <pc:docMk/>
            <pc:sldMk cId="1581693874" sldId="2406"/>
            <ac:spMk id="12" creationId="{B9BBA604-AEF4-4807-AD42-75399F0043F4}"/>
          </ac:spMkLst>
        </pc:spChg>
        <pc:spChg chg="mod">
          <ac:chgData name="Aurelien Domont" userId="6da7715ce44349b3" providerId="LiveId" clId="{30A766B1-982E-4295-BCAD-093FA0E8E566}" dt="2022-04-22T00:38:42.914" v="1582" actId="20577"/>
          <ac:spMkLst>
            <pc:docMk/>
            <pc:sldMk cId="1581693874" sldId="2406"/>
            <ac:spMk id="16" creationId="{6C2BB713-9637-4B9B-938F-E9768876782A}"/>
          </ac:spMkLst>
        </pc:spChg>
        <pc:spChg chg="mod">
          <ac:chgData name="Aurelien Domont" userId="6da7715ce44349b3" providerId="LiveId" clId="{30A766B1-982E-4295-BCAD-093FA0E8E566}" dt="2022-04-22T00:43:28.461" v="1753" actId="207"/>
          <ac:spMkLst>
            <pc:docMk/>
            <pc:sldMk cId="1581693874" sldId="2406"/>
            <ac:spMk id="22" creationId="{8664D20B-2002-4C9F-A94C-AB6D33819DF8}"/>
          </ac:spMkLst>
        </pc:spChg>
        <pc:spChg chg="mod">
          <ac:chgData name="Aurelien Domont" userId="6da7715ce44349b3" providerId="LiveId" clId="{30A766B1-982E-4295-BCAD-093FA0E8E566}" dt="2022-04-22T00:43:35.586" v="1754" actId="207"/>
          <ac:spMkLst>
            <pc:docMk/>
            <pc:sldMk cId="1581693874" sldId="2406"/>
            <ac:spMk id="32" creationId="{3BEF6079-F38C-4B82-B044-53A13155F334}"/>
          </ac:spMkLst>
        </pc:spChg>
        <pc:spChg chg="mod">
          <ac:chgData name="Aurelien Domont" userId="6da7715ce44349b3" providerId="LiveId" clId="{30A766B1-982E-4295-BCAD-093FA0E8E566}" dt="2022-04-22T00:43:35.586" v="1754" actId="207"/>
          <ac:spMkLst>
            <pc:docMk/>
            <pc:sldMk cId="1581693874" sldId="2406"/>
            <ac:spMk id="33" creationId="{8260BE05-FEA7-4631-88CD-752AC5C966BA}"/>
          </ac:spMkLst>
        </pc:spChg>
        <pc:spChg chg="mod">
          <ac:chgData name="Aurelien Domont" userId="6da7715ce44349b3" providerId="LiveId" clId="{30A766B1-982E-4295-BCAD-093FA0E8E566}" dt="2022-04-22T00:43:35.586" v="1754" actId="207"/>
          <ac:spMkLst>
            <pc:docMk/>
            <pc:sldMk cId="1581693874" sldId="2406"/>
            <ac:spMk id="34" creationId="{473B4042-51F1-41BD-8EDF-E03E66716A5A}"/>
          </ac:spMkLst>
        </pc:spChg>
        <pc:spChg chg="mod">
          <ac:chgData name="Aurelien Domont" userId="6da7715ce44349b3" providerId="LiveId" clId="{30A766B1-982E-4295-BCAD-093FA0E8E566}" dt="2022-04-22T00:43:35.586" v="1754" actId="207"/>
          <ac:spMkLst>
            <pc:docMk/>
            <pc:sldMk cId="1581693874" sldId="2406"/>
            <ac:spMk id="35" creationId="{64C38490-8643-4DBA-8D8B-54C587ECA10D}"/>
          </ac:spMkLst>
        </pc:spChg>
        <pc:spChg chg="mod">
          <ac:chgData name="Aurelien Domont" userId="6da7715ce44349b3" providerId="LiveId" clId="{30A766B1-982E-4295-BCAD-093FA0E8E566}" dt="2022-04-22T02:40:16.728" v="3047"/>
          <ac:spMkLst>
            <pc:docMk/>
            <pc:sldMk cId="1581693874" sldId="2406"/>
            <ac:spMk id="36" creationId="{DD21B6DB-4893-4F57-917C-1828BD8F7DFD}"/>
          </ac:spMkLst>
        </pc:spChg>
      </pc:sldChg>
      <pc:sldChg chg="addSp delSp modSp add del mod">
        <pc:chgData name="Aurelien Domont" userId="6da7715ce44349b3" providerId="LiveId" clId="{30A766B1-982E-4295-BCAD-093FA0E8E566}" dt="2022-04-21T06:37:20.817" v="1304" actId="47"/>
        <pc:sldMkLst>
          <pc:docMk/>
          <pc:sldMk cId="2616423320" sldId="2406"/>
        </pc:sldMkLst>
        <pc:spChg chg="add mod">
          <ac:chgData name="Aurelien Domont" userId="6da7715ce44349b3" providerId="LiveId" clId="{30A766B1-982E-4295-BCAD-093FA0E8E566}" dt="2022-04-21T06:09:55.410" v="867" actId="1036"/>
          <ac:spMkLst>
            <pc:docMk/>
            <pc:sldMk cId="2616423320" sldId="2406"/>
            <ac:spMk id="2" creationId="{25F94F52-A57A-49EC-A7EC-0B0E431C3659}"/>
          </ac:spMkLst>
        </pc:spChg>
        <pc:spChg chg="add mod">
          <ac:chgData name="Aurelien Domont" userId="6da7715ce44349b3" providerId="LiveId" clId="{30A766B1-982E-4295-BCAD-093FA0E8E566}" dt="2022-04-21T06:10:56.648" v="870" actId="20577"/>
          <ac:spMkLst>
            <pc:docMk/>
            <pc:sldMk cId="2616423320" sldId="2406"/>
            <ac:spMk id="4" creationId="{5820F0BC-A94F-4A22-996A-799369119534}"/>
          </ac:spMkLst>
        </pc:spChg>
        <pc:spChg chg="mod">
          <ac:chgData name="Aurelien Domont" userId="6da7715ce44349b3" providerId="LiveId" clId="{30A766B1-982E-4295-BCAD-093FA0E8E566}" dt="2022-04-21T05:45:25.249" v="633" actId="207"/>
          <ac:spMkLst>
            <pc:docMk/>
            <pc:sldMk cId="2616423320" sldId="2406"/>
            <ac:spMk id="10" creationId="{52524284-CA7D-416E-ADDB-CAB7040B62C4}"/>
          </ac:spMkLst>
        </pc:spChg>
        <pc:spChg chg="mod">
          <ac:chgData name="Aurelien Domont" userId="6da7715ce44349b3" providerId="LiveId" clId="{30A766B1-982E-4295-BCAD-093FA0E8E566}" dt="2022-04-21T05:45:25.249" v="633" actId="207"/>
          <ac:spMkLst>
            <pc:docMk/>
            <pc:sldMk cId="2616423320" sldId="2406"/>
            <ac:spMk id="11" creationId="{DCA1B29F-4AB2-4DAE-B498-BC74026B1DDA}"/>
          </ac:spMkLst>
        </pc:spChg>
        <pc:spChg chg="mod">
          <ac:chgData name="Aurelien Domont" userId="6da7715ce44349b3" providerId="LiveId" clId="{30A766B1-982E-4295-BCAD-093FA0E8E566}" dt="2022-04-21T05:45:25.249" v="633" actId="207"/>
          <ac:spMkLst>
            <pc:docMk/>
            <pc:sldMk cId="2616423320" sldId="2406"/>
            <ac:spMk id="12" creationId="{B9BBA604-AEF4-4807-AD42-75399F0043F4}"/>
          </ac:spMkLst>
        </pc:spChg>
        <pc:spChg chg="mod">
          <ac:chgData name="Aurelien Domont" userId="6da7715ce44349b3" providerId="LiveId" clId="{30A766B1-982E-4295-BCAD-093FA0E8E566}" dt="2022-04-21T05:44:29.190" v="626" actId="20577"/>
          <ac:spMkLst>
            <pc:docMk/>
            <pc:sldMk cId="2616423320" sldId="2406"/>
            <ac:spMk id="16" creationId="{6C2BB713-9637-4B9B-938F-E9768876782A}"/>
          </ac:spMkLst>
        </pc:spChg>
        <pc:spChg chg="mod">
          <ac:chgData name="Aurelien Domont" userId="6da7715ce44349b3" providerId="LiveId" clId="{30A766B1-982E-4295-BCAD-093FA0E8E566}" dt="2022-04-21T05:45:25.249" v="633" actId="207"/>
          <ac:spMkLst>
            <pc:docMk/>
            <pc:sldMk cId="2616423320" sldId="2406"/>
            <ac:spMk id="22" creationId="{8664D20B-2002-4C9F-A94C-AB6D33819DF8}"/>
          </ac:spMkLst>
        </pc:spChg>
        <pc:picChg chg="mod">
          <ac:chgData name="Aurelien Domont" userId="6da7715ce44349b3" providerId="LiveId" clId="{30A766B1-982E-4295-BCAD-093FA0E8E566}" dt="2022-04-21T05:45:21.150" v="632" actId="207"/>
          <ac:picMkLst>
            <pc:docMk/>
            <pc:sldMk cId="2616423320" sldId="2406"/>
            <ac:picMk id="5" creationId="{B591932E-445E-4FC6-BA49-B391B8DCAC7A}"/>
          </ac:picMkLst>
        </pc:picChg>
        <pc:picChg chg="mod">
          <ac:chgData name="Aurelien Domont" userId="6da7715ce44349b3" providerId="LiveId" clId="{30A766B1-982E-4295-BCAD-093FA0E8E566}" dt="2022-04-21T05:45:12.518" v="630" actId="207"/>
          <ac:picMkLst>
            <pc:docMk/>
            <pc:sldMk cId="2616423320" sldId="2406"/>
            <ac:picMk id="7" creationId="{F8BDF65F-C179-4D90-9DAF-9A04B8C11C0C}"/>
          </ac:picMkLst>
        </pc:picChg>
        <pc:picChg chg="add mod">
          <ac:chgData name="Aurelien Domont" userId="6da7715ce44349b3" providerId="LiveId" clId="{30A766B1-982E-4295-BCAD-093FA0E8E566}" dt="2022-04-21T06:23:31.435" v="877" actId="1076"/>
          <ac:picMkLst>
            <pc:docMk/>
            <pc:sldMk cId="2616423320" sldId="2406"/>
            <ac:picMk id="8" creationId="{D1026930-C616-40E4-B3D2-FA77061EDB46}"/>
          </ac:picMkLst>
        </pc:picChg>
        <pc:picChg chg="mod">
          <ac:chgData name="Aurelien Domont" userId="6da7715ce44349b3" providerId="LiveId" clId="{30A766B1-982E-4295-BCAD-093FA0E8E566}" dt="2022-04-21T05:45:12.518" v="630" actId="207"/>
          <ac:picMkLst>
            <pc:docMk/>
            <pc:sldMk cId="2616423320" sldId="2406"/>
            <ac:picMk id="24" creationId="{D2DB75A5-E17D-431C-A54A-40A06ADDBEF3}"/>
          </ac:picMkLst>
        </pc:picChg>
        <pc:picChg chg="mod">
          <ac:chgData name="Aurelien Domont" userId="6da7715ce44349b3" providerId="LiveId" clId="{30A766B1-982E-4295-BCAD-093FA0E8E566}" dt="2022-04-21T05:45:12.518" v="630" actId="207"/>
          <ac:picMkLst>
            <pc:docMk/>
            <pc:sldMk cId="2616423320" sldId="2406"/>
            <ac:picMk id="25" creationId="{86024EC3-117C-470E-8D6A-4C9B8B7C4E90}"/>
          </ac:picMkLst>
        </pc:picChg>
        <pc:picChg chg="del">
          <ac:chgData name="Aurelien Domont" userId="6da7715ce44349b3" providerId="LiveId" clId="{30A766B1-982E-4295-BCAD-093FA0E8E566}" dt="2022-04-21T06:23:08.926" v="872" actId="478"/>
          <ac:picMkLst>
            <pc:docMk/>
            <pc:sldMk cId="2616423320" sldId="2406"/>
            <ac:picMk id="29" creationId="{C088D4F7-5F4C-4027-878A-8E59A640B776}"/>
          </ac:picMkLst>
        </pc:picChg>
      </pc:sldChg>
      <pc:sldChg chg="add del">
        <pc:chgData name="Aurelien Domont" userId="6da7715ce44349b3" providerId="LiveId" clId="{30A766B1-982E-4295-BCAD-093FA0E8E566}" dt="2022-04-22T00:30:29.069" v="1519" actId="47"/>
        <pc:sldMkLst>
          <pc:docMk/>
          <pc:sldMk cId="3047501281" sldId="2406"/>
        </pc:sldMkLst>
      </pc:sldChg>
      <pc:sldChg chg="delSp modSp add del mod">
        <pc:chgData name="Aurelien Domont" userId="6da7715ce44349b3" providerId="LiveId" clId="{30A766B1-982E-4295-BCAD-093FA0E8E566}" dt="2022-04-21T06:37:20.817" v="1304" actId="47"/>
        <pc:sldMkLst>
          <pc:docMk/>
          <pc:sldMk cId="2221042118" sldId="2407"/>
        </pc:sldMkLst>
        <pc:spChg chg="mod">
          <ac:chgData name="Aurelien Domont" userId="6da7715ce44349b3" providerId="LiveId" clId="{30A766B1-982E-4295-BCAD-093FA0E8E566}" dt="2022-04-21T06:09:59.537" v="869" actId="1036"/>
          <ac:spMkLst>
            <pc:docMk/>
            <pc:sldMk cId="2221042118" sldId="2407"/>
            <ac:spMk id="2" creationId="{25F94F52-A57A-49EC-A7EC-0B0E431C3659}"/>
          </ac:spMkLst>
        </pc:spChg>
        <pc:spChg chg="mod">
          <ac:chgData name="Aurelien Domont" userId="6da7715ce44349b3" providerId="LiveId" clId="{30A766B1-982E-4295-BCAD-093FA0E8E566}" dt="2022-04-21T06:09:20.503" v="812" actId="113"/>
          <ac:spMkLst>
            <pc:docMk/>
            <pc:sldMk cId="2221042118" sldId="2407"/>
            <ac:spMk id="4" creationId="{5820F0BC-A94F-4A22-996A-799369119534}"/>
          </ac:spMkLst>
        </pc:spChg>
        <pc:spChg chg="mod">
          <ac:chgData name="Aurelien Domont" userId="6da7715ce44349b3" providerId="LiveId" clId="{30A766B1-982E-4295-BCAD-093FA0E8E566}" dt="2022-04-21T06:09:42.655" v="861" actId="207"/>
          <ac:spMkLst>
            <pc:docMk/>
            <pc:sldMk cId="2221042118" sldId="2407"/>
            <ac:spMk id="9" creationId="{0F4B39A0-2803-47D9-93AE-F99798C91F06}"/>
          </ac:spMkLst>
        </pc:spChg>
        <pc:spChg chg="mod">
          <ac:chgData name="Aurelien Domont" userId="6da7715ce44349b3" providerId="LiveId" clId="{30A766B1-982E-4295-BCAD-093FA0E8E566}" dt="2022-04-21T06:09:45.477" v="862" actId="207"/>
          <ac:spMkLst>
            <pc:docMk/>
            <pc:sldMk cId="2221042118" sldId="2407"/>
            <ac:spMk id="12" creationId="{B9BBA604-AEF4-4807-AD42-75399F0043F4}"/>
          </ac:spMkLst>
        </pc:spChg>
        <pc:spChg chg="mod">
          <ac:chgData name="Aurelien Domont" userId="6da7715ce44349b3" providerId="LiveId" clId="{30A766B1-982E-4295-BCAD-093FA0E8E566}" dt="2022-04-21T06:09:11.582" v="810" actId="20577"/>
          <ac:spMkLst>
            <pc:docMk/>
            <pc:sldMk cId="2221042118" sldId="2407"/>
            <ac:spMk id="16" creationId="{6C2BB713-9637-4B9B-938F-E9768876782A}"/>
          </ac:spMkLst>
        </pc:spChg>
        <pc:picChg chg="del">
          <ac:chgData name="Aurelien Domont" userId="6da7715ce44349b3" providerId="LiveId" clId="{30A766B1-982E-4295-BCAD-093FA0E8E566}" dt="2022-04-21T06:23:05.976" v="871" actId="478"/>
          <ac:picMkLst>
            <pc:docMk/>
            <pc:sldMk cId="2221042118" sldId="2407"/>
            <ac:picMk id="29" creationId="{C088D4F7-5F4C-4027-878A-8E59A640B776}"/>
          </ac:picMkLst>
        </pc:picChg>
      </pc:sldChg>
      <pc:sldChg chg="add del">
        <pc:chgData name="Aurelien Domont" userId="6da7715ce44349b3" providerId="LiveId" clId="{30A766B1-982E-4295-BCAD-093FA0E8E566}" dt="2022-04-22T00:30:27.631" v="1518" actId="47"/>
        <pc:sldMkLst>
          <pc:docMk/>
          <pc:sldMk cId="3230174819" sldId="2407"/>
        </pc:sldMkLst>
      </pc:sldChg>
      <pc:sldChg chg="addSp delSp modSp add del mod ord">
        <pc:chgData name="Aurelien Domont" userId="6da7715ce44349b3" providerId="LiveId" clId="{30A766B1-982E-4295-BCAD-093FA0E8E566}" dt="2023-01-19T00:45:47.903" v="15643"/>
        <pc:sldMkLst>
          <pc:docMk/>
          <pc:sldMk cId="3439488634" sldId="2407"/>
        </pc:sldMkLst>
        <pc:spChg chg="mod">
          <ac:chgData name="Aurelien Domont" userId="6da7715ce44349b3" providerId="LiveId" clId="{30A766B1-982E-4295-BCAD-093FA0E8E566}" dt="2023-01-18T05:33:07.832" v="14918"/>
          <ac:spMkLst>
            <pc:docMk/>
            <pc:sldMk cId="3439488634" sldId="2407"/>
            <ac:spMk id="3" creationId="{CE2529A3-BA97-486F-9E02-8DFAAA7D8D38}"/>
          </ac:spMkLst>
        </pc:spChg>
        <pc:spChg chg="add mod">
          <ac:chgData name="Aurelien Domont" userId="6da7715ce44349b3" providerId="LiveId" clId="{30A766B1-982E-4295-BCAD-093FA0E8E566}" dt="2022-05-25T07:07:34.610" v="7921" actId="20577"/>
          <ac:spMkLst>
            <pc:docMk/>
            <pc:sldMk cId="3439488634" sldId="2407"/>
            <ac:spMk id="6" creationId="{925DDD0A-01CE-7FB4-14EA-5618B9C4E995}"/>
          </ac:spMkLst>
        </pc:spChg>
        <pc:spChg chg="del">
          <ac:chgData name="Aurelien Domont" userId="6da7715ce44349b3" providerId="LiveId" clId="{30A766B1-982E-4295-BCAD-093FA0E8E566}" dt="2022-04-22T00:39:14.165" v="1584" actId="478"/>
          <ac:spMkLst>
            <pc:docMk/>
            <pc:sldMk cId="3439488634" sldId="2407"/>
            <ac:spMk id="9" creationId="{0F4B39A0-2803-47D9-93AE-F99798C91F06}"/>
          </ac:spMkLst>
        </pc:spChg>
        <pc:spChg chg="del">
          <ac:chgData name="Aurelien Domont" userId="6da7715ce44349b3" providerId="LiveId" clId="{30A766B1-982E-4295-BCAD-093FA0E8E566}" dt="2022-04-22T00:39:14.165" v="1584" actId="478"/>
          <ac:spMkLst>
            <pc:docMk/>
            <pc:sldMk cId="3439488634" sldId="2407"/>
            <ac:spMk id="10" creationId="{52524284-CA7D-416E-ADDB-CAB7040B62C4}"/>
          </ac:spMkLst>
        </pc:spChg>
        <pc:spChg chg="del">
          <ac:chgData name="Aurelien Domont" userId="6da7715ce44349b3" providerId="LiveId" clId="{30A766B1-982E-4295-BCAD-093FA0E8E566}" dt="2022-04-22T00:39:14.165" v="1584" actId="478"/>
          <ac:spMkLst>
            <pc:docMk/>
            <pc:sldMk cId="3439488634" sldId="2407"/>
            <ac:spMk id="11" creationId="{DCA1B29F-4AB2-4DAE-B498-BC74026B1DDA}"/>
          </ac:spMkLst>
        </pc:spChg>
        <pc:spChg chg="del">
          <ac:chgData name="Aurelien Domont" userId="6da7715ce44349b3" providerId="LiveId" clId="{30A766B1-982E-4295-BCAD-093FA0E8E566}" dt="2022-04-22T00:39:14.165" v="1584" actId="478"/>
          <ac:spMkLst>
            <pc:docMk/>
            <pc:sldMk cId="3439488634" sldId="2407"/>
            <ac:spMk id="12" creationId="{B9BBA604-AEF4-4807-AD42-75399F0043F4}"/>
          </ac:spMkLst>
        </pc:spChg>
        <pc:spChg chg="mod">
          <ac:chgData name="Aurelien Domont" userId="6da7715ce44349b3" providerId="LiveId" clId="{30A766B1-982E-4295-BCAD-093FA0E8E566}" dt="2023-01-18T05:33:07.832" v="14918"/>
          <ac:spMkLst>
            <pc:docMk/>
            <pc:sldMk cId="3439488634" sldId="2407"/>
            <ac:spMk id="16" creationId="{6C2BB713-9637-4B9B-938F-E9768876782A}"/>
          </ac:spMkLst>
        </pc:spChg>
        <pc:spChg chg="del">
          <ac:chgData name="Aurelien Domont" userId="6da7715ce44349b3" providerId="LiveId" clId="{30A766B1-982E-4295-BCAD-093FA0E8E566}" dt="2022-04-22T00:39:14.165" v="1584" actId="478"/>
          <ac:spMkLst>
            <pc:docMk/>
            <pc:sldMk cId="3439488634" sldId="2407"/>
            <ac:spMk id="22" creationId="{8664D20B-2002-4C9F-A94C-AB6D33819DF8}"/>
          </ac:spMkLst>
        </pc:spChg>
        <pc:spChg chg="del">
          <ac:chgData name="Aurelien Domont" userId="6da7715ce44349b3" providerId="LiveId" clId="{30A766B1-982E-4295-BCAD-093FA0E8E566}" dt="2022-04-22T00:39:14.165" v="1584" actId="478"/>
          <ac:spMkLst>
            <pc:docMk/>
            <pc:sldMk cId="3439488634" sldId="2407"/>
            <ac:spMk id="27" creationId="{54BC1734-C961-49B3-BBCE-81BBEF3EFD1B}"/>
          </ac:spMkLst>
        </pc:spChg>
        <pc:spChg chg="del">
          <ac:chgData name="Aurelien Domont" userId="6da7715ce44349b3" providerId="LiveId" clId="{30A766B1-982E-4295-BCAD-093FA0E8E566}" dt="2022-04-22T00:39:14.165" v="1584" actId="478"/>
          <ac:spMkLst>
            <pc:docMk/>
            <pc:sldMk cId="3439488634" sldId="2407"/>
            <ac:spMk id="28" creationId="{4A40CCF3-55AD-4BA5-B3E8-AE7B563E3E35}"/>
          </ac:spMkLst>
        </pc:spChg>
        <pc:spChg chg="del">
          <ac:chgData name="Aurelien Domont" userId="6da7715ce44349b3" providerId="LiveId" clId="{30A766B1-982E-4295-BCAD-093FA0E8E566}" dt="2022-04-22T00:39:14.165" v="1584" actId="478"/>
          <ac:spMkLst>
            <pc:docMk/>
            <pc:sldMk cId="3439488634" sldId="2407"/>
            <ac:spMk id="31" creationId="{1C1B78F5-CE09-4A06-8F1D-30227B5D6E15}"/>
          </ac:spMkLst>
        </pc:spChg>
        <pc:spChg chg="del">
          <ac:chgData name="Aurelien Domont" userId="6da7715ce44349b3" providerId="LiveId" clId="{30A766B1-982E-4295-BCAD-093FA0E8E566}" dt="2022-04-22T00:39:14.165" v="1584" actId="478"/>
          <ac:spMkLst>
            <pc:docMk/>
            <pc:sldMk cId="3439488634" sldId="2407"/>
            <ac:spMk id="32" creationId="{3BEF6079-F38C-4B82-B044-53A13155F334}"/>
          </ac:spMkLst>
        </pc:spChg>
        <pc:spChg chg="del">
          <ac:chgData name="Aurelien Domont" userId="6da7715ce44349b3" providerId="LiveId" clId="{30A766B1-982E-4295-BCAD-093FA0E8E566}" dt="2022-04-22T00:39:14.165" v="1584" actId="478"/>
          <ac:spMkLst>
            <pc:docMk/>
            <pc:sldMk cId="3439488634" sldId="2407"/>
            <ac:spMk id="33" creationId="{8260BE05-FEA7-4631-88CD-752AC5C966BA}"/>
          </ac:spMkLst>
        </pc:spChg>
        <pc:spChg chg="del">
          <ac:chgData name="Aurelien Domont" userId="6da7715ce44349b3" providerId="LiveId" clId="{30A766B1-982E-4295-BCAD-093FA0E8E566}" dt="2022-04-22T00:39:14.165" v="1584" actId="478"/>
          <ac:spMkLst>
            <pc:docMk/>
            <pc:sldMk cId="3439488634" sldId="2407"/>
            <ac:spMk id="34" creationId="{473B4042-51F1-41BD-8EDF-E03E66716A5A}"/>
          </ac:spMkLst>
        </pc:spChg>
        <pc:spChg chg="del">
          <ac:chgData name="Aurelien Domont" userId="6da7715ce44349b3" providerId="LiveId" clId="{30A766B1-982E-4295-BCAD-093FA0E8E566}" dt="2022-04-22T00:39:14.165" v="1584" actId="478"/>
          <ac:spMkLst>
            <pc:docMk/>
            <pc:sldMk cId="3439488634" sldId="2407"/>
            <ac:spMk id="35" creationId="{64C38490-8643-4DBA-8D8B-54C587ECA10D}"/>
          </ac:spMkLst>
        </pc:spChg>
        <pc:spChg chg="del">
          <ac:chgData name="Aurelien Domont" userId="6da7715ce44349b3" providerId="LiveId" clId="{30A766B1-982E-4295-BCAD-093FA0E8E566}" dt="2022-04-22T00:39:14.165" v="1584" actId="478"/>
          <ac:spMkLst>
            <pc:docMk/>
            <pc:sldMk cId="3439488634" sldId="2407"/>
            <ac:spMk id="36" creationId="{DD21B6DB-4893-4F57-917C-1828BD8F7DFD}"/>
          </ac:spMkLst>
        </pc:spChg>
        <pc:graphicFrameChg chg="add del mod">
          <ac:chgData name="Aurelien Domont" userId="6da7715ce44349b3" providerId="LiveId" clId="{30A766B1-982E-4295-BCAD-093FA0E8E566}" dt="2022-04-22T00:40:29.891" v="1704"/>
          <ac:graphicFrameMkLst>
            <pc:docMk/>
            <pc:sldMk cId="3439488634" sldId="2407"/>
            <ac:graphicFrameMk id="26" creationId="{3C37BF15-5F15-4D6A-9134-A7E5C4017253}"/>
          </ac:graphicFrameMkLst>
        </pc:graphicFrameChg>
        <pc:graphicFrameChg chg="add del mod">
          <ac:chgData name="Aurelien Domont" userId="6da7715ce44349b3" providerId="LiveId" clId="{30A766B1-982E-4295-BCAD-093FA0E8E566}" dt="2022-04-22T00:40:31.563" v="1706"/>
          <ac:graphicFrameMkLst>
            <pc:docMk/>
            <pc:sldMk cId="3439488634" sldId="2407"/>
            <ac:graphicFrameMk id="29" creationId="{F23FCFF1-179C-4823-8D8D-99317C4F9139}"/>
          </ac:graphicFrameMkLst>
        </pc:graphicFrameChg>
        <pc:graphicFrameChg chg="add del mod modGraphic">
          <ac:chgData name="Aurelien Domont" userId="6da7715ce44349b3" providerId="LiveId" clId="{30A766B1-982E-4295-BCAD-093FA0E8E566}" dt="2022-04-22T00:41:40.667" v="1717" actId="478"/>
          <ac:graphicFrameMkLst>
            <pc:docMk/>
            <pc:sldMk cId="3439488634" sldId="2407"/>
            <ac:graphicFrameMk id="37" creationId="{88178F10-84AA-4CB9-99AE-9C0CE40CDC80}"/>
          </ac:graphicFrameMkLst>
        </pc:graphicFrameChg>
        <pc:graphicFrameChg chg="add del mod">
          <ac:chgData name="Aurelien Domont" userId="6da7715ce44349b3" providerId="LiveId" clId="{30A766B1-982E-4295-BCAD-093FA0E8E566}" dt="2022-04-22T00:41:43.760" v="1719"/>
          <ac:graphicFrameMkLst>
            <pc:docMk/>
            <pc:sldMk cId="3439488634" sldId="2407"/>
            <ac:graphicFrameMk id="38" creationId="{DBA4AC0C-4219-4BB0-9B27-D6818C366058}"/>
          </ac:graphicFrameMkLst>
        </pc:graphicFrameChg>
        <pc:graphicFrameChg chg="add del mod modGraphic">
          <ac:chgData name="Aurelien Domont" userId="6da7715ce44349b3" providerId="LiveId" clId="{30A766B1-982E-4295-BCAD-093FA0E8E566}" dt="2022-05-25T06:51:03.170" v="7479" actId="478"/>
          <ac:graphicFrameMkLst>
            <pc:docMk/>
            <pc:sldMk cId="3439488634" sldId="2407"/>
            <ac:graphicFrameMk id="39" creationId="{638D8B26-67E0-4E82-B540-98B843EF1F95}"/>
          </ac:graphicFrameMkLst>
        </pc:graphicFrameChg>
        <pc:picChg chg="del">
          <ac:chgData name="Aurelien Domont" userId="6da7715ce44349b3" providerId="LiveId" clId="{30A766B1-982E-4295-BCAD-093FA0E8E566}" dt="2022-04-22T00:39:14.165" v="1584" actId="478"/>
          <ac:picMkLst>
            <pc:docMk/>
            <pc:sldMk cId="3439488634" sldId="2407"/>
            <ac:picMk id="5" creationId="{B591932E-445E-4FC6-BA49-B391B8DCAC7A}"/>
          </ac:picMkLst>
        </pc:picChg>
        <pc:picChg chg="del">
          <ac:chgData name="Aurelien Domont" userId="6da7715ce44349b3" providerId="LiveId" clId="{30A766B1-982E-4295-BCAD-093FA0E8E566}" dt="2022-04-22T00:39:14.165" v="1584" actId="478"/>
          <ac:picMkLst>
            <pc:docMk/>
            <pc:sldMk cId="3439488634" sldId="2407"/>
            <ac:picMk id="7" creationId="{F8BDF65F-C179-4D90-9DAF-9A04B8C11C0C}"/>
          </ac:picMkLst>
        </pc:picChg>
        <pc:picChg chg="del">
          <ac:chgData name="Aurelien Domont" userId="6da7715ce44349b3" providerId="LiveId" clId="{30A766B1-982E-4295-BCAD-093FA0E8E566}" dt="2022-04-22T00:39:14.165" v="1584" actId="478"/>
          <ac:picMkLst>
            <pc:docMk/>
            <pc:sldMk cId="3439488634" sldId="2407"/>
            <ac:picMk id="24" creationId="{D2DB75A5-E17D-431C-A54A-40A06ADDBEF3}"/>
          </ac:picMkLst>
        </pc:picChg>
        <pc:picChg chg="del">
          <ac:chgData name="Aurelien Domont" userId="6da7715ce44349b3" providerId="LiveId" clId="{30A766B1-982E-4295-BCAD-093FA0E8E566}" dt="2022-04-22T00:39:14.165" v="1584" actId="478"/>
          <ac:picMkLst>
            <pc:docMk/>
            <pc:sldMk cId="3439488634" sldId="2407"/>
            <ac:picMk id="25" creationId="{86024EC3-117C-470E-8D6A-4C9B8B7C4E90}"/>
          </ac:picMkLst>
        </pc:picChg>
        <pc:picChg chg="del">
          <ac:chgData name="Aurelien Domont" userId="6da7715ce44349b3" providerId="LiveId" clId="{30A766B1-982E-4295-BCAD-093FA0E8E566}" dt="2022-04-22T00:39:14.165" v="1584" actId="478"/>
          <ac:picMkLst>
            <pc:docMk/>
            <pc:sldMk cId="3439488634" sldId="2407"/>
            <ac:picMk id="30" creationId="{39260E92-FADF-4076-9052-5C1B0040ACAE}"/>
          </ac:picMkLst>
        </pc:picChg>
        <pc:cxnChg chg="del">
          <ac:chgData name="Aurelien Domont" userId="6da7715ce44349b3" providerId="LiveId" clId="{30A766B1-982E-4295-BCAD-093FA0E8E566}" dt="2022-04-22T00:39:14.165" v="1584" actId="478"/>
          <ac:cxnSpMkLst>
            <pc:docMk/>
            <pc:sldMk cId="3439488634" sldId="2407"/>
            <ac:cxnSpMk id="19" creationId="{19DA62D3-92ED-4E24-A47E-4114E3BAC740}"/>
          </ac:cxnSpMkLst>
        </pc:cxnChg>
        <pc:cxnChg chg="del mod">
          <ac:chgData name="Aurelien Domont" userId="6da7715ce44349b3" providerId="LiveId" clId="{30A766B1-982E-4295-BCAD-093FA0E8E566}" dt="2022-04-22T00:39:14.165" v="1584" actId="478"/>
          <ac:cxnSpMkLst>
            <pc:docMk/>
            <pc:sldMk cId="3439488634" sldId="2407"/>
            <ac:cxnSpMk id="43" creationId="{31B5725B-0388-47A1-85B2-5668AD09E45F}"/>
          </ac:cxnSpMkLst>
        </pc:cxnChg>
      </pc:sldChg>
      <pc:sldChg chg="addSp modSp add mod">
        <pc:chgData name="Aurelien Domont" userId="6da7715ce44349b3" providerId="LiveId" clId="{30A766B1-982E-4295-BCAD-093FA0E8E566}" dt="2023-01-18T05:33:07.832" v="14918"/>
        <pc:sldMkLst>
          <pc:docMk/>
          <pc:sldMk cId="2605546588" sldId="2408"/>
        </pc:sldMkLst>
        <pc:spChg chg="mod">
          <ac:chgData name="Aurelien Domont" userId="6da7715ce44349b3" providerId="LiveId" clId="{30A766B1-982E-4295-BCAD-093FA0E8E566}" dt="2023-01-18T05:33:07.832" v="14918"/>
          <ac:spMkLst>
            <pc:docMk/>
            <pc:sldMk cId="2605546588" sldId="2408"/>
            <ac:spMk id="3" creationId="{CE2529A3-BA97-486F-9E02-8DFAAA7D8D38}"/>
          </ac:spMkLst>
        </pc:spChg>
        <pc:spChg chg="add mod">
          <ac:chgData name="Aurelien Domont" userId="6da7715ce44349b3" providerId="LiveId" clId="{30A766B1-982E-4295-BCAD-093FA0E8E566}" dt="2022-04-22T00:44:27.353" v="1788" actId="20577"/>
          <ac:spMkLst>
            <pc:docMk/>
            <pc:sldMk cId="2605546588" sldId="2408"/>
            <ac:spMk id="6" creationId="{40F87051-13E3-4F2B-AA20-CAD020CDAF9F}"/>
          </ac:spMkLst>
        </pc:spChg>
        <pc:spChg chg="add mod">
          <ac:chgData name="Aurelien Domont" userId="6da7715ce44349b3" providerId="LiveId" clId="{30A766B1-982E-4295-BCAD-093FA0E8E566}" dt="2022-04-22T00:50:49.947" v="2102" actId="20577"/>
          <ac:spMkLst>
            <pc:docMk/>
            <pc:sldMk cId="2605546588" sldId="2408"/>
            <ac:spMk id="7" creationId="{797E9CCD-36C5-4E7A-99BC-5E684243C1F5}"/>
          </ac:spMkLst>
        </pc:spChg>
        <pc:spChg chg="mod">
          <ac:chgData name="Aurelien Domont" userId="6da7715ce44349b3" providerId="LiveId" clId="{30A766B1-982E-4295-BCAD-093FA0E8E566}" dt="2023-01-18T05:33:07.832" v="14918"/>
          <ac:spMkLst>
            <pc:docMk/>
            <pc:sldMk cId="2605546588" sldId="2408"/>
            <ac:spMk id="16" creationId="{6C2BB713-9637-4B9B-938F-E9768876782A}"/>
          </ac:spMkLst>
        </pc:spChg>
        <pc:graphicFrameChg chg="mod modGraphic">
          <ac:chgData name="Aurelien Domont" userId="6da7715ce44349b3" providerId="LiveId" clId="{30A766B1-982E-4295-BCAD-093FA0E8E566}" dt="2022-04-22T00:56:49.428" v="2197"/>
          <ac:graphicFrameMkLst>
            <pc:docMk/>
            <pc:sldMk cId="2605546588" sldId="2408"/>
            <ac:graphicFrameMk id="39" creationId="{638D8B26-67E0-4E82-B540-98B843EF1F95}"/>
          </ac:graphicFrameMkLst>
        </pc:graphicFrameChg>
      </pc:sldChg>
      <pc:sldChg chg="add del">
        <pc:chgData name="Aurelien Domont" userId="6da7715ce44349b3" providerId="LiveId" clId="{30A766B1-982E-4295-BCAD-093FA0E8E566}" dt="2022-04-21T06:37:20.817" v="1304" actId="47"/>
        <pc:sldMkLst>
          <pc:docMk/>
          <pc:sldMk cId="3890776163" sldId="2408"/>
        </pc:sldMkLst>
      </pc:sldChg>
      <pc:sldChg chg="addSp delSp modSp add mod">
        <pc:chgData name="Aurelien Domont" userId="6da7715ce44349b3" providerId="LiveId" clId="{30A766B1-982E-4295-BCAD-093FA0E8E566}" dt="2023-01-18T05:33:07.832" v="14918"/>
        <pc:sldMkLst>
          <pc:docMk/>
          <pc:sldMk cId="2669431179" sldId="2409"/>
        </pc:sldMkLst>
        <pc:spChg chg="mod">
          <ac:chgData name="Aurelien Domont" userId="6da7715ce44349b3" providerId="LiveId" clId="{30A766B1-982E-4295-BCAD-093FA0E8E566}" dt="2023-01-18T05:33:07.832" v="14918"/>
          <ac:spMkLst>
            <pc:docMk/>
            <pc:sldMk cId="2669431179" sldId="2409"/>
            <ac:spMk id="3" creationId="{CE2529A3-BA97-486F-9E02-8DFAAA7D8D38}"/>
          </ac:spMkLst>
        </pc:spChg>
        <pc:spChg chg="mod">
          <ac:chgData name="Aurelien Domont" userId="6da7715ce44349b3" providerId="LiveId" clId="{30A766B1-982E-4295-BCAD-093FA0E8E566}" dt="2023-01-18T05:33:07.832" v="14918"/>
          <ac:spMkLst>
            <pc:docMk/>
            <pc:sldMk cId="2669431179" sldId="2409"/>
            <ac:spMk id="16" creationId="{6C2BB713-9637-4B9B-938F-E9768876782A}"/>
          </ac:spMkLst>
        </pc:spChg>
        <pc:graphicFrameChg chg="add del mod">
          <ac:chgData name="Aurelien Domont" userId="6da7715ce44349b3" providerId="LiveId" clId="{30A766B1-982E-4295-BCAD-093FA0E8E566}" dt="2022-04-22T00:53:53.668" v="2161"/>
          <ac:graphicFrameMkLst>
            <pc:docMk/>
            <pc:sldMk cId="2669431179" sldId="2409"/>
            <ac:graphicFrameMk id="6" creationId="{F335DE66-44DB-4D56-9683-B06EC8EF432D}"/>
          </ac:graphicFrameMkLst>
        </pc:graphicFrameChg>
        <pc:graphicFrameChg chg="add mod modGraphic">
          <ac:chgData name="Aurelien Domont" userId="6da7715ce44349b3" providerId="LiveId" clId="{30A766B1-982E-4295-BCAD-093FA0E8E566}" dt="2022-04-22T00:59:27.829" v="2297" actId="1036"/>
          <ac:graphicFrameMkLst>
            <pc:docMk/>
            <pc:sldMk cId="2669431179" sldId="2409"/>
            <ac:graphicFrameMk id="7" creationId="{3BB6D720-945F-45FA-980D-5585C53E12F3}"/>
          </ac:graphicFrameMkLst>
        </pc:graphicFrameChg>
        <pc:graphicFrameChg chg="del">
          <ac:chgData name="Aurelien Domont" userId="6da7715ce44349b3" providerId="LiveId" clId="{30A766B1-982E-4295-BCAD-093FA0E8E566}" dt="2022-04-22T00:53:37.719" v="2159" actId="478"/>
          <ac:graphicFrameMkLst>
            <pc:docMk/>
            <pc:sldMk cId="2669431179" sldId="2409"/>
            <ac:graphicFrameMk id="39" creationId="{638D8B26-67E0-4E82-B540-98B843EF1F95}"/>
          </ac:graphicFrameMkLst>
        </pc:graphicFrameChg>
      </pc:sldChg>
      <pc:sldChg chg="addSp delSp modSp add mod">
        <pc:chgData name="Aurelien Domont" userId="6da7715ce44349b3" providerId="LiveId" clId="{30A766B1-982E-4295-BCAD-093FA0E8E566}" dt="2023-01-18T05:33:07.832" v="14918"/>
        <pc:sldMkLst>
          <pc:docMk/>
          <pc:sldMk cId="4160978231" sldId="2410"/>
        </pc:sldMkLst>
        <pc:spChg chg="mod">
          <ac:chgData name="Aurelien Domont" userId="6da7715ce44349b3" providerId="LiveId" clId="{30A766B1-982E-4295-BCAD-093FA0E8E566}" dt="2023-01-18T05:33:07.832" v="14918"/>
          <ac:spMkLst>
            <pc:docMk/>
            <pc:sldMk cId="4160978231" sldId="2410"/>
            <ac:spMk id="3" creationId="{CE2529A3-BA97-486F-9E02-8DFAAA7D8D38}"/>
          </ac:spMkLst>
        </pc:spChg>
        <pc:spChg chg="add del mod">
          <ac:chgData name="Aurelien Domont" userId="6da7715ce44349b3" providerId="LiveId" clId="{30A766B1-982E-4295-BCAD-093FA0E8E566}" dt="2022-04-22T01:23:55.845" v="2766" actId="20577"/>
          <ac:spMkLst>
            <pc:docMk/>
            <pc:sldMk cId="4160978231" sldId="2410"/>
            <ac:spMk id="6" creationId="{72284D4F-8A18-4284-8DA2-C85EC344902D}"/>
          </ac:spMkLst>
        </pc:spChg>
        <pc:spChg chg="add del mod">
          <ac:chgData name="Aurelien Domont" userId="6da7715ce44349b3" providerId="LiveId" clId="{30A766B1-982E-4295-BCAD-093FA0E8E566}" dt="2022-04-22T01:07:33.610" v="2494"/>
          <ac:spMkLst>
            <pc:docMk/>
            <pc:sldMk cId="4160978231" sldId="2410"/>
            <ac:spMk id="8" creationId="{6DAF74E8-F105-4A4D-B72B-7058B377D69B}"/>
          </ac:spMkLst>
        </pc:spChg>
        <pc:spChg chg="add del mod">
          <ac:chgData name="Aurelien Domont" userId="6da7715ce44349b3" providerId="LiveId" clId="{30A766B1-982E-4295-BCAD-093FA0E8E566}" dt="2022-04-22T01:07:33.610" v="2494"/>
          <ac:spMkLst>
            <pc:docMk/>
            <pc:sldMk cId="4160978231" sldId="2410"/>
            <ac:spMk id="9" creationId="{0B5BCA5C-FFAC-43F8-9DB3-27B74589BE61}"/>
          </ac:spMkLst>
        </pc:spChg>
        <pc:spChg chg="add del mod">
          <ac:chgData name="Aurelien Domont" userId="6da7715ce44349b3" providerId="LiveId" clId="{30A766B1-982E-4295-BCAD-093FA0E8E566}" dt="2022-04-22T01:07:33.610" v="2494"/>
          <ac:spMkLst>
            <pc:docMk/>
            <pc:sldMk cId="4160978231" sldId="2410"/>
            <ac:spMk id="10" creationId="{1C6821A3-CD46-4D37-AACA-221C6971A57B}"/>
          </ac:spMkLst>
        </pc:spChg>
        <pc:spChg chg="add del mod">
          <ac:chgData name="Aurelien Domont" userId="6da7715ce44349b3" providerId="LiveId" clId="{30A766B1-982E-4295-BCAD-093FA0E8E566}" dt="2022-04-22T01:07:33.610" v="2494"/>
          <ac:spMkLst>
            <pc:docMk/>
            <pc:sldMk cId="4160978231" sldId="2410"/>
            <ac:spMk id="11" creationId="{F7083EA6-8E06-44EC-92FA-50A88EE259C0}"/>
          </ac:spMkLst>
        </pc:spChg>
        <pc:spChg chg="add del mod">
          <ac:chgData name="Aurelien Domont" userId="6da7715ce44349b3" providerId="LiveId" clId="{30A766B1-982E-4295-BCAD-093FA0E8E566}" dt="2022-04-22T01:07:33.610" v="2494"/>
          <ac:spMkLst>
            <pc:docMk/>
            <pc:sldMk cId="4160978231" sldId="2410"/>
            <ac:spMk id="15" creationId="{D389DD60-215F-4B2D-80EF-2E4EEB9D1890}"/>
          </ac:spMkLst>
        </pc:spChg>
        <pc:spChg chg="mod">
          <ac:chgData name="Aurelien Domont" userId="6da7715ce44349b3" providerId="LiveId" clId="{30A766B1-982E-4295-BCAD-093FA0E8E566}" dt="2023-01-18T05:33:07.832" v="14918"/>
          <ac:spMkLst>
            <pc:docMk/>
            <pc:sldMk cId="4160978231" sldId="2410"/>
            <ac:spMk id="16" creationId="{6C2BB713-9637-4B9B-938F-E9768876782A}"/>
          </ac:spMkLst>
        </pc:spChg>
        <pc:graphicFrameChg chg="del">
          <ac:chgData name="Aurelien Domont" userId="6da7715ce44349b3" providerId="LiveId" clId="{30A766B1-982E-4295-BCAD-093FA0E8E566}" dt="2022-04-22T00:59:45.965" v="2312" actId="478"/>
          <ac:graphicFrameMkLst>
            <pc:docMk/>
            <pc:sldMk cId="4160978231" sldId="2410"/>
            <ac:graphicFrameMk id="7" creationId="{3BB6D720-945F-45FA-980D-5585C53E12F3}"/>
          </ac:graphicFrameMkLst>
        </pc:graphicFrameChg>
        <pc:picChg chg="add del mod">
          <ac:chgData name="Aurelien Domont" userId="6da7715ce44349b3" providerId="LiveId" clId="{30A766B1-982E-4295-BCAD-093FA0E8E566}" dt="2022-04-22T01:07:33.610" v="2494"/>
          <ac:picMkLst>
            <pc:docMk/>
            <pc:sldMk cId="4160978231" sldId="2410"/>
            <ac:picMk id="12" creationId="{2B5D3325-E220-42C5-87F9-655745995BD7}"/>
          </ac:picMkLst>
        </pc:picChg>
        <pc:picChg chg="add del mod">
          <ac:chgData name="Aurelien Domont" userId="6da7715ce44349b3" providerId="LiveId" clId="{30A766B1-982E-4295-BCAD-093FA0E8E566}" dt="2022-04-22T01:07:33.610" v="2494"/>
          <ac:picMkLst>
            <pc:docMk/>
            <pc:sldMk cId="4160978231" sldId="2410"/>
            <ac:picMk id="14" creationId="{BA27F8D5-30D4-4F9E-BF18-668FADE23D42}"/>
          </ac:picMkLst>
        </pc:picChg>
      </pc:sldChg>
      <pc:sldChg chg="addSp modSp add mod">
        <pc:chgData name="Aurelien Domont" userId="6da7715ce44349b3" providerId="LiveId" clId="{30A766B1-982E-4295-BCAD-093FA0E8E566}" dt="2023-01-18T05:33:07.832" v="14918"/>
        <pc:sldMkLst>
          <pc:docMk/>
          <pc:sldMk cId="3087515776" sldId="2411"/>
        </pc:sldMkLst>
        <pc:spChg chg="mod">
          <ac:chgData name="Aurelien Domont" userId="6da7715ce44349b3" providerId="LiveId" clId="{30A766B1-982E-4295-BCAD-093FA0E8E566}" dt="2023-01-18T05:33:07.832" v="14918"/>
          <ac:spMkLst>
            <pc:docMk/>
            <pc:sldMk cId="3087515776" sldId="2411"/>
            <ac:spMk id="3" creationId="{CE2529A3-BA97-486F-9E02-8DFAAA7D8D38}"/>
          </ac:spMkLst>
        </pc:spChg>
        <pc:spChg chg="mod">
          <ac:chgData name="Aurelien Domont" userId="6da7715ce44349b3" providerId="LiveId" clId="{30A766B1-982E-4295-BCAD-093FA0E8E566}" dt="2022-04-22T01:31:57.790" v="2861" actId="20577"/>
          <ac:spMkLst>
            <pc:docMk/>
            <pc:sldMk cId="3087515776" sldId="2411"/>
            <ac:spMk id="6" creationId="{72284D4F-8A18-4284-8DA2-C85EC344902D}"/>
          </ac:spMkLst>
        </pc:spChg>
        <pc:spChg chg="add mod">
          <ac:chgData name="Aurelien Domont" userId="6da7715ce44349b3" providerId="LiveId" clId="{30A766B1-982E-4295-BCAD-093FA0E8E566}" dt="2022-04-22T01:15:36.428" v="2650" actId="1038"/>
          <ac:spMkLst>
            <pc:docMk/>
            <pc:sldMk cId="3087515776" sldId="2411"/>
            <ac:spMk id="7" creationId="{3794BE0C-D55F-4680-A260-6DF05E1C4EE6}"/>
          </ac:spMkLst>
        </pc:spChg>
        <pc:spChg chg="mod">
          <ac:chgData name="Aurelien Domont" userId="6da7715ce44349b3" providerId="LiveId" clId="{30A766B1-982E-4295-BCAD-093FA0E8E566}" dt="2023-01-18T05:33:07.832" v="14918"/>
          <ac:spMkLst>
            <pc:docMk/>
            <pc:sldMk cId="3087515776" sldId="2411"/>
            <ac:spMk id="16" creationId="{6C2BB713-9637-4B9B-938F-E9768876782A}"/>
          </ac:spMkLst>
        </pc:spChg>
      </pc:sldChg>
      <pc:sldChg chg="addSp delSp modSp add mod">
        <pc:chgData name="Aurelien Domont" userId="6da7715ce44349b3" providerId="LiveId" clId="{30A766B1-982E-4295-BCAD-093FA0E8E566}" dt="2023-01-18T05:33:07.832" v="14918"/>
        <pc:sldMkLst>
          <pc:docMk/>
          <pc:sldMk cId="61296232" sldId="2412"/>
        </pc:sldMkLst>
        <pc:spChg chg="mod">
          <ac:chgData name="Aurelien Domont" userId="6da7715ce44349b3" providerId="LiveId" clId="{30A766B1-982E-4295-BCAD-093FA0E8E566}" dt="2023-01-18T05:33:07.832" v="14918"/>
          <ac:spMkLst>
            <pc:docMk/>
            <pc:sldMk cId="61296232" sldId="2412"/>
            <ac:spMk id="3" creationId="{CE2529A3-BA97-486F-9E02-8DFAAA7D8D38}"/>
          </ac:spMkLst>
        </pc:spChg>
        <pc:spChg chg="del">
          <ac:chgData name="Aurelien Domont" userId="6da7715ce44349b3" providerId="LiveId" clId="{30A766B1-982E-4295-BCAD-093FA0E8E566}" dt="2022-04-22T01:22:57.286" v="2698" actId="478"/>
          <ac:spMkLst>
            <pc:docMk/>
            <pc:sldMk cId="61296232" sldId="2412"/>
            <ac:spMk id="6" creationId="{72284D4F-8A18-4284-8DA2-C85EC344902D}"/>
          </ac:spMkLst>
        </pc:spChg>
        <pc:spChg chg="add mod">
          <ac:chgData name="Aurelien Domont" userId="6da7715ce44349b3" providerId="LiveId" clId="{30A766B1-982E-4295-BCAD-093FA0E8E566}" dt="2022-04-22T01:26:45.117" v="2814" actId="20577"/>
          <ac:spMkLst>
            <pc:docMk/>
            <pc:sldMk cId="61296232" sldId="2412"/>
            <ac:spMk id="9" creationId="{39CD6C22-1598-4603-AA8E-414A430815B6}"/>
          </ac:spMkLst>
        </pc:spChg>
        <pc:spChg chg="mod">
          <ac:chgData name="Aurelien Domont" userId="6da7715ce44349b3" providerId="LiveId" clId="{30A766B1-982E-4295-BCAD-093FA0E8E566}" dt="2023-01-18T05:33:07.832" v="14918"/>
          <ac:spMkLst>
            <pc:docMk/>
            <pc:sldMk cId="61296232" sldId="2412"/>
            <ac:spMk id="16" creationId="{6C2BB713-9637-4B9B-938F-E9768876782A}"/>
          </ac:spMkLst>
        </pc:spChg>
        <pc:graphicFrameChg chg="add mod modGraphic">
          <ac:chgData name="Aurelien Domont" userId="6da7715ce44349b3" providerId="LiveId" clId="{30A766B1-982E-4295-BCAD-093FA0E8E566}" dt="2022-04-22T01:27:01.706" v="2816" actId="20577"/>
          <ac:graphicFrameMkLst>
            <pc:docMk/>
            <pc:sldMk cId="61296232" sldId="2412"/>
            <ac:graphicFrameMk id="8" creationId="{EB6C2805-C70E-4DB1-9300-41E9F185933F}"/>
          </ac:graphicFrameMkLst>
        </pc:graphicFrameChg>
        <pc:cxnChg chg="add mod">
          <ac:chgData name="Aurelien Domont" userId="6da7715ce44349b3" providerId="LiveId" clId="{30A766B1-982E-4295-BCAD-093FA0E8E566}" dt="2022-04-22T01:26:32.487" v="2809"/>
          <ac:cxnSpMkLst>
            <pc:docMk/>
            <pc:sldMk cId="61296232" sldId="2412"/>
            <ac:cxnSpMk id="7" creationId="{41B5E34F-6CDE-47A4-84B1-75AF7AEA3FC4}"/>
          </ac:cxnSpMkLst>
        </pc:cxnChg>
      </pc:sldChg>
      <pc:sldChg chg="addSp delSp modSp add mod">
        <pc:chgData name="Aurelien Domont" userId="6da7715ce44349b3" providerId="LiveId" clId="{30A766B1-982E-4295-BCAD-093FA0E8E566}" dt="2023-01-18T05:33:07.832" v="14918"/>
        <pc:sldMkLst>
          <pc:docMk/>
          <pc:sldMk cId="2457475122" sldId="2413"/>
        </pc:sldMkLst>
        <pc:spChg chg="mod">
          <ac:chgData name="Aurelien Domont" userId="6da7715ce44349b3" providerId="LiveId" clId="{30A766B1-982E-4295-BCAD-093FA0E8E566}" dt="2023-01-18T05:33:07.832" v="14918"/>
          <ac:spMkLst>
            <pc:docMk/>
            <pc:sldMk cId="2457475122" sldId="2413"/>
            <ac:spMk id="3" creationId="{CE2529A3-BA97-486F-9E02-8DFAAA7D8D38}"/>
          </ac:spMkLst>
        </pc:spChg>
        <pc:spChg chg="mod">
          <ac:chgData name="Aurelien Domont" userId="6da7715ce44349b3" providerId="LiveId" clId="{30A766B1-982E-4295-BCAD-093FA0E8E566}" dt="2022-04-22T01:32:09.133" v="2868" actId="20577"/>
          <ac:spMkLst>
            <pc:docMk/>
            <pc:sldMk cId="2457475122" sldId="2413"/>
            <ac:spMk id="9" creationId="{39CD6C22-1598-4603-AA8E-414A430815B6}"/>
          </ac:spMkLst>
        </pc:spChg>
        <pc:spChg chg="add mod">
          <ac:chgData name="Aurelien Domont" userId="6da7715ce44349b3" providerId="LiveId" clId="{30A766B1-982E-4295-BCAD-093FA0E8E566}" dt="2022-04-22T01:27:16.965" v="2818"/>
          <ac:spMkLst>
            <pc:docMk/>
            <pc:sldMk cId="2457475122" sldId="2413"/>
            <ac:spMk id="10" creationId="{D82240EC-F511-4279-92F4-4B6136F03FFD}"/>
          </ac:spMkLst>
        </pc:spChg>
        <pc:spChg chg="add del mod">
          <ac:chgData name="Aurelien Domont" userId="6da7715ce44349b3" providerId="LiveId" clId="{30A766B1-982E-4295-BCAD-093FA0E8E566}" dt="2022-04-22T01:30:53.603" v="2832" actId="478"/>
          <ac:spMkLst>
            <pc:docMk/>
            <pc:sldMk cId="2457475122" sldId="2413"/>
            <ac:spMk id="11" creationId="{0870EBC4-56D1-4F4D-B18C-56A1F91B86FF}"/>
          </ac:spMkLst>
        </pc:spChg>
        <pc:spChg chg="mod">
          <ac:chgData name="Aurelien Domont" userId="6da7715ce44349b3" providerId="LiveId" clId="{30A766B1-982E-4295-BCAD-093FA0E8E566}" dt="2023-01-18T05:33:07.832" v="14918"/>
          <ac:spMkLst>
            <pc:docMk/>
            <pc:sldMk cId="2457475122" sldId="2413"/>
            <ac:spMk id="16" creationId="{6C2BB713-9637-4B9B-938F-E9768876782A}"/>
          </ac:spMkLst>
        </pc:spChg>
        <pc:graphicFrameChg chg="mod modGraphic">
          <ac:chgData name="Aurelien Domont" userId="6da7715ce44349b3" providerId="LiveId" clId="{30A766B1-982E-4295-BCAD-093FA0E8E566}" dt="2022-04-22T01:39:28.575" v="2964" actId="20577"/>
          <ac:graphicFrameMkLst>
            <pc:docMk/>
            <pc:sldMk cId="2457475122" sldId="2413"/>
            <ac:graphicFrameMk id="8" creationId="{EB6C2805-C70E-4DB1-9300-41E9F185933F}"/>
          </ac:graphicFrameMkLst>
        </pc:graphicFrameChg>
      </pc:sldChg>
      <pc:sldChg chg="addSp delSp modSp add del mod">
        <pc:chgData name="Aurelien Domont" userId="6da7715ce44349b3" providerId="LiveId" clId="{30A766B1-982E-4295-BCAD-093FA0E8E566}" dt="2022-05-26T05:33:47.813" v="10042" actId="47"/>
        <pc:sldMkLst>
          <pc:docMk/>
          <pc:sldMk cId="2353242926" sldId="2414"/>
        </pc:sldMkLst>
        <pc:spChg chg="add mod">
          <ac:chgData name="Aurelien Domont" userId="6da7715ce44349b3" providerId="LiveId" clId="{30A766B1-982E-4295-BCAD-093FA0E8E566}" dt="2022-04-22T03:03:07.620" v="3359"/>
          <ac:spMkLst>
            <pc:docMk/>
            <pc:sldMk cId="2353242926" sldId="2414"/>
            <ac:spMk id="26" creationId="{4C0F7571-8C33-4EA3-8D80-B5B07BF564AC}"/>
          </ac:spMkLst>
        </pc:spChg>
        <pc:spChg chg="del mod">
          <ac:chgData name="Aurelien Domont" userId="6da7715ce44349b3" providerId="LiveId" clId="{30A766B1-982E-4295-BCAD-093FA0E8E566}" dt="2022-04-22T03:03:07.355" v="3358" actId="478"/>
          <ac:spMkLst>
            <pc:docMk/>
            <pc:sldMk cId="2353242926" sldId="2414"/>
            <ac:spMk id="38" creationId="{9D01B2F0-F734-4933-A904-035A8BF40F3D}"/>
          </ac:spMkLst>
        </pc:spChg>
      </pc:sldChg>
      <pc:sldChg chg="addSp delSp modSp add mod">
        <pc:chgData name="Aurelien Domont" userId="6da7715ce44349b3" providerId="LiveId" clId="{30A766B1-982E-4295-BCAD-093FA0E8E566}" dt="2023-01-18T05:33:07.832" v="14918"/>
        <pc:sldMkLst>
          <pc:docMk/>
          <pc:sldMk cId="1987086110" sldId="2415"/>
        </pc:sldMkLst>
        <pc:spChg chg="mod">
          <ac:chgData name="Aurelien Domont" userId="6da7715ce44349b3" providerId="LiveId" clId="{30A766B1-982E-4295-BCAD-093FA0E8E566}" dt="2023-01-18T05:33:07.832" v="14918"/>
          <ac:spMkLst>
            <pc:docMk/>
            <pc:sldMk cId="1987086110" sldId="2415"/>
            <ac:spMk id="3" creationId="{CE2529A3-BA97-486F-9E02-8DFAAA7D8D38}"/>
          </ac:spMkLst>
        </pc:spChg>
        <pc:spChg chg="del">
          <ac:chgData name="Aurelien Domont" userId="6da7715ce44349b3" providerId="LiveId" clId="{30A766B1-982E-4295-BCAD-093FA0E8E566}" dt="2022-04-22T02:54:37.545" v="3238" actId="478"/>
          <ac:spMkLst>
            <pc:docMk/>
            <pc:sldMk cId="1987086110" sldId="2415"/>
            <ac:spMk id="6" creationId="{72284D4F-8A18-4284-8DA2-C85EC344902D}"/>
          </ac:spMkLst>
        </pc:spChg>
        <pc:spChg chg="del">
          <ac:chgData name="Aurelien Domont" userId="6da7715ce44349b3" providerId="LiveId" clId="{30A766B1-982E-4295-BCAD-093FA0E8E566}" dt="2022-04-22T02:54:00.390" v="3237" actId="478"/>
          <ac:spMkLst>
            <pc:docMk/>
            <pc:sldMk cId="1987086110" sldId="2415"/>
            <ac:spMk id="7" creationId="{3794BE0C-D55F-4680-A260-6DF05E1C4EE6}"/>
          </ac:spMkLst>
        </pc:spChg>
        <pc:spChg chg="add mod topLvl">
          <ac:chgData name="Aurelien Domont" userId="6da7715ce44349b3" providerId="LiveId" clId="{30A766B1-982E-4295-BCAD-093FA0E8E566}" dt="2022-04-22T02:55:04.093" v="3244" actId="165"/>
          <ac:spMkLst>
            <pc:docMk/>
            <pc:sldMk cId="1987086110" sldId="2415"/>
            <ac:spMk id="8" creationId="{A59D9EB3-E9B5-436C-B84C-64290C638E46}"/>
          </ac:spMkLst>
        </pc:spChg>
        <pc:spChg chg="add mod topLvl">
          <ac:chgData name="Aurelien Domont" userId="6da7715ce44349b3" providerId="LiveId" clId="{30A766B1-982E-4295-BCAD-093FA0E8E566}" dt="2022-04-22T02:55:12.921" v="3265" actId="20577"/>
          <ac:spMkLst>
            <pc:docMk/>
            <pc:sldMk cId="1987086110" sldId="2415"/>
            <ac:spMk id="9" creationId="{C3864419-C26A-42D5-8FDC-9A9D4A693761}"/>
          </ac:spMkLst>
        </pc:spChg>
        <pc:spChg chg="add mod topLvl">
          <ac:chgData name="Aurelien Domont" userId="6da7715ce44349b3" providerId="LiveId" clId="{30A766B1-982E-4295-BCAD-093FA0E8E566}" dt="2022-04-22T02:55:16.322" v="3266"/>
          <ac:spMkLst>
            <pc:docMk/>
            <pc:sldMk cId="1987086110" sldId="2415"/>
            <ac:spMk id="10" creationId="{1FA09F76-46EF-423B-84D2-2040684DB3C7}"/>
          </ac:spMkLst>
        </pc:spChg>
        <pc:spChg chg="add mod topLvl">
          <ac:chgData name="Aurelien Domont" userId="6da7715ce44349b3" providerId="LiveId" clId="{30A766B1-982E-4295-BCAD-093FA0E8E566}" dt="2022-04-22T02:55:17.777" v="3267"/>
          <ac:spMkLst>
            <pc:docMk/>
            <pc:sldMk cId="1987086110" sldId="2415"/>
            <ac:spMk id="11" creationId="{778198BC-D9B0-4DCB-A5D8-3A42A5E9EC5B}"/>
          </ac:spMkLst>
        </pc:spChg>
        <pc:spChg chg="add mod topLvl">
          <ac:chgData name="Aurelien Domont" userId="6da7715ce44349b3" providerId="LiveId" clId="{30A766B1-982E-4295-BCAD-093FA0E8E566}" dt="2022-04-22T02:55:19.123" v="3268"/>
          <ac:spMkLst>
            <pc:docMk/>
            <pc:sldMk cId="1987086110" sldId="2415"/>
            <ac:spMk id="12" creationId="{9E493FD2-8F33-43CD-9667-FDDF0F018EC2}"/>
          </ac:spMkLst>
        </pc:spChg>
        <pc:spChg chg="add mod topLvl">
          <ac:chgData name="Aurelien Domont" userId="6da7715ce44349b3" providerId="LiveId" clId="{30A766B1-982E-4295-BCAD-093FA0E8E566}" dt="2022-04-22T02:55:53.783" v="3302"/>
          <ac:spMkLst>
            <pc:docMk/>
            <pc:sldMk cId="1987086110" sldId="2415"/>
            <ac:spMk id="14" creationId="{13687FD0-CC3D-40FD-ADD4-DE71B2DE0790}"/>
          </ac:spMkLst>
        </pc:spChg>
        <pc:spChg chg="add del mod topLvl">
          <ac:chgData name="Aurelien Domont" userId="6da7715ce44349b3" providerId="LiveId" clId="{30A766B1-982E-4295-BCAD-093FA0E8E566}" dt="2022-04-22T02:55:30.844" v="3269" actId="478"/>
          <ac:spMkLst>
            <pc:docMk/>
            <pc:sldMk cId="1987086110" sldId="2415"/>
            <ac:spMk id="15" creationId="{0869D67D-9D05-4DA7-9612-ECF0526DCD5F}"/>
          </ac:spMkLst>
        </pc:spChg>
        <pc:spChg chg="mod">
          <ac:chgData name="Aurelien Domont" userId="6da7715ce44349b3" providerId="LiveId" clId="{30A766B1-982E-4295-BCAD-093FA0E8E566}" dt="2023-01-18T05:33:07.832" v="14918"/>
          <ac:spMkLst>
            <pc:docMk/>
            <pc:sldMk cId="1987086110" sldId="2415"/>
            <ac:spMk id="16" creationId="{6C2BB713-9637-4B9B-938F-E9768876782A}"/>
          </ac:spMkLst>
        </pc:spChg>
        <pc:spChg chg="add del mod topLvl">
          <ac:chgData name="Aurelien Domont" userId="6da7715ce44349b3" providerId="LiveId" clId="{30A766B1-982E-4295-BCAD-093FA0E8E566}" dt="2022-04-22T02:55:30.844" v="3269" actId="478"/>
          <ac:spMkLst>
            <pc:docMk/>
            <pc:sldMk cId="1987086110" sldId="2415"/>
            <ac:spMk id="17" creationId="{29496673-53B1-48D4-B08C-B13D9AC94F12}"/>
          </ac:spMkLst>
        </pc:spChg>
        <pc:spChg chg="add del mod topLvl">
          <ac:chgData name="Aurelien Domont" userId="6da7715ce44349b3" providerId="LiveId" clId="{30A766B1-982E-4295-BCAD-093FA0E8E566}" dt="2022-04-22T02:55:30.844" v="3269" actId="478"/>
          <ac:spMkLst>
            <pc:docMk/>
            <pc:sldMk cId="1987086110" sldId="2415"/>
            <ac:spMk id="18" creationId="{A172297B-0064-430B-AF36-A6AA578221E1}"/>
          </ac:spMkLst>
        </pc:spChg>
        <pc:spChg chg="add mod">
          <ac:chgData name="Aurelien Domont" userId="6da7715ce44349b3" providerId="LiveId" clId="{30A766B1-982E-4295-BCAD-093FA0E8E566}" dt="2022-04-22T02:56:03.521" v="3303" actId="571"/>
          <ac:spMkLst>
            <pc:docMk/>
            <pc:sldMk cId="1987086110" sldId="2415"/>
            <ac:spMk id="19" creationId="{09C04015-EC95-4278-883A-356082B77501}"/>
          </ac:spMkLst>
        </pc:spChg>
        <pc:spChg chg="add mod">
          <ac:chgData name="Aurelien Domont" userId="6da7715ce44349b3" providerId="LiveId" clId="{30A766B1-982E-4295-BCAD-093FA0E8E566}" dt="2022-04-22T02:56:09.795" v="3304" actId="571"/>
          <ac:spMkLst>
            <pc:docMk/>
            <pc:sldMk cId="1987086110" sldId="2415"/>
            <ac:spMk id="20" creationId="{F87E8CBA-ED2B-46EC-ABF3-2E6AD79B83DA}"/>
          </ac:spMkLst>
        </pc:spChg>
        <pc:spChg chg="add mod">
          <ac:chgData name="Aurelien Domont" userId="6da7715ce44349b3" providerId="LiveId" clId="{30A766B1-982E-4295-BCAD-093FA0E8E566}" dt="2022-04-22T02:56:12.972" v="3305" actId="571"/>
          <ac:spMkLst>
            <pc:docMk/>
            <pc:sldMk cId="1987086110" sldId="2415"/>
            <ac:spMk id="21" creationId="{0F045C16-2460-43A5-AD15-C23D05B16BEB}"/>
          </ac:spMkLst>
        </pc:spChg>
        <pc:grpChg chg="add del mod">
          <ac:chgData name="Aurelien Domont" userId="6da7715ce44349b3" providerId="LiveId" clId="{30A766B1-982E-4295-BCAD-093FA0E8E566}" dt="2022-04-22T02:55:04.093" v="3244" actId="165"/>
          <ac:grpSpMkLst>
            <pc:docMk/>
            <pc:sldMk cId="1987086110" sldId="2415"/>
            <ac:grpSpMk id="2" creationId="{D476E895-BC2B-4E8E-81FE-B315D3C70611}"/>
          </ac:grpSpMkLst>
        </pc:grpChg>
      </pc:sldChg>
      <pc:sldChg chg="addSp delSp modSp add mod">
        <pc:chgData name="Aurelien Domont" userId="6da7715ce44349b3" providerId="LiveId" clId="{30A766B1-982E-4295-BCAD-093FA0E8E566}" dt="2023-01-18T05:33:07.832" v="14918"/>
        <pc:sldMkLst>
          <pc:docMk/>
          <pc:sldMk cId="1344979950" sldId="2416"/>
        </pc:sldMkLst>
        <pc:spChg chg="mod">
          <ac:chgData name="Aurelien Domont" userId="6da7715ce44349b3" providerId="LiveId" clId="{30A766B1-982E-4295-BCAD-093FA0E8E566}" dt="2023-01-18T05:33:07.832" v="14918"/>
          <ac:spMkLst>
            <pc:docMk/>
            <pc:sldMk cId="1344979950" sldId="2416"/>
            <ac:spMk id="3" creationId="{CE2529A3-BA97-486F-9E02-8DFAAA7D8D38}"/>
          </ac:spMkLst>
        </pc:spChg>
        <pc:spChg chg="add mod">
          <ac:chgData name="Aurelien Domont" userId="6da7715ce44349b3" providerId="LiveId" clId="{30A766B1-982E-4295-BCAD-093FA0E8E566}" dt="2022-04-26T06:01:29.696" v="4541" actId="1035"/>
          <ac:spMkLst>
            <pc:docMk/>
            <pc:sldMk cId="1344979950" sldId="2416"/>
            <ac:spMk id="7" creationId="{87AD5115-6A85-42FB-90D9-4015C546391D}"/>
          </ac:spMkLst>
        </pc:spChg>
        <pc:spChg chg="add mod">
          <ac:chgData name="Aurelien Domont" userId="6da7715ce44349b3" providerId="LiveId" clId="{30A766B1-982E-4295-BCAD-093FA0E8E566}" dt="2022-04-26T06:02:03.126" v="4564" actId="20577"/>
          <ac:spMkLst>
            <pc:docMk/>
            <pc:sldMk cId="1344979950" sldId="2416"/>
            <ac:spMk id="9" creationId="{0F720744-6087-4679-9751-0E066ABD7FDC}"/>
          </ac:spMkLst>
        </pc:spChg>
        <pc:spChg chg="del">
          <ac:chgData name="Aurelien Domont" userId="6da7715ce44349b3" providerId="LiveId" clId="{30A766B1-982E-4295-BCAD-093FA0E8E566}" dt="2022-04-22T02:56:48.983" v="3307" actId="478"/>
          <ac:spMkLst>
            <pc:docMk/>
            <pc:sldMk cId="1344979950" sldId="2416"/>
            <ac:spMk id="9" creationId="{C3864419-C26A-42D5-8FDC-9A9D4A693761}"/>
          </ac:spMkLst>
        </pc:spChg>
        <pc:spChg chg="del">
          <ac:chgData name="Aurelien Domont" userId="6da7715ce44349b3" providerId="LiveId" clId="{30A766B1-982E-4295-BCAD-093FA0E8E566}" dt="2022-04-22T02:56:48.983" v="3307" actId="478"/>
          <ac:spMkLst>
            <pc:docMk/>
            <pc:sldMk cId="1344979950" sldId="2416"/>
            <ac:spMk id="10" creationId="{1FA09F76-46EF-423B-84D2-2040684DB3C7}"/>
          </ac:spMkLst>
        </pc:spChg>
        <pc:spChg chg="del">
          <ac:chgData name="Aurelien Domont" userId="6da7715ce44349b3" providerId="LiveId" clId="{30A766B1-982E-4295-BCAD-093FA0E8E566}" dt="2022-04-22T02:56:48.983" v="3307" actId="478"/>
          <ac:spMkLst>
            <pc:docMk/>
            <pc:sldMk cId="1344979950" sldId="2416"/>
            <ac:spMk id="11" creationId="{778198BC-D9B0-4DCB-A5D8-3A42A5E9EC5B}"/>
          </ac:spMkLst>
        </pc:spChg>
        <pc:spChg chg="del">
          <ac:chgData name="Aurelien Domont" userId="6da7715ce44349b3" providerId="LiveId" clId="{30A766B1-982E-4295-BCAD-093FA0E8E566}" dt="2022-04-22T02:56:48.983" v="3307" actId="478"/>
          <ac:spMkLst>
            <pc:docMk/>
            <pc:sldMk cId="1344979950" sldId="2416"/>
            <ac:spMk id="12" creationId="{9E493FD2-8F33-43CD-9667-FDDF0F018EC2}"/>
          </ac:spMkLst>
        </pc:spChg>
        <pc:spChg chg="del">
          <ac:chgData name="Aurelien Domont" userId="6da7715ce44349b3" providerId="LiveId" clId="{30A766B1-982E-4295-BCAD-093FA0E8E566}" dt="2022-04-22T02:56:48.983" v="3307" actId="478"/>
          <ac:spMkLst>
            <pc:docMk/>
            <pc:sldMk cId="1344979950" sldId="2416"/>
            <ac:spMk id="14" creationId="{13687FD0-CC3D-40FD-ADD4-DE71B2DE0790}"/>
          </ac:spMkLst>
        </pc:spChg>
        <pc:spChg chg="mod">
          <ac:chgData name="Aurelien Domont" userId="6da7715ce44349b3" providerId="LiveId" clId="{30A766B1-982E-4295-BCAD-093FA0E8E566}" dt="2023-01-18T05:33:07.832" v="14918"/>
          <ac:spMkLst>
            <pc:docMk/>
            <pc:sldMk cId="1344979950" sldId="2416"/>
            <ac:spMk id="16" creationId="{6C2BB713-9637-4B9B-938F-E9768876782A}"/>
          </ac:spMkLst>
        </pc:spChg>
        <pc:spChg chg="del">
          <ac:chgData name="Aurelien Domont" userId="6da7715ce44349b3" providerId="LiveId" clId="{30A766B1-982E-4295-BCAD-093FA0E8E566}" dt="2022-04-22T02:56:48.983" v="3307" actId="478"/>
          <ac:spMkLst>
            <pc:docMk/>
            <pc:sldMk cId="1344979950" sldId="2416"/>
            <ac:spMk id="19" creationId="{09C04015-EC95-4278-883A-356082B77501}"/>
          </ac:spMkLst>
        </pc:spChg>
        <pc:spChg chg="del">
          <ac:chgData name="Aurelien Domont" userId="6da7715ce44349b3" providerId="LiveId" clId="{30A766B1-982E-4295-BCAD-093FA0E8E566}" dt="2022-04-22T02:56:48.983" v="3307" actId="478"/>
          <ac:spMkLst>
            <pc:docMk/>
            <pc:sldMk cId="1344979950" sldId="2416"/>
            <ac:spMk id="20" creationId="{F87E8CBA-ED2B-46EC-ABF3-2E6AD79B83DA}"/>
          </ac:spMkLst>
        </pc:spChg>
        <pc:spChg chg="del">
          <ac:chgData name="Aurelien Domont" userId="6da7715ce44349b3" providerId="LiveId" clId="{30A766B1-982E-4295-BCAD-093FA0E8E566}" dt="2022-04-22T02:56:48.983" v="3307" actId="478"/>
          <ac:spMkLst>
            <pc:docMk/>
            <pc:sldMk cId="1344979950" sldId="2416"/>
            <ac:spMk id="21" creationId="{0F045C16-2460-43A5-AD15-C23D05B16BEB}"/>
          </ac:spMkLst>
        </pc:spChg>
        <pc:picChg chg="add del mod">
          <ac:chgData name="Aurelien Domont" userId="6da7715ce44349b3" providerId="LiveId" clId="{30A766B1-982E-4295-BCAD-093FA0E8E566}" dt="2022-04-22T03:33:37.247" v="3473" actId="478"/>
          <ac:picMkLst>
            <pc:docMk/>
            <pc:sldMk cId="1344979950" sldId="2416"/>
            <ac:picMk id="4" creationId="{A42D31DA-8928-4413-8AB3-9B725CD13E79}"/>
          </ac:picMkLst>
        </pc:picChg>
        <pc:picChg chg="add mod">
          <ac:chgData name="Aurelien Domont" userId="6da7715ce44349b3" providerId="LiveId" clId="{30A766B1-982E-4295-BCAD-093FA0E8E566}" dt="2022-04-22T03:33:40.551" v="3486" actId="1038"/>
          <ac:picMkLst>
            <pc:docMk/>
            <pc:sldMk cId="1344979950" sldId="2416"/>
            <ac:picMk id="6" creationId="{6C3BA282-92E4-499D-A1F8-60ABA445F26B}"/>
          </ac:picMkLst>
        </pc:picChg>
        <pc:picChg chg="add mod">
          <ac:chgData name="Aurelien Domont" userId="6da7715ce44349b3" providerId="LiveId" clId="{30A766B1-982E-4295-BCAD-093FA0E8E566}" dt="2022-04-22T03:33:40.551" v="3486" actId="1038"/>
          <ac:picMkLst>
            <pc:docMk/>
            <pc:sldMk cId="1344979950" sldId="2416"/>
            <ac:picMk id="17" creationId="{ACECC1A0-0B0F-43A0-B411-25FC47432511}"/>
          </ac:picMkLst>
        </pc:picChg>
      </pc:sldChg>
      <pc:sldChg chg="modSp add del mod">
        <pc:chgData name="Aurelien Domont" userId="6da7715ce44349b3" providerId="LiveId" clId="{30A766B1-982E-4295-BCAD-093FA0E8E566}" dt="2022-04-22T03:05:00.573" v="3445" actId="47"/>
        <pc:sldMkLst>
          <pc:docMk/>
          <pc:sldMk cId="1128929655" sldId="2417"/>
        </pc:sldMkLst>
        <pc:spChg chg="mod">
          <ac:chgData name="Aurelien Domont" userId="6da7715ce44349b3" providerId="LiveId" clId="{30A766B1-982E-4295-BCAD-093FA0E8E566}" dt="2022-04-22T02:58:27.421" v="3349" actId="20577"/>
          <ac:spMkLst>
            <pc:docMk/>
            <pc:sldMk cId="1128929655" sldId="2417"/>
            <ac:spMk id="16" creationId="{6C2BB713-9637-4B9B-938F-E9768876782A}"/>
          </ac:spMkLst>
        </pc:spChg>
      </pc:sldChg>
      <pc:sldChg chg="addSp delSp modSp add mod">
        <pc:chgData name="Aurelien Domont" userId="6da7715ce44349b3" providerId="LiveId" clId="{30A766B1-982E-4295-BCAD-093FA0E8E566}" dt="2023-01-18T05:33:07.832" v="14918"/>
        <pc:sldMkLst>
          <pc:docMk/>
          <pc:sldMk cId="1388770549" sldId="2417"/>
        </pc:sldMkLst>
        <pc:spChg chg="add mod">
          <ac:chgData name="Aurelien Domont" userId="6da7715ce44349b3" providerId="LiveId" clId="{30A766B1-982E-4295-BCAD-093FA0E8E566}" dt="2022-04-26T06:25:27.014" v="5394" actId="1036"/>
          <ac:spMkLst>
            <pc:docMk/>
            <pc:sldMk cId="1388770549" sldId="2417"/>
            <ac:spMk id="2" creationId="{03F8E77D-BBCF-4732-A58D-305F0E3074CA}"/>
          </ac:spMkLst>
        </pc:spChg>
        <pc:spChg chg="mod">
          <ac:chgData name="Aurelien Domont" userId="6da7715ce44349b3" providerId="LiveId" clId="{30A766B1-982E-4295-BCAD-093FA0E8E566}" dt="2023-01-18T05:33:07.832" v="14918"/>
          <ac:spMkLst>
            <pc:docMk/>
            <pc:sldMk cId="1388770549" sldId="2417"/>
            <ac:spMk id="3" creationId="{CE2529A3-BA97-486F-9E02-8DFAAA7D8D38}"/>
          </ac:spMkLst>
        </pc:spChg>
        <pc:spChg chg="del">
          <ac:chgData name="Aurelien Domont" userId="6da7715ce44349b3" providerId="LiveId" clId="{30A766B1-982E-4295-BCAD-093FA0E8E566}" dt="2022-04-22T03:35:20.443" v="3534" actId="478"/>
          <ac:spMkLst>
            <pc:docMk/>
            <pc:sldMk cId="1388770549" sldId="2417"/>
            <ac:spMk id="7" creationId="{87AD5115-6A85-42FB-90D9-4015C546391D}"/>
          </ac:spMkLst>
        </pc:spChg>
        <pc:spChg chg="add del mod">
          <ac:chgData name="Aurelien Domont" userId="6da7715ce44349b3" providerId="LiveId" clId="{30A766B1-982E-4295-BCAD-093FA0E8E566}" dt="2022-04-26T06:02:15.590" v="4566" actId="478"/>
          <ac:spMkLst>
            <pc:docMk/>
            <pc:sldMk cId="1388770549" sldId="2417"/>
            <ac:spMk id="9" creationId="{FD0C0C93-F94F-4D4B-8A26-E0E0A15DAD8C}"/>
          </ac:spMkLst>
        </pc:spChg>
        <pc:spChg chg="add del mod">
          <ac:chgData name="Aurelien Domont" userId="6da7715ce44349b3" providerId="LiveId" clId="{30A766B1-982E-4295-BCAD-093FA0E8E566}" dt="2022-04-26T06:02:15.590" v="4566" actId="478"/>
          <ac:spMkLst>
            <pc:docMk/>
            <pc:sldMk cId="1388770549" sldId="2417"/>
            <ac:spMk id="10" creationId="{E694BB42-0DCE-4F00-9468-376462E100FC}"/>
          </ac:spMkLst>
        </pc:spChg>
        <pc:spChg chg="add del mod">
          <ac:chgData name="Aurelien Domont" userId="6da7715ce44349b3" providerId="LiveId" clId="{30A766B1-982E-4295-BCAD-093FA0E8E566}" dt="2022-04-26T06:02:15.590" v="4566" actId="478"/>
          <ac:spMkLst>
            <pc:docMk/>
            <pc:sldMk cId="1388770549" sldId="2417"/>
            <ac:spMk id="11" creationId="{64F4BE50-E9AD-4B4F-9A3E-19F09E3DE82B}"/>
          </ac:spMkLst>
        </pc:spChg>
        <pc:spChg chg="add del mod">
          <ac:chgData name="Aurelien Domont" userId="6da7715ce44349b3" providerId="LiveId" clId="{30A766B1-982E-4295-BCAD-093FA0E8E566}" dt="2022-04-26T06:02:15.590" v="4566" actId="478"/>
          <ac:spMkLst>
            <pc:docMk/>
            <pc:sldMk cId="1388770549" sldId="2417"/>
            <ac:spMk id="12" creationId="{279DACBF-6733-4213-AEDE-7819F3B4366A}"/>
          </ac:spMkLst>
        </pc:spChg>
        <pc:spChg chg="add mod">
          <ac:chgData name="Aurelien Domont" userId="6da7715ce44349b3" providerId="LiveId" clId="{30A766B1-982E-4295-BCAD-093FA0E8E566}" dt="2022-04-26T06:24:38.064" v="5378" actId="1037"/>
          <ac:spMkLst>
            <pc:docMk/>
            <pc:sldMk cId="1388770549" sldId="2417"/>
            <ac:spMk id="14" creationId="{E81E4701-4CC2-46E0-9063-67F64ED36BC3}"/>
          </ac:spMkLst>
        </pc:spChg>
        <pc:spChg chg="add mod">
          <ac:chgData name="Aurelien Domont" userId="6da7715ce44349b3" providerId="LiveId" clId="{30A766B1-982E-4295-BCAD-093FA0E8E566}" dt="2022-04-26T06:25:14.874" v="5386" actId="1038"/>
          <ac:spMkLst>
            <pc:docMk/>
            <pc:sldMk cId="1388770549" sldId="2417"/>
            <ac:spMk id="15" creationId="{7F04332D-16D0-4A8D-A020-D2E97B666270}"/>
          </ac:spMkLst>
        </pc:spChg>
        <pc:spChg chg="mod">
          <ac:chgData name="Aurelien Domont" userId="6da7715ce44349b3" providerId="LiveId" clId="{30A766B1-982E-4295-BCAD-093FA0E8E566}" dt="2023-01-18T05:33:07.832" v="14918"/>
          <ac:spMkLst>
            <pc:docMk/>
            <pc:sldMk cId="1388770549" sldId="2417"/>
            <ac:spMk id="16" creationId="{6C2BB713-9637-4B9B-938F-E9768876782A}"/>
          </ac:spMkLst>
        </pc:spChg>
        <pc:spChg chg="add mod">
          <ac:chgData name="Aurelien Domont" userId="6da7715ce44349b3" providerId="LiveId" clId="{30A766B1-982E-4295-BCAD-093FA0E8E566}" dt="2022-04-26T06:25:09.609" v="5384" actId="1038"/>
          <ac:spMkLst>
            <pc:docMk/>
            <pc:sldMk cId="1388770549" sldId="2417"/>
            <ac:spMk id="17" creationId="{A09E7D10-3B54-4CF6-9361-284110DB8169}"/>
          </ac:spMkLst>
        </pc:spChg>
        <pc:spChg chg="add mod">
          <ac:chgData name="Aurelien Domont" userId="6da7715ce44349b3" providerId="LiveId" clId="{30A766B1-982E-4295-BCAD-093FA0E8E566}" dt="2022-04-26T06:24:50.656" v="5381" actId="1038"/>
          <ac:spMkLst>
            <pc:docMk/>
            <pc:sldMk cId="1388770549" sldId="2417"/>
            <ac:spMk id="18" creationId="{90008F55-D336-458C-BE51-B22E761EE2BE}"/>
          </ac:spMkLst>
        </pc:spChg>
        <pc:spChg chg="add mod">
          <ac:chgData name="Aurelien Domont" userId="6da7715ce44349b3" providerId="LiveId" clId="{30A766B1-982E-4295-BCAD-093FA0E8E566}" dt="2022-04-26T06:25:27.014" v="5394" actId="1036"/>
          <ac:spMkLst>
            <pc:docMk/>
            <pc:sldMk cId="1388770549" sldId="2417"/>
            <ac:spMk id="19" creationId="{E3DB03C6-7BD5-4242-8FF6-A36B3D7828E0}"/>
          </ac:spMkLst>
        </pc:spChg>
        <pc:spChg chg="add mod">
          <ac:chgData name="Aurelien Domont" userId="6da7715ce44349b3" providerId="LiveId" clId="{30A766B1-982E-4295-BCAD-093FA0E8E566}" dt="2022-04-26T06:25:27.014" v="5394" actId="1036"/>
          <ac:spMkLst>
            <pc:docMk/>
            <pc:sldMk cId="1388770549" sldId="2417"/>
            <ac:spMk id="20" creationId="{FBA9AD2A-C34E-4D5E-A6C9-B445014E5340}"/>
          </ac:spMkLst>
        </pc:spChg>
        <pc:spChg chg="add mod">
          <ac:chgData name="Aurelien Domont" userId="6da7715ce44349b3" providerId="LiveId" clId="{30A766B1-982E-4295-BCAD-093FA0E8E566}" dt="2022-04-26T06:25:27.014" v="5394" actId="1036"/>
          <ac:spMkLst>
            <pc:docMk/>
            <pc:sldMk cId="1388770549" sldId="2417"/>
            <ac:spMk id="21" creationId="{41A39270-6587-4957-A8F0-8B889EE134E9}"/>
          </ac:spMkLst>
        </pc:spChg>
        <pc:spChg chg="add mod">
          <ac:chgData name="Aurelien Domont" userId="6da7715ce44349b3" providerId="LiveId" clId="{30A766B1-982E-4295-BCAD-093FA0E8E566}" dt="2022-04-26T06:25:27.014" v="5394" actId="1036"/>
          <ac:spMkLst>
            <pc:docMk/>
            <pc:sldMk cId="1388770549" sldId="2417"/>
            <ac:spMk id="22" creationId="{3663E822-9067-4A07-8247-D139EC8DFA35}"/>
          </ac:spMkLst>
        </pc:spChg>
        <pc:spChg chg="add mod">
          <ac:chgData name="Aurelien Domont" userId="6da7715ce44349b3" providerId="LiveId" clId="{30A766B1-982E-4295-BCAD-093FA0E8E566}" dt="2022-04-26T06:24:38.064" v="5378" actId="1037"/>
          <ac:spMkLst>
            <pc:docMk/>
            <pc:sldMk cId="1388770549" sldId="2417"/>
            <ac:spMk id="23" creationId="{B23F8E11-6B5D-41D4-9EBA-A3FBA9EA8E6D}"/>
          </ac:spMkLst>
        </pc:spChg>
        <pc:spChg chg="add mod">
          <ac:chgData name="Aurelien Domont" userId="6da7715ce44349b3" providerId="LiveId" clId="{30A766B1-982E-4295-BCAD-093FA0E8E566}" dt="2022-04-26T06:25:09.609" v="5384" actId="1038"/>
          <ac:spMkLst>
            <pc:docMk/>
            <pc:sldMk cId="1388770549" sldId="2417"/>
            <ac:spMk id="24" creationId="{4DA0DE2D-CF50-456F-A3B9-426D21B337E1}"/>
          </ac:spMkLst>
        </pc:spChg>
        <pc:spChg chg="add mod">
          <ac:chgData name="Aurelien Domont" userId="6da7715ce44349b3" providerId="LiveId" clId="{30A766B1-982E-4295-BCAD-093FA0E8E566}" dt="2022-04-26T06:27:19.035" v="5414" actId="108"/>
          <ac:spMkLst>
            <pc:docMk/>
            <pc:sldMk cId="1388770549" sldId="2417"/>
            <ac:spMk id="25" creationId="{2DFD58DA-8658-4F43-8253-A564AB15F767}"/>
          </ac:spMkLst>
        </pc:spChg>
        <pc:spChg chg="add mod">
          <ac:chgData name="Aurelien Domont" userId="6da7715ce44349b3" providerId="LiveId" clId="{30A766B1-982E-4295-BCAD-093FA0E8E566}" dt="2022-04-26T06:25:27.014" v="5394" actId="1036"/>
          <ac:spMkLst>
            <pc:docMk/>
            <pc:sldMk cId="1388770549" sldId="2417"/>
            <ac:spMk id="26" creationId="{EC611C6C-4CB2-46B6-B1FA-D5C97019812A}"/>
          </ac:spMkLst>
        </pc:spChg>
        <pc:spChg chg="add del mod">
          <ac:chgData name="Aurelien Domont" userId="6da7715ce44349b3" providerId="LiveId" clId="{30A766B1-982E-4295-BCAD-093FA0E8E566}" dt="2022-04-26T06:26:28.426" v="5399" actId="478"/>
          <ac:spMkLst>
            <pc:docMk/>
            <pc:sldMk cId="1388770549" sldId="2417"/>
            <ac:spMk id="27" creationId="{62994E95-36A8-490A-8E11-31954575C340}"/>
          </ac:spMkLst>
        </pc:spChg>
        <pc:spChg chg="add del mod">
          <ac:chgData name="Aurelien Domont" userId="6da7715ce44349b3" providerId="LiveId" clId="{30A766B1-982E-4295-BCAD-093FA0E8E566}" dt="2022-04-26T06:19:06.817" v="4957" actId="478"/>
          <ac:spMkLst>
            <pc:docMk/>
            <pc:sldMk cId="1388770549" sldId="2417"/>
            <ac:spMk id="28" creationId="{BB88F29F-03F6-4158-8265-1AFBFB384F2E}"/>
          </ac:spMkLst>
        </pc:spChg>
        <pc:spChg chg="add del mod">
          <ac:chgData name="Aurelien Domont" userId="6da7715ce44349b3" providerId="LiveId" clId="{30A766B1-982E-4295-BCAD-093FA0E8E566}" dt="2022-04-26T06:23:30.433" v="5292" actId="478"/>
          <ac:spMkLst>
            <pc:docMk/>
            <pc:sldMk cId="1388770549" sldId="2417"/>
            <ac:spMk id="29" creationId="{7D0D782D-D0BC-4464-9769-DD64B4C3502E}"/>
          </ac:spMkLst>
        </pc:spChg>
        <pc:spChg chg="add del mod">
          <ac:chgData name="Aurelien Domont" userId="6da7715ce44349b3" providerId="LiveId" clId="{30A766B1-982E-4295-BCAD-093FA0E8E566}" dt="2022-04-26T06:16:21.774" v="4910" actId="478"/>
          <ac:spMkLst>
            <pc:docMk/>
            <pc:sldMk cId="1388770549" sldId="2417"/>
            <ac:spMk id="30" creationId="{8DE99070-44C4-4CD4-BD52-D0B37583D383}"/>
          </ac:spMkLst>
        </pc:spChg>
        <pc:spChg chg="add del mod">
          <ac:chgData name="Aurelien Domont" userId="6da7715ce44349b3" providerId="LiveId" clId="{30A766B1-982E-4295-BCAD-093FA0E8E566}" dt="2022-04-26T06:12:16.706" v="4725" actId="478"/>
          <ac:spMkLst>
            <pc:docMk/>
            <pc:sldMk cId="1388770549" sldId="2417"/>
            <ac:spMk id="32" creationId="{B2515AEB-07B6-41E5-BA2B-3FF7F450ECE2}"/>
          </ac:spMkLst>
        </pc:spChg>
        <pc:spChg chg="add mod">
          <ac:chgData name="Aurelien Domont" userId="6da7715ce44349b3" providerId="LiveId" clId="{30A766B1-982E-4295-BCAD-093FA0E8E566}" dt="2022-04-26T06:25:27.014" v="5394" actId="1036"/>
          <ac:spMkLst>
            <pc:docMk/>
            <pc:sldMk cId="1388770549" sldId="2417"/>
            <ac:spMk id="33" creationId="{49C1549D-9B1C-4092-90D3-07143C52B116}"/>
          </ac:spMkLst>
        </pc:spChg>
        <pc:spChg chg="add mod">
          <ac:chgData name="Aurelien Domont" userId="6da7715ce44349b3" providerId="LiveId" clId="{30A766B1-982E-4295-BCAD-093FA0E8E566}" dt="2022-04-26T06:25:27.014" v="5394" actId="1036"/>
          <ac:spMkLst>
            <pc:docMk/>
            <pc:sldMk cId="1388770549" sldId="2417"/>
            <ac:spMk id="34" creationId="{DB161EA4-7D9F-4329-9B92-33D4C2CAA3AA}"/>
          </ac:spMkLst>
        </pc:spChg>
        <pc:spChg chg="add mod">
          <ac:chgData name="Aurelien Domont" userId="6da7715ce44349b3" providerId="LiveId" clId="{30A766B1-982E-4295-BCAD-093FA0E8E566}" dt="2022-04-26T06:25:27.014" v="5394" actId="1036"/>
          <ac:spMkLst>
            <pc:docMk/>
            <pc:sldMk cId="1388770549" sldId="2417"/>
            <ac:spMk id="35" creationId="{FBB6F59F-1FD9-489A-B165-5DBD3F78D88E}"/>
          </ac:spMkLst>
        </pc:spChg>
        <pc:spChg chg="add mod">
          <ac:chgData name="Aurelien Domont" userId="6da7715ce44349b3" providerId="LiveId" clId="{30A766B1-982E-4295-BCAD-093FA0E8E566}" dt="2022-04-26T06:25:27.014" v="5394" actId="1036"/>
          <ac:spMkLst>
            <pc:docMk/>
            <pc:sldMk cId="1388770549" sldId="2417"/>
            <ac:spMk id="36" creationId="{A698C4AA-3B1F-4943-91B4-FDFC687EACB4}"/>
          </ac:spMkLst>
        </pc:spChg>
        <pc:spChg chg="add mod">
          <ac:chgData name="Aurelien Domont" userId="6da7715ce44349b3" providerId="LiveId" clId="{30A766B1-982E-4295-BCAD-093FA0E8E566}" dt="2022-04-26T06:25:27.014" v="5394" actId="1036"/>
          <ac:spMkLst>
            <pc:docMk/>
            <pc:sldMk cId="1388770549" sldId="2417"/>
            <ac:spMk id="37" creationId="{F5712D72-5B7D-4385-8135-5227344ED41E}"/>
          </ac:spMkLst>
        </pc:spChg>
        <pc:spChg chg="add mod">
          <ac:chgData name="Aurelien Domont" userId="6da7715ce44349b3" providerId="LiveId" clId="{30A766B1-982E-4295-BCAD-093FA0E8E566}" dt="2022-04-26T06:25:27.014" v="5394" actId="1036"/>
          <ac:spMkLst>
            <pc:docMk/>
            <pc:sldMk cId="1388770549" sldId="2417"/>
            <ac:spMk id="38" creationId="{F519CD79-1CF4-4EFE-8E05-C4D49C9F394A}"/>
          </ac:spMkLst>
        </pc:spChg>
        <pc:spChg chg="add mod">
          <ac:chgData name="Aurelien Domont" userId="6da7715ce44349b3" providerId="LiveId" clId="{30A766B1-982E-4295-BCAD-093FA0E8E566}" dt="2022-04-26T06:25:27.014" v="5394" actId="1036"/>
          <ac:spMkLst>
            <pc:docMk/>
            <pc:sldMk cId="1388770549" sldId="2417"/>
            <ac:spMk id="39" creationId="{E8320E40-5BB8-48C0-8024-855D1EC2D3A1}"/>
          </ac:spMkLst>
        </pc:spChg>
        <pc:spChg chg="add mod">
          <ac:chgData name="Aurelien Domont" userId="6da7715ce44349b3" providerId="LiveId" clId="{30A766B1-982E-4295-BCAD-093FA0E8E566}" dt="2022-04-26T06:25:27.014" v="5394" actId="1036"/>
          <ac:spMkLst>
            <pc:docMk/>
            <pc:sldMk cId="1388770549" sldId="2417"/>
            <ac:spMk id="40" creationId="{3C6FEF3C-D22E-40A9-B9D4-FE37B8CE245B}"/>
          </ac:spMkLst>
        </pc:spChg>
        <pc:spChg chg="add mod">
          <ac:chgData name="Aurelien Domont" userId="6da7715ce44349b3" providerId="LiveId" clId="{30A766B1-982E-4295-BCAD-093FA0E8E566}" dt="2022-04-26T06:25:27.014" v="5394" actId="1036"/>
          <ac:spMkLst>
            <pc:docMk/>
            <pc:sldMk cId="1388770549" sldId="2417"/>
            <ac:spMk id="41" creationId="{843D3F0E-0D5D-4A01-A3AC-07A646AF9249}"/>
          </ac:spMkLst>
        </pc:spChg>
        <pc:spChg chg="add mod">
          <ac:chgData name="Aurelien Domont" userId="6da7715ce44349b3" providerId="LiveId" clId="{30A766B1-982E-4295-BCAD-093FA0E8E566}" dt="2022-04-26T06:25:27.014" v="5394" actId="1036"/>
          <ac:spMkLst>
            <pc:docMk/>
            <pc:sldMk cId="1388770549" sldId="2417"/>
            <ac:spMk id="42" creationId="{C9F03D96-E7CA-400F-AB37-EB9BF00F8B7B}"/>
          </ac:spMkLst>
        </pc:spChg>
        <pc:spChg chg="add mod">
          <ac:chgData name="Aurelien Domont" userId="6da7715ce44349b3" providerId="LiveId" clId="{30A766B1-982E-4295-BCAD-093FA0E8E566}" dt="2022-04-26T06:25:27.014" v="5394" actId="1036"/>
          <ac:spMkLst>
            <pc:docMk/>
            <pc:sldMk cId="1388770549" sldId="2417"/>
            <ac:spMk id="43" creationId="{BD78135D-48AB-4B95-9128-2FE27F3D6BED}"/>
          </ac:spMkLst>
        </pc:spChg>
        <pc:spChg chg="add mod">
          <ac:chgData name="Aurelien Domont" userId="6da7715ce44349b3" providerId="LiveId" clId="{30A766B1-982E-4295-BCAD-093FA0E8E566}" dt="2022-04-26T06:25:27.014" v="5394" actId="1036"/>
          <ac:spMkLst>
            <pc:docMk/>
            <pc:sldMk cId="1388770549" sldId="2417"/>
            <ac:spMk id="44" creationId="{C2E9B872-57A6-4A89-B43A-00757C4E84FB}"/>
          </ac:spMkLst>
        </pc:spChg>
        <pc:spChg chg="add mod">
          <ac:chgData name="Aurelien Domont" userId="6da7715ce44349b3" providerId="LiveId" clId="{30A766B1-982E-4295-BCAD-093FA0E8E566}" dt="2022-04-26T06:25:27.014" v="5394" actId="1036"/>
          <ac:spMkLst>
            <pc:docMk/>
            <pc:sldMk cId="1388770549" sldId="2417"/>
            <ac:spMk id="45" creationId="{D97F894A-74C1-4E77-8F08-86385C0105A5}"/>
          </ac:spMkLst>
        </pc:spChg>
        <pc:spChg chg="add mod">
          <ac:chgData name="Aurelien Domont" userId="6da7715ce44349b3" providerId="LiveId" clId="{30A766B1-982E-4295-BCAD-093FA0E8E566}" dt="2022-04-26T06:25:27.014" v="5394" actId="1036"/>
          <ac:spMkLst>
            <pc:docMk/>
            <pc:sldMk cId="1388770549" sldId="2417"/>
            <ac:spMk id="46" creationId="{45D33858-ED80-4890-870B-AA1386B67BC7}"/>
          </ac:spMkLst>
        </pc:spChg>
        <pc:spChg chg="add mod">
          <ac:chgData name="Aurelien Domont" userId="6da7715ce44349b3" providerId="LiveId" clId="{30A766B1-982E-4295-BCAD-093FA0E8E566}" dt="2022-04-26T06:25:27.014" v="5394" actId="1036"/>
          <ac:spMkLst>
            <pc:docMk/>
            <pc:sldMk cId="1388770549" sldId="2417"/>
            <ac:spMk id="47" creationId="{A1CF06F8-CD9E-4A53-80AA-FEACEE4B13B7}"/>
          </ac:spMkLst>
        </pc:spChg>
        <pc:spChg chg="add mod">
          <ac:chgData name="Aurelien Domont" userId="6da7715ce44349b3" providerId="LiveId" clId="{30A766B1-982E-4295-BCAD-093FA0E8E566}" dt="2022-04-26T06:25:27.014" v="5394" actId="1036"/>
          <ac:spMkLst>
            <pc:docMk/>
            <pc:sldMk cId="1388770549" sldId="2417"/>
            <ac:spMk id="48" creationId="{A7784188-B51E-43E0-92DC-18E8068D3545}"/>
          </ac:spMkLst>
        </pc:spChg>
        <pc:spChg chg="add mod">
          <ac:chgData name="Aurelien Domont" userId="6da7715ce44349b3" providerId="LiveId" clId="{30A766B1-982E-4295-BCAD-093FA0E8E566}" dt="2022-04-26T06:25:27.014" v="5394" actId="1036"/>
          <ac:spMkLst>
            <pc:docMk/>
            <pc:sldMk cId="1388770549" sldId="2417"/>
            <ac:spMk id="49" creationId="{38212FCD-91E3-46BE-8AE1-586EFEB11F66}"/>
          </ac:spMkLst>
        </pc:spChg>
        <pc:spChg chg="add mod">
          <ac:chgData name="Aurelien Domont" userId="6da7715ce44349b3" providerId="LiveId" clId="{30A766B1-982E-4295-BCAD-093FA0E8E566}" dt="2022-04-26T06:25:27.014" v="5394" actId="1036"/>
          <ac:spMkLst>
            <pc:docMk/>
            <pc:sldMk cId="1388770549" sldId="2417"/>
            <ac:spMk id="50" creationId="{9ECC0628-63CC-4CE3-AD4A-94ACDF7E34F0}"/>
          </ac:spMkLst>
        </pc:spChg>
        <pc:spChg chg="add mod">
          <ac:chgData name="Aurelien Domont" userId="6da7715ce44349b3" providerId="LiveId" clId="{30A766B1-982E-4295-BCAD-093FA0E8E566}" dt="2022-04-26T06:25:27.014" v="5394" actId="1036"/>
          <ac:spMkLst>
            <pc:docMk/>
            <pc:sldMk cId="1388770549" sldId="2417"/>
            <ac:spMk id="51" creationId="{5C595A5D-5149-4192-B8F5-A811491B613B}"/>
          </ac:spMkLst>
        </pc:spChg>
        <pc:spChg chg="add mod">
          <ac:chgData name="Aurelien Domont" userId="6da7715ce44349b3" providerId="LiveId" clId="{30A766B1-982E-4295-BCAD-093FA0E8E566}" dt="2022-04-26T06:25:27.014" v="5394" actId="1036"/>
          <ac:spMkLst>
            <pc:docMk/>
            <pc:sldMk cId="1388770549" sldId="2417"/>
            <ac:spMk id="52" creationId="{D054DCB5-357A-4A97-9092-9515D5A337B1}"/>
          </ac:spMkLst>
        </pc:spChg>
        <pc:spChg chg="add mod">
          <ac:chgData name="Aurelien Domont" userId="6da7715ce44349b3" providerId="LiveId" clId="{30A766B1-982E-4295-BCAD-093FA0E8E566}" dt="2022-04-26T06:25:27.014" v="5394" actId="1036"/>
          <ac:spMkLst>
            <pc:docMk/>
            <pc:sldMk cId="1388770549" sldId="2417"/>
            <ac:spMk id="53" creationId="{E19A5A81-B74B-49D5-AC5E-5448C335DA71}"/>
          </ac:spMkLst>
        </pc:spChg>
        <pc:spChg chg="add mod">
          <ac:chgData name="Aurelien Domont" userId="6da7715ce44349b3" providerId="LiveId" clId="{30A766B1-982E-4295-BCAD-093FA0E8E566}" dt="2022-04-26T06:25:27.014" v="5394" actId="1036"/>
          <ac:spMkLst>
            <pc:docMk/>
            <pc:sldMk cId="1388770549" sldId="2417"/>
            <ac:spMk id="54" creationId="{16FB81E8-D44E-452B-BD90-7889A004F2FF}"/>
          </ac:spMkLst>
        </pc:spChg>
        <pc:spChg chg="add mod">
          <ac:chgData name="Aurelien Domont" userId="6da7715ce44349b3" providerId="LiveId" clId="{30A766B1-982E-4295-BCAD-093FA0E8E566}" dt="2022-04-26T06:25:27.014" v="5394" actId="1036"/>
          <ac:spMkLst>
            <pc:docMk/>
            <pc:sldMk cId="1388770549" sldId="2417"/>
            <ac:spMk id="55" creationId="{AC41087D-673C-4E67-BE78-6842C699457B}"/>
          </ac:spMkLst>
        </pc:spChg>
        <pc:spChg chg="add mod">
          <ac:chgData name="Aurelien Domont" userId="6da7715ce44349b3" providerId="LiveId" clId="{30A766B1-982E-4295-BCAD-093FA0E8E566}" dt="2022-04-26T06:25:27.014" v="5394" actId="1036"/>
          <ac:spMkLst>
            <pc:docMk/>
            <pc:sldMk cId="1388770549" sldId="2417"/>
            <ac:spMk id="56" creationId="{3609C396-58B7-45BD-8404-F6E6A201D20F}"/>
          </ac:spMkLst>
        </pc:spChg>
        <pc:spChg chg="add mod">
          <ac:chgData name="Aurelien Domont" userId="6da7715ce44349b3" providerId="LiveId" clId="{30A766B1-982E-4295-BCAD-093FA0E8E566}" dt="2022-04-26T06:25:27.014" v="5394" actId="1036"/>
          <ac:spMkLst>
            <pc:docMk/>
            <pc:sldMk cId="1388770549" sldId="2417"/>
            <ac:spMk id="57" creationId="{EE7D2478-FB66-4622-943C-F892C3813381}"/>
          </ac:spMkLst>
        </pc:spChg>
        <pc:spChg chg="add mod">
          <ac:chgData name="Aurelien Domont" userId="6da7715ce44349b3" providerId="LiveId" clId="{30A766B1-982E-4295-BCAD-093FA0E8E566}" dt="2022-04-26T06:25:27.014" v="5394" actId="1036"/>
          <ac:spMkLst>
            <pc:docMk/>
            <pc:sldMk cId="1388770549" sldId="2417"/>
            <ac:spMk id="58" creationId="{CAF8F8A1-5367-4712-91EF-584709ABAB7E}"/>
          </ac:spMkLst>
        </pc:spChg>
        <pc:spChg chg="add mod">
          <ac:chgData name="Aurelien Domont" userId="6da7715ce44349b3" providerId="LiveId" clId="{30A766B1-982E-4295-BCAD-093FA0E8E566}" dt="2022-04-26T06:27:30.910" v="5418" actId="1038"/>
          <ac:spMkLst>
            <pc:docMk/>
            <pc:sldMk cId="1388770549" sldId="2417"/>
            <ac:spMk id="59" creationId="{145FF42F-9319-47FC-B6AE-D3C67A18BBBB}"/>
          </ac:spMkLst>
        </pc:spChg>
        <pc:spChg chg="add mod">
          <ac:chgData name="Aurelien Domont" userId="6da7715ce44349b3" providerId="LiveId" clId="{30A766B1-982E-4295-BCAD-093FA0E8E566}" dt="2022-04-26T06:26:54.262" v="5412"/>
          <ac:spMkLst>
            <pc:docMk/>
            <pc:sldMk cId="1388770549" sldId="2417"/>
            <ac:spMk id="61" creationId="{1463F3F6-3218-4E18-8CA2-45AE9FC76CEE}"/>
          </ac:spMkLst>
        </pc:spChg>
        <pc:picChg chg="mod">
          <ac:chgData name="Aurelien Domont" userId="6da7715ce44349b3" providerId="LiveId" clId="{30A766B1-982E-4295-BCAD-093FA0E8E566}" dt="2022-04-26T05:58:54.516" v="4500" actId="14100"/>
          <ac:picMkLst>
            <pc:docMk/>
            <pc:sldMk cId="1388770549" sldId="2417"/>
            <ac:picMk id="6" creationId="{6C3BA282-92E4-499D-A1F8-60ABA445F26B}"/>
          </ac:picMkLst>
        </pc:picChg>
        <pc:picChg chg="del">
          <ac:chgData name="Aurelien Domont" userId="6da7715ce44349b3" providerId="LiveId" clId="{30A766B1-982E-4295-BCAD-093FA0E8E566}" dt="2022-04-22T03:35:19.330" v="3533" actId="478"/>
          <ac:picMkLst>
            <pc:docMk/>
            <pc:sldMk cId="1388770549" sldId="2417"/>
            <ac:picMk id="17" creationId="{ACECC1A0-0B0F-43A0-B411-25FC47432511}"/>
          </ac:picMkLst>
        </pc:picChg>
        <pc:picChg chg="add del mod">
          <ac:chgData name="Aurelien Domont" userId="6da7715ce44349b3" providerId="LiveId" clId="{30A766B1-982E-4295-BCAD-093FA0E8E566}" dt="2022-04-26T06:24:18.335" v="5376" actId="478"/>
          <ac:picMkLst>
            <pc:docMk/>
            <pc:sldMk cId="1388770549" sldId="2417"/>
            <ac:picMk id="31" creationId="{AC8691A3-DBC5-483A-A32B-CD134E3E2812}"/>
          </ac:picMkLst>
        </pc:picChg>
        <pc:picChg chg="add del mod">
          <ac:chgData name="Aurelien Domont" userId="6da7715ce44349b3" providerId="LiveId" clId="{30A766B1-982E-4295-BCAD-093FA0E8E566}" dt="2022-04-26T06:27:11.130" v="5413" actId="478"/>
          <ac:picMkLst>
            <pc:docMk/>
            <pc:sldMk cId="1388770549" sldId="2417"/>
            <ac:picMk id="60" creationId="{7610BAAA-C508-4463-88FC-5E03B95E812C}"/>
          </ac:picMkLst>
        </pc:picChg>
        <pc:picChg chg="add mod">
          <ac:chgData name="Aurelien Domont" userId="6da7715ce44349b3" providerId="LiveId" clId="{30A766B1-982E-4295-BCAD-093FA0E8E566}" dt="2022-04-26T06:25:27.014" v="5394" actId="1036"/>
          <ac:picMkLst>
            <pc:docMk/>
            <pc:sldMk cId="1388770549" sldId="2417"/>
            <ac:picMk id="1026" creationId="{E1F8E52A-2047-436B-BEDF-BB439DCA965B}"/>
          </ac:picMkLst>
        </pc:picChg>
        <pc:picChg chg="add mod">
          <ac:chgData name="Aurelien Domont" userId="6da7715ce44349b3" providerId="LiveId" clId="{30A766B1-982E-4295-BCAD-093FA0E8E566}" dt="2022-04-26T06:25:27.014" v="5394" actId="1036"/>
          <ac:picMkLst>
            <pc:docMk/>
            <pc:sldMk cId="1388770549" sldId="2417"/>
            <ac:picMk id="1028" creationId="{EE9526CA-67F8-4E04-BBA2-9C28E0B0D3BD}"/>
          </ac:picMkLst>
        </pc:picChg>
      </pc:sldChg>
      <pc:sldChg chg="add del">
        <pc:chgData name="Aurelien Domont" userId="6da7715ce44349b3" providerId="LiveId" clId="{30A766B1-982E-4295-BCAD-093FA0E8E566}" dt="2022-04-22T03:35:05.684" v="3528" actId="47"/>
        <pc:sldMkLst>
          <pc:docMk/>
          <pc:sldMk cId="2475457024" sldId="2417"/>
        </pc:sldMkLst>
      </pc:sldChg>
      <pc:sldChg chg="addSp delSp modSp add del mod">
        <pc:chgData name="Aurelien Domont" userId="6da7715ce44349b3" providerId="LiveId" clId="{30A766B1-982E-4295-BCAD-093FA0E8E566}" dt="2022-04-26T06:30:01.585" v="5474" actId="47"/>
        <pc:sldMkLst>
          <pc:docMk/>
          <pc:sldMk cId="2596077957" sldId="2418"/>
        </pc:sldMkLst>
        <pc:spChg chg="add del">
          <ac:chgData name="Aurelien Domont" userId="6da7715ce44349b3" providerId="LiveId" clId="{30A766B1-982E-4295-BCAD-093FA0E8E566}" dt="2022-04-22T03:56:52.298" v="4471" actId="478"/>
          <ac:spMkLst>
            <pc:docMk/>
            <pc:sldMk cId="2596077957" sldId="2418"/>
            <ac:spMk id="9" creationId="{FD0C0C93-F94F-4D4B-8A26-E0E0A15DAD8C}"/>
          </ac:spMkLst>
        </pc:spChg>
        <pc:spChg chg="add del">
          <ac:chgData name="Aurelien Domont" userId="6da7715ce44349b3" providerId="LiveId" clId="{30A766B1-982E-4295-BCAD-093FA0E8E566}" dt="2022-04-22T03:56:52.298" v="4471" actId="478"/>
          <ac:spMkLst>
            <pc:docMk/>
            <pc:sldMk cId="2596077957" sldId="2418"/>
            <ac:spMk id="10" creationId="{E694BB42-0DCE-4F00-9468-376462E100FC}"/>
          </ac:spMkLst>
        </pc:spChg>
        <pc:spChg chg="add del">
          <ac:chgData name="Aurelien Domont" userId="6da7715ce44349b3" providerId="LiveId" clId="{30A766B1-982E-4295-BCAD-093FA0E8E566}" dt="2022-04-22T03:56:52.298" v="4471" actId="478"/>
          <ac:spMkLst>
            <pc:docMk/>
            <pc:sldMk cId="2596077957" sldId="2418"/>
            <ac:spMk id="11" creationId="{64F4BE50-E9AD-4B4F-9A3E-19F09E3DE82B}"/>
          </ac:spMkLst>
        </pc:spChg>
        <pc:spChg chg="del">
          <ac:chgData name="Aurelien Domont" userId="6da7715ce44349b3" providerId="LiveId" clId="{30A766B1-982E-4295-BCAD-093FA0E8E566}" dt="2022-04-22T03:55:58.186" v="4466" actId="478"/>
          <ac:spMkLst>
            <pc:docMk/>
            <pc:sldMk cId="2596077957" sldId="2418"/>
            <ac:spMk id="12" creationId="{279DACBF-6733-4213-AEDE-7819F3B4366A}"/>
          </ac:spMkLst>
        </pc:spChg>
        <pc:spChg chg="add del mod">
          <ac:chgData name="Aurelien Domont" userId="6da7715ce44349b3" providerId="LiveId" clId="{30A766B1-982E-4295-BCAD-093FA0E8E566}" dt="2022-04-22T03:56:49.860" v="4469"/>
          <ac:spMkLst>
            <pc:docMk/>
            <pc:sldMk cId="2596077957" sldId="2418"/>
            <ac:spMk id="14" creationId="{009BD900-633E-40F6-BA74-6376C4CB7803}"/>
          </ac:spMkLst>
        </pc:spChg>
        <pc:spChg chg="add del mod">
          <ac:chgData name="Aurelien Domont" userId="6da7715ce44349b3" providerId="LiveId" clId="{30A766B1-982E-4295-BCAD-093FA0E8E566}" dt="2022-04-22T03:56:49.860" v="4469"/>
          <ac:spMkLst>
            <pc:docMk/>
            <pc:sldMk cId="2596077957" sldId="2418"/>
            <ac:spMk id="15" creationId="{93B97E54-8D22-488B-8AB7-0EBC61799152}"/>
          </ac:spMkLst>
        </pc:spChg>
        <pc:spChg chg="mod">
          <ac:chgData name="Aurelien Domont" userId="6da7715ce44349b3" providerId="LiveId" clId="{30A766B1-982E-4295-BCAD-093FA0E8E566}" dt="2022-04-22T03:55:52.431" v="4465" actId="20577"/>
          <ac:spMkLst>
            <pc:docMk/>
            <pc:sldMk cId="2596077957" sldId="2418"/>
            <ac:spMk id="16" creationId="{6C2BB713-9637-4B9B-938F-E9768876782A}"/>
          </ac:spMkLst>
        </pc:spChg>
        <pc:spChg chg="add del mod">
          <ac:chgData name="Aurelien Domont" userId="6da7715ce44349b3" providerId="LiveId" clId="{30A766B1-982E-4295-BCAD-093FA0E8E566}" dt="2022-04-22T03:56:49.860" v="4469"/>
          <ac:spMkLst>
            <pc:docMk/>
            <pc:sldMk cId="2596077957" sldId="2418"/>
            <ac:spMk id="17" creationId="{3A15214C-97F9-44F1-AF1E-6D91E5E62DCF}"/>
          </ac:spMkLst>
        </pc:spChg>
        <pc:spChg chg="add del mod">
          <ac:chgData name="Aurelien Domont" userId="6da7715ce44349b3" providerId="LiveId" clId="{30A766B1-982E-4295-BCAD-093FA0E8E566}" dt="2022-04-22T03:56:49.860" v="4469"/>
          <ac:spMkLst>
            <pc:docMk/>
            <pc:sldMk cId="2596077957" sldId="2418"/>
            <ac:spMk id="18" creationId="{7851BCF8-4EC4-4F68-9DE0-EA1E16E6871B}"/>
          </ac:spMkLst>
        </pc:spChg>
        <pc:spChg chg="add del mod">
          <ac:chgData name="Aurelien Domont" userId="6da7715ce44349b3" providerId="LiveId" clId="{30A766B1-982E-4295-BCAD-093FA0E8E566}" dt="2022-04-22T03:56:49.860" v="4469"/>
          <ac:spMkLst>
            <pc:docMk/>
            <pc:sldMk cId="2596077957" sldId="2418"/>
            <ac:spMk id="19" creationId="{92D280B6-25B5-4ECE-A380-A5A244AA26C8}"/>
          </ac:spMkLst>
        </pc:spChg>
        <pc:spChg chg="add del mod">
          <ac:chgData name="Aurelien Domont" userId="6da7715ce44349b3" providerId="LiveId" clId="{30A766B1-982E-4295-BCAD-093FA0E8E566}" dt="2022-04-22T03:56:49.860" v="4469"/>
          <ac:spMkLst>
            <pc:docMk/>
            <pc:sldMk cId="2596077957" sldId="2418"/>
            <ac:spMk id="20" creationId="{5B4507D6-44E6-4449-8C88-883ABDAA9CCE}"/>
          </ac:spMkLst>
        </pc:spChg>
        <pc:spChg chg="add mod">
          <ac:chgData name="Aurelien Domont" userId="6da7715ce44349b3" providerId="LiveId" clId="{30A766B1-982E-4295-BCAD-093FA0E8E566}" dt="2022-04-22T03:56:56.386" v="4472"/>
          <ac:spMkLst>
            <pc:docMk/>
            <pc:sldMk cId="2596077957" sldId="2418"/>
            <ac:spMk id="21" creationId="{BC67CAC5-6C1F-4CD7-A7F4-59FDF9115917}"/>
          </ac:spMkLst>
        </pc:spChg>
        <pc:spChg chg="add mod">
          <ac:chgData name="Aurelien Domont" userId="6da7715ce44349b3" providerId="LiveId" clId="{30A766B1-982E-4295-BCAD-093FA0E8E566}" dt="2022-04-22T03:56:56.386" v="4472"/>
          <ac:spMkLst>
            <pc:docMk/>
            <pc:sldMk cId="2596077957" sldId="2418"/>
            <ac:spMk id="22" creationId="{832DD48A-6AE9-4FB9-85B1-F4913702A27C}"/>
          </ac:spMkLst>
        </pc:spChg>
        <pc:spChg chg="add mod">
          <ac:chgData name="Aurelien Domont" userId="6da7715ce44349b3" providerId="LiveId" clId="{30A766B1-982E-4295-BCAD-093FA0E8E566}" dt="2022-04-22T03:56:56.386" v="4472"/>
          <ac:spMkLst>
            <pc:docMk/>
            <pc:sldMk cId="2596077957" sldId="2418"/>
            <ac:spMk id="23" creationId="{6844D336-521F-4C00-9EF1-E982EE4F1610}"/>
          </ac:spMkLst>
        </pc:spChg>
        <pc:spChg chg="add mod">
          <ac:chgData name="Aurelien Domont" userId="6da7715ce44349b3" providerId="LiveId" clId="{30A766B1-982E-4295-BCAD-093FA0E8E566}" dt="2022-04-22T03:56:56.386" v="4472"/>
          <ac:spMkLst>
            <pc:docMk/>
            <pc:sldMk cId="2596077957" sldId="2418"/>
            <ac:spMk id="24" creationId="{4403752E-25E2-475C-8815-CD8F5287DE03}"/>
          </ac:spMkLst>
        </pc:spChg>
        <pc:spChg chg="add mod">
          <ac:chgData name="Aurelien Domont" userId="6da7715ce44349b3" providerId="LiveId" clId="{30A766B1-982E-4295-BCAD-093FA0E8E566}" dt="2022-04-22T03:57:22.832" v="4476"/>
          <ac:spMkLst>
            <pc:docMk/>
            <pc:sldMk cId="2596077957" sldId="2418"/>
            <ac:spMk id="25" creationId="{97769A3C-770C-4F3E-906B-33449D4B8F0E}"/>
          </ac:spMkLst>
        </pc:spChg>
        <pc:spChg chg="add del mod">
          <ac:chgData name="Aurelien Domont" userId="6da7715ce44349b3" providerId="LiveId" clId="{30A766B1-982E-4295-BCAD-093FA0E8E566}" dt="2022-04-22T03:57:04.766" v="4474" actId="478"/>
          <ac:spMkLst>
            <pc:docMk/>
            <pc:sldMk cId="2596077957" sldId="2418"/>
            <ac:spMk id="26" creationId="{B66A22B8-4E48-404F-B816-7194B306185E}"/>
          </ac:spMkLst>
        </pc:spChg>
        <pc:spChg chg="add del mod">
          <ac:chgData name="Aurelien Domont" userId="6da7715ce44349b3" providerId="LiveId" clId="{30A766B1-982E-4295-BCAD-093FA0E8E566}" dt="2022-04-22T03:57:04.766" v="4474" actId="478"/>
          <ac:spMkLst>
            <pc:docMk/>
            <pc:sldMk cId="2596077957" sldId="2418"/>
            <ac:spMk id="27" creationId="{A68D5490-FE68-46C2-9B90-653E8F3F5416}"/>
          </ac:spMkLst>
        </pc:spChg>
        <pc:spChg chg="add del mod">
          <ac:chgData name="Aurelien Domont" userId="6da7715ce44349b3" providerId="LiveId" clId="{30A766B1-982E-4295-BCAD-093FA0E8E566}" dt="2022-04-22T03:57:04.766" v="4474" actId="478"/>
          <ac:spMkLst>
            <pc:docMk/>
            <pc:sldMk cId="2596077957" sldId="2418"/>
            <ac:spMk id="28" creationId="{A3889353-9215-43E2-A3BE-F7763B3656B1}"/>
          </ac:spMkLst>
        </pc:spChg>
        <pc:spChg chg="add mod">
          <ac:chgData name="Aurelien Domont" userId="6da7715ce44349b3" providerId="LiveId" clId="{30A766B1-982E-4295-BCAD-093FA0E8E566}" dt="2022-04-22T03:57:31.296" v="4477" actId="571"/>
          <ac:spMkLst>
            <pc:docMk/>
            <pc:sldMk cId="2596077957" sldId="2418"/>
            <ac:spMk id="29" creationId="{2488876D-BAFE-4165-9E08-AF4B69E4084E}"/>
          </ac:spMkLst>
        </pc:spChg>
        <pc:spChg chg="add mod">
          <ac:chgData name="Aurelien Domont" userId="6da7715ce44349b3" providerId="LiveId" clId="{30A766B1-982E-4295-BCAD-093FA0E8E566}" dt="2022-04-22T03:57:35.187" v="4478" actId="571"/>
          <ac:spMkLst>
            <pc:docMk/>
            <pc:sldMk cId="2596077957" sldId="2418"/>
            <ac:spMk id="30" creationId="{A26B43E6-AD30-4D1E-980E-675CBF28786E}"/>
          </ac:spMkLst>
        </pc:spChg>
        <pc:spChg chg="add mod">
          <ac:chgData name="Aurelien Domont" userId="6da7715ce44349b3" providerId="LiveId" clId="{30A766B1-982E-4295-BCAD-093FA0E8E566}" dt="2022-04-22T03:57:37.646" v="4479" actId="571"/>
          <ac:spMkLst>
            <pc:docMk/>
            <pc:sldMk cId="2596077957" sldId="2418"/>
            <ac:spMk id="31" creationId="{4D97324A-E1E0-47E2-8443-E6ACF8510BBD}"/>
          </ac:spMkLst>
        </pc:spChg>
        <pc:picChg chg="add del mod">
          <ac:chgData name="Aurelien Domont" userId="6da7715ce44349b3" providerId="LiveId" clId="{30A766B1-982E-4295-BCAD-093FA0E8E566}" dt="2022-04-26T06:29:59.394" v="5473" actId="478"/>
          <ac:picMkLst>
            <pc:docMk/>
            <pc:sldMk cId="2596077957" sldId="2418"/>
            <ac:picMk id="4" creationId="{59EA874F-4ECA-49F7-AFB8-720EA735EA70}"/>
          </ac:picMkLst>
        </pc:picChg>
        <pc:picChg chg="add del">
          <ac:chgData name="Aurelien Domont" userId="6da7715ce44349b3" providerId="LiveId" clId="{30A766B1-982E-4295-BCAD-093FA0E8E566}" dt="2022-04-22T03:56:52.298" v="4471" actId="478"/>
          <ac:picMkLst>
            <pc:docMk/>
            <pc:sldMk cId="2596077957" sldId="2418"/>
            <ac:picMk id="6" creationId="{6C3BA282-92E4-499D-A1F8-60ABA445F26B}"/>
          </ac:picMkLst>
        </pc:picChg>
      </pc:sldChg>
      <pc:sldChg chg="add del">
        <pc:chgData name="Aurelien Domont" userId="6da7715ce44349b3" providerId="LiveId" clId="{30A766B1-982E-4295-BCAD-093FA0E8E566}" dt="2022-04-26T06:29:54.269" v="5471" actId="47"/>
        <pc:sldMkLst>
          <pc:docMk/>
          <pc:sldMk cId="4012123116" sldId="2419"/>
        </pc:sldMkLst>
      </pc:sldChg>
      <pc:sldChg chg="addSp delSp modSp add mod">
        <pc:chgData name="Aurelien Domont" userId="6da7715ce44349b3" providerId="LiveId" clId="{30A766B1-982E-4295-BCAD-093FA0E8E566}" dt="2023-01-18T05:33:07.832" v="14918"/>
        <pc:sldMkLst>
          <pc:docMk/>
          <pc:sldMk cId="1007313115" sldId="2420"/>
        </pc:sldMkLst>
        <pc:spChg chg="mod">
          <ac:chgData name="Aurelien Domont" userId="6da7715ce44349b3" providerId="LiveId" clId="{30A766B1-982E-4295-BCAD-093FA0E8E566}" dt="2023-01-18T05:33:07.832" v="14918"/>
          <ac:spMkLst>
            <pc:docMk/>
            <pc:sldMk cId="1007313115" sldId="2420"/>
            <ac:spMk id="3" creationId="{CE2529A3-BA97-486F-9E02-8DFAAA7D8D38}"/>
          </ac:spMkLst>
        </pc:spChg>
        <pc:spChg chg="mod">
          <ac:chgData name="Aurelien Domont" userId="6da7715ce44349b3" providerId="LiveId" clId="{30A766B1-982E-4295-BCAD-093FA0E8E566}" dt="2023-01-18T05:33:07.832" v="14918"/>
          <ac:spMkLst>
            <pc:docMk/>
            <pc:sldMk cId="1007313115" sldId="2420"/>
            <ac:spMk id="16" creationId="{6C2BB713-9637-4B9B-938F-E9768876782A}"/>
          </ac:spMkLst>
        </pc:spChg>
        <pc:picChg chg="del">
          <ac:chgData name="Aurelien Domont" userId="6da7715ce44349b3" providerId="LiveId" clId="{30A766B1-982E-4295-BCAD-093FA0E8E566}" dt="2022-04-26T06:29:30.217" v="5459" actId="478"/>
          <ac:picMkLst>
            <pc:docMk/>
            <pc:sldMk cId="1007313115" sldId="2420"/>
            <ac:picMk id="6" creationId="{6C3BA282-92E4-499D-A1F8-60ABA445F26B}"/>
          </ac:picMkLst>
        </pc:picChg>
        <pc:picChg chg="add mod">
          <ac:chgData name="Aurelien Domont" userId="6da7715ce44349b3" providerId="LiveId" clId="{30A766B1-982E-4295-BCAD-093FA0E8E566}" dt="2022-04-26T06:29:33.856" v="5469" actId="1035"/>
          <ac:picMkLst>
            <pc:docMk/>
            <pc:sldMk cId="1007313115" sldId="2420"/>
            <ac:picMk id="60" creationId="{4A80790F-6316-4A41-A0C9-00378FA2C864}"/>
          </ac:picMkLst>
        </pc:picChg>
      </pc:sldChg>
      <pc:sldChg chg="add del">
        <pc:chgData name="Aurelien Domont" userId="6da7715ce44349b3" providerId="LiveId" clId="{30A766B1-982E-4295-BCAD-093FA0E8E566}" dt="2022-04-26T06:28:00.246" v="5419" actId="47"/>
        <pc:sldMkLst>
          <pc:docMk/>
          <pc:sldMk cId="1847190549" sldId="2420"/>
        </pc:sldMkLst>
      </pc:sldChg>
      <pc:sldChg chg="addSp delSp modSp add mod">
        <pc:chgData name="Aurelien Domont" userId="6da7715ce44349b3" providerId="LiveId" clId="{30A766B1-982E-4295-BCAD-093FA0E8E566}" dt="2023-01-18T05:33:07.832" v="14918"/>
        <pc:sldMkLst>
          <pc:docMk/>
          <pc:sldMk cId="2491430858" sldId="2421"/>
        </pc:sldMkLst>
        <pc:spChg chg="del">
          <ac:chgData name="Aurelien Domont" userId="6da7715ce44349b3" providerId="LiveId" clId="{30A766B1-982E-4295-BCAD-093FA0E8E566}" dt="2022-04-26T06:36:07.305" v="5478" actId="478"/>
          <ac:spMkLst>
            <pc:docMk/>
            <pc:sldMk cId="2491430858" sldId="2421"/>
            <ac:spMk id="2" creationId="{03F8E77D-BBCF-4732-A58D-305F0E3074CA}"/>
          </ac:spMkLst>
        </pc:spChg>
        <pc:spChg chg="mod">
          <ac:chgData name="Aurelien Domont" userId="6da7715ce44349b3" providerId="LiveId" clId="{30A766B1-982E-4295-BCAD-093FA0E8E566}" dt="2023-01-18T05:33:07.832" v="14918"/>
          <ac:spMkLst>
            <pc:docMk/>
            <pc:sldMk cId="2491430858" sldId="2421"/>
            <ac:spMk id="3" creationId="{CE2529A3-BA97-486F-9E02-8DFAAA7D8D38}"/>
          </ac:spMkLst>
        </pc:spChg>
        <pc:spChg chg="add del mod">
          <ac:chgData name="Aurelien Domont" userId="6da7715ce44349b3" providerId="LiveId" clId="{30A766B1-982E-4295-BCAD-093FA0E8E566}" dt="2022-04-26T06:55:37.062" v="5641" actId="478"/>
          <ac:spMkLst>
            <pc:docMk/>
            <pc:sldMk cId="2491430858" sldId="2421"/>
            <ac:spMk id="6" creationId="{80E1F519-3740-469A-8161-4D8F5475F608}"/>
          </ac:spMkLst>
        </pc:spChg>
        <pc:spChg chg="del">
          <ac:chgData name="Aurelien Domont" userId="6da7715ce44349b3" providerId="LiveId" clId="{30A766B1-982E-4295-BCAD-093FA0E8E566}" dt="2022-04-26T06:36:07.305" v="5478" actId="478"/>
          <ac:spMkLst>
            <pc:docMk/>
            <pc:sldMk cId="2491430858" sldId="2421"/>
            <ac:spMk id="14" creationId="{E81E4701-4CC2-46E0-9063-67F64ED36BC3}"/>
          </ac:spMkLst>
        </pc:spChg>
        <pc:spChg chg="del">
          <ac:chgData name="Aurelien Domont" userId="6da7715ce44349b3" providerId="LiveId" clId="{30A766B1-982E-4295-BCAD-093FA0E8E566}" dt="2022-04-26T06:36:07.305" v="5478" actId="478"/>
          <ac:spMkLst>
            <pc:docMk/>
            <pc:sldMk cId="2491430858" sldId="2421"/>
            <ac:spMk id="15" creationId="{7F04332D-16D0-4A8D-A020-D2E97B666270}"/>
          </ac:spMkLst>
        </pc:spChg>
        <pc:spChg chg="mod">
          <ac:chgData name="Aurelien Domont" userId="6da7715ce44349b3" providerId="LiveId" clId="{30A766B1-982E-4295-BCAD-093FA0E8E566}" dt="2023-01-18T05:33:07.832" v="14918"/>
          <ac:spMkLst>
            <pc:docMk/>
            <pc:sldMk cId="2491430858" sldId="2421"/>
            <ac:spMk id="16" creationId="{6C2BB713-9637-4B9B-938F-E9768876782A}"/>
          </ac:spMkLst>
        </pc:spChg>
        <pc:spChg chg="del">
          <ac:chgData name="Aurelien Domont" userId="6da7715ce44349b3" providerId="LiveId" clId="{30A766B1-982E-4295-BCAD-093FA0E8E566}" dt="2022-04-26T06:36:07.305" v="5478" actId="478"/>
          <ac:spMkLst>
            <pc:docMk/>
            <pc:sldMk cId="2491430858" sldId="2421"/>
            <ac:spMk id="17" creationId="{A09E7D10-3B54-4CF6-9361-284110DB8169}"/>
          </ac:spMkLst>
        </pc:spChg>
        <pc:spChg chg="del">
          <ac:chgData name="Aurelien Domont" userId="6da7715ce44349b3" providerId="LiveId" clId="{30A766B1-982E-4295-BCAD-093FA0E8E566}" dt="2022-04-26T06:36:07.305" v="5478" actId="478"/>
          <ac:spMkLst>
            <pc:docMk/>
            <pc:sldMk cId="2491430858" sldId="2421"/>
            <ac:spMk id="18" creationId="{90008F55-D336-458C-BE51-B22E761EE2BE}"/>
          </ac:spMkLst>
        </pc:spChg>
        <pc:spChg chg="del">
          <ac:chgData name="Aurelien Domont" userId="6da7715ce44349b3" providerId="LiveId" clId="{30A766B1-982E-4295-BCAD-093FA0E8E566}" dt="2022-04-26T06:36:07.305" v="5478" actId="478"/>
          <ac:spMkLst>
            <pc:docMk/>
            <pc:sldMk cId="2491430858" sldId="2421"/>
            <ac:spMk id="19" creationId="{E3DB03C6-7BD5-4242-8FF6-A36B3D7828E0}"/>
          </ac:spMkLst>
        </pc:spChg>
        <pc:spChg chg="del">
          <ac:chgData name="Aurelien Domont" userId="6da7715ce44349b3" providerId="LiveId" clId="{30A766B1-982E-4295-BCAD-093FA0E8E566}" dt="2022-04-26T06:36:07.305" v="5478" actId="478"/>
          <ac:spMkLst>
            <pc:docMk/>
            <pc:sldMk cId="2491430858" sldId="2421"/>
            <ac:spMk id="20" creationId="{FBA9AD2A-C34E-4D5E-A6C9-B445014E5340}"/>
          </ac:spMkLst>
        </pc:spChg>
        <pc:spChg chg="del">
          <ac:chgData name="Aurelien Domont" userId="6da7715ce44349b3" providerId="LiveId" clId="{30A766B1-982E-4295-BCAD-093FA0E8E566}" dt="2022-04-26T06:36:07.305" v="5478" actId="478"/>
          <ac:spMkLst>
            <pc:docMk/>
            <pc:sldMk cId="2491430858" sldId="2421"/>
            <ac:spMk id="21" creationId="{41A39270-6587-4957-A8F0-8B889EE134E9}"/>
          </ac:spMkLst>
        </pc:spChg>
        <pc:spChg chg="del">
          <ac:chgData name="Aurelien Domont" userId="6da7715ce44349b3" providerId="LiveId" clId="{30A766B1-982E-4295-BCAD-093FA0E8E566}" dt="2022-04-26T06:36:07.305" v="5478" actId="478"/>
          <ac:spMkLst>
            <pc:docMk/>
            <pc:sldMk cId="2491430858" sldId="2421"/>
            <ac:spMk id="22" creationId="{3663E822-9067-4A07-8247-D139EC8DFA35}"/>
          </ac:spMkLst>
        </pc:spChg>
        <pc:spChg chg="del">
          <ac:chgData name="Aurelien Domont" userId="6da7715ce44349b3" providerId="LiveId" clId="{30A766B1-982E-4295-BCAD-093FA0E8E566}" dt="2022-04-26T06:36:07.305" v="5478" actId="478"/>
          <ac:spMkLst>
            <pc:docMk/>
            <pc:sldMk cId="2491430858" sldId="2421"/>
            <ac:spMk id="23" creationId="{B23F8E11-6B5D-41D4-9EBA-A3FBA9EA8E6D}"/>
          </ac:spMkLst>
        </pc:spChg>
        <pc:spChg chg="del">
          <ac:chgData name="Aurelien Domont" userId="6da7715ce44349b3" providerId="LiveId" clId="{30A766B1-982E-4295-BCAD-093FA0E8E566}" dt="2022-04-26T06:36:07.305" v="5478" actId="478"/>
          <ac:spMkLst>
            <pc:docMk/>
            <pc:sldMk cId="2491430858" sldId="2421"/>
            <ac:spMk id="24" creationId="{4DA0DE2D-CF50-456F-A3B9-426D21B337E1}"/>
          </ac:spMkLst>
        </pc:spChg>
        <pc:spChg chg="add mod">
          <ac:chgData name="Aurelien Domont" userId="6da7715ce44349b3" providerId="LiveId" clId="{30A766B1-982E-4295-BCAD-093FA0E8E566}" dt="2022-04-27T04:57:07.746" v="6303" actId="14100"/>
          <ac:spMkLst>
            <pc:docMk/>
            <pc:sldMk cId="2491430858" sldId="2421"/>
            <ac:spMk id="24" creationId="{83A9CD77-ADAB-41C7-817C-8A06F22EB74B}"/>
          </ac:spMkLst>
        </pc:spChg>
        <pc:spChg chg="del">
          <ac:chgData name="Aurelien Domont" userId="6da7715ce44349b3" providerId="LiveId" clId="{30A766B1-982E-4295-BCAD-093FA0E8E566}" dt="2022-04-26T06:36:07.305" v="5478" actId="478"/>
          <ac:spMkLst>
            <pc:docMk/>
            <pc:sldMk cId="2491430858" sldId="2421"/>
            <ac:spMk id="25" creationId="{2DFD58DA-8658-4F43-8253-A564AB15F767}"/>
          </ac:spMkLst>
        </pc:spChg>
        <pc:spChg chg="add mod">
          <ac:chgData name="Aurelien Domont" userId="6da7715ce44349b3" providerId="LiveId" clId="{30A766B1-982E-4295-BCAD-093FA0E8E566}" dt="2022-04-27T04:41:28.117" v="5873" actId="164"/>
          <ac:spMkLst>
            <pc:docMk/>
            <pc:sldMk cId="2491430858" sldId="2421"/>
            <ac:spMk id="25" creationId="{8D00DE4F-91A1-46A5-A494-F7A5B9C2F0AF}"/>
          </ac:spMkLst>
        </pc:spChg>
        <pc:spChg chg="add mod">
          <ac:chgData name="Aurelien Domont" userId="6da7715ce44349b3" providerId="LiveId" clId="{30A766B1-982E-4295-BCAD-093FA0E8E566}" dt="2022-04-27T04:41:28.117" v="5873" actId="164"/>
          <ac:spMkLst>
            <pc:docMk/>
            <pc:sldMk cId="2491430858" sldId="2421"/>
            <ac:spMk id="26" creationId="{442569BB-3E57-48C7-BA06-5269380BB367}"/>
          </ac:spMkLst>
        </pc:spChg>
        <pc:spChg chg="del">
          <ac:chgData name="Aurelien Domont" userId="6da7715ce44349b3" providerId="LiveId" clId="{30A766B1-982E-4295-BCAD-093FA0E8E566}" dt="2022-04-26T06:36:07.305" v="5478" actId="478"/>
          <ac:spMkLst>
            <pc:docMk/>
            <pc:sldMk cId="2491430858" sldId="2421"/>
            <ac:spMk id="26" creationId="{EC611C6C-4CB2-46B6-B1FA-D5C97019812A}"/>
          </ac:spMkLst>
        </pc:spChg>
        <pc:spChg chg="add mod">
          <ac:chgData name="Aurelien Domont" userId="6da7715ce44349b3" providerId="LiveId" clId="{30A766B1-982E-4295-BCAD-093FA0E8E566}" dt="2022-04-27T04:57:15.529" v="6310" actId="1036"/>
          <ac:spMkLst>
            <pc:docMk/>
            <pc:sldMk cId="2491430858" sldId="2421"/>
            <ac:spMk id="27" creationId="{AC8B7369-7E6F-43E6-96D5-9FE68700ADE3}"/>
          </ac:spMkLst>
        </pc:spChg>
        <pc:spChg chg="del">
          <ac:chgData name="Aurelien Domont" userId="6da7715ce44349b3" providerId="LiveId" clId="{30A766B1-982E-4295-BCAD-093FA0E8E566}" dt="2022-04-26T06:36:07.305" v="5478" actId="478"/>
          <ac:spMkLst>
            <pc:docMk/>
            <pc:sldMk cId="2491430858" sldId="2421"/>
            <ac:spMk id="33" creationId="{49C1549D-9B1C-4092-90D3-07143C52B116}"/>
          </ac:spMkLst>
        </pc:spChg>
        <pc:spChg chg="del">
          <ac:chgData name="Aurelien Domont" userId="6da7715ce44349b3" providerId="LiveId" clId="{30A766B1-982E-4295-BCAD-093FA0E8E566}" dt="2022-04-26T06:36:07.305" v="5478" actId="478"/>
          <ac:spMkLst>
            <pc:docMk/>
            <pc:sldMk cId="2491430858" sldId="2421"/>
            <ac:spMk id="34" creationId="{DB161EA4-7D9F-4329-9B92-33D4C2CAA3AA}"/>
          </ac:spMkLst>
        </pc:spChg>
        <pc:spChg chg="del">
          <ac:chgData name="Aurelien Domont" userId="6da7715ce44349b3" providerId="LiveId" clId="{30A766B1-982E-4295-BCAD-093FA0E8E566}" dt="2022-04-26T06:36:07.305" v="5478" actId="478"/>
          <ac:spMkLst>
            <pc:docMk/>
            <pc:sldMk cId="2491430858" sldId="2421"/>
            <ac:spMk id="35" creationId="{FBB6F59F-1FD9-489A-B165-5DBD3F78D88E}"/>
          </ac:spMkLst>
        </pc:spChg>
        <pc:spChg chg="del">
          <ac:chgData name="Aurelien Domont" userId="6da7715ce44349b3" providerId="LiveId" clId="{30A766B1-982E-4295-BCAD-093FA0E8E566}" dt="2022-04-26T06:36:07.305" v="5478" actId="478"/>
          <ac:spMkLst>
            <pc:docMk/>
            <pc:sldMk cId="2491430858" sldId="2421"/>
            <ac:spMk id="36" creationId="{A698C4AA-3B1F-4943-91B4-FDFC687EACB4}"/>
          </ac:spMkLst>
        </pc:spChg>
        <pc:spChg chg="del">
          <ac:chgData name="Aurelien Domont" userId="6da7715ce44349b3" providerId="LiveId" clId="{30A766B1-982E-4295-BCAD-093FA0E8E566}" dt="2022-04-26T06:36:07.305" v="5478" actId="478"/>
          <ac:spMkLst>
            <pc:docMk/>
            <pc:sldMk cId="2491430858" sldId="2421"/>
            <ac:spMk id="37" creationId="{F5712D72-5B7D-4385-8135-5227344ED41E}"/>
          </ac:spMkLst>
        </pc:spChg>
        <pc:spChg chg="del">
          <ac:chgData name="Aurelien Domont" userId="6da7715ce44349b3" providerId="LiveId" clId="{30A766B1-982E-4295-BCAD-093FA0E8E566}" dt="2022-04-26T06:36:07.305" v="5478" actId="478"/>
          <ac:spMkLst>
            <pc:docMk/>
            <pc:sldMk cId="2491430858" sldId="2421"/>
            <ac:spMk id="38" creationId="{F519CD79-1CF4-4EFE-8E05-C4D49C9F394A}"/>
          </ac:spMkLst>
        </pc:spChg>
        <pc:spChg chg="del">
          <ac:chgData name="Aurelien Domont" userId="6da7715ce44349b3" providerId="LiveId" clId="{30A766B1-982E-4295-BCAD-093FA0E8E566}" dt="2022-04-26T06:36:07.305" v="5478" actId="478"/>
          <ac:spMkLst>
            <pc:docMk/>
            <pc:sldMk cId="2491430858" sldId="2421"/>
            <ac:spMk id="39" creationId="{E8320E40-5BB8-48C0-8024-855D1EC2D3A1}"/>
          </ac:spMkLst>
        </pc:spChg>
        <pc:spChg chg="del">
          <ac:chgData name="Aurelien Domont" userId="6da7715ce44349b3" providerId="LiveId" clId="{30A766B1-982E-4295-BCAD-093FA0E8E566}" dt="2022-04-26T06:36:07.305" v="5478" actId="478"/>
          <ac:spMkLst>
            <pc:docMk/>
            <pc:sldMk cId="2491430858" sldId="2421"/>
            <ac:spMk id="40" creationId="{3C6FEF3C-D22E-40A9-B9D4-FE37B8CE245B}"/>
          </ac:spMkLst>
        </pc:spChg>
        <pc:spChg chg="del">
          <ac:chgData name="Aurelien Domont" userId="6da7715ce44349b3" providerId="LiveId" clId="{30A766B1-982E-4295-BCAD-093FA0E8E566}" dt="2022-04-26T06:36:07.305" v="5478" actId="478"/>
          <ac:spMkLst>
            <pc:docMk/>
            <pc:sldMk cId="2491430858" sldId="2421"/>
            <ac:spMk id="41" creationId="{843D3F0E-0D5D-4A01-A3AC-07A646AF9249}"/>
          </ac:spMkLst>
        </pc:spChg>
        <pc:spChg chg="del">
          <ac:chgData name="Aurelien Domont" userId="6da7715ce44349b3" providerId="LiveId" clId="{30A766B1-982E-4295-BCAD-093FA0E8E566}" dt="2022-04-26T06:36:07.305" v="5478" actId="478"/>
          <ac:spMkLst>
            <pc:docMk/>
            <pc:sldMk cId="2491430858" sldId="2421"/>
            <ac:spMk id="42" creationId="{C9F03D96-E7CA-400F-AB37-EB9BF00F8B7B}"/>
          </ac:spMkLst>
        </pc:spChg>
        <pc:spChg chg="del">
          <ac:chgData name="Aurelien Domont" userId="6da7715ce44349b3" providerId="LiveId" clId="{30A766B1-982E-4295-BCAD-093FA0E8E566}" dt="2022-04-26T06:36:07.305" v="5478" actId="478"/>
          <ac:spMkLst>
            <pc:docMk/>
            <pc:sldMk cId="2491430858" sldId="2421"/>
            <ac:spMk id="43" creationId="{BD78135D-48AB-4B95-9128-2FE27F3D6BED}"/>
          </ac:spMkLst>
        </pc:spChg>
        <pc:spChg chg="del">
          <ac:chgData name="Aurelien Domont" userId="6da7715ce44349b3" providerId="LiveId" clId="{30A766B1-982E-4295-BCAD-093FA0E8E566}" dt="2022-04-26T06:36:07.305" v="5478" actId="478"/>
          <ac:spMkLst>
            <pc:docMk/>
            <pc:sldMk cId="2491430858" sldId="2421"/>
            <ac:spMk id="44" creationId="{C2E9B872-57A6-4A89-B43A-00757C4E84FB}"/>
          </ac:spMkLst>
        </pc:spChg>
        <pc:spChg chg="del">
          <ac:chgData name="Aurelien Domont" userId="6da7715ce44349b3" providerId="LiveId" clId="{30A766B1-982E-4295-BCAD-093FA0E8E566}" dt="2022-04-26T06:36:07.305" v="5478" actId="478"/>
          <ac:spMkLst>
            <pc:docMk/>
            <pc:sldMk cId="2491430858" sldId="2421"/>
            <ac:spMk id="45" creationId="{D97F894A-74C1-4E77-8F08-86385C0105A5}"/>
          </ac:spMkLst>
        </pc:spChg>
        <pc:spChg chg="del">
          <ac:chgData name="Aurelien Domont" userId="6da7715ce44349b3" providerId="LiveId" clId="{30A766B1-982E-4295-BCAD-093FA0E8E566}" dt="2022-04-26T06:36:07.305" v="5478" actId="478"/>
          <ac:spMkLst>
            <pc:docMk/>
            <pc:sldMk cId="2491430858" sldId="2421"/>
            <ac:spMk id="46" creationId="{45D33858-ED80-4890-870B-AA1386B67BC7}"/>
          </ac:spMkLst>
        </pc:spChg>
        <pc:spChg chg="del">
          <ac:chgData name="Aurelien Domont" userId="6da7715ce44349b3" providerId="LiveId" clId="{30A766B1-982E-4295-BCAD-093FA0E8E566}" dt="2022-04-26T06:36:07.305" v="5478" actId="478"/>
          <ac:spMkLst>
            <pc:docMk/>
            <pc:sldMk cId="2491430858" sldId="2421"/>
            <ac:spMk id="47" creationId="{A1CF06F8-CD9E-4A53-80AA-FEACEE4B13B7}"/>
          </ac:spMkLst>
        </pc:spChg>
        <pc:spChg chg="del">
          <ac:chgData name="Aurelien Domont" userId="6da7715ce44349b3" providerId="LiveId" clId="{30A766B1-982E-4295-BCAD-093FA0E8E566}" dt="2022-04-26T06:36:07.305" v="5478" actId="478"/>
          <ac:spMkLst>
            <pc:docMk/>
            <pc:sldMk cId="2491430858" sldId="2421"/>
            <ac:spMk id="48" creationId="{A7784188-B51E-43E0-92DC-18E8068D3545}"/>
          </ac:spMkLst>
        </pc:spChg>
        <pc:spChg chg="del">
          <ac:chgData name="Aurelien Domont" userId="6da7715ce44349b3" providerId="LiveId" clId="{30A766B1-982E-4295-BCAD-093FA0E8E566}" dt="2022-04-26T06:36:07.305" v="5478" actId="478"/>
          <ac:spMkLst>
            <pc:docMk/>
            <pc:sldMk cId="2491430858" sldId="2421"/>
            <ac:spMk id="49" creationId="{38212FCD-91E3-46BE-8AE1-586EFEB11F66}"/>
          </ac:spMkLst>
        </pc:spChg>
        <pc:spChg chg="del">
          <ac:chgData name="Aurelien Domont" userId="6da7715ce44349b3" providerId="LiveId" clId="{30A766B1-982E-4295-BCAD-093FA0E8E566}" dt="2022-04-26T06:36:07.305" v="5478" actId="478"/>
          <ac:spMkLst>
            <pc:docMk/>
            <pc:sldMk cId="2491430858" sldId="2421"/>
            <ac:spMk id="50" creationId="{9ECC0628-63CC-4CE3-AD4A-94ACDF7E34F0}"/>
          </ac:spMkLst>
        </pc:spChg>
        <pc:spChg chg="del">
          <ac:chgData name="Aurelien Domont" userId="6da7715ce44349b3" providerId="LiveId" clId="{30A766B1-982E-4295-BCAD-093FA0E8E566}" dt="2022-04-26T06:36:07.305" v="5478" actId="478"/>
          <ac:spMkLst>
            <pc:docMk/>
            <pc:sldMk cId="2491430858" sldId="2421"/>
            <ac:spMk id="51" creationId="{5C595A5D-5149-4192-B8F5-A811491B613B}"/>
          </ac:spMkLst>
        </pc:spChg>
        <pc:spChg chg="del">
          <ac:chgData name="Aurelien Domont" userId="6da7715ce44349b3" providerId="LiveId" clId="{30A766B1-982E-4295-BCAD-093FA0E8E566}" dt="2022-04-26T06:36:07.305" v="5478" actId="478"/>
          <ac:spMkLst>
            <pc:docMk/>
            <pc:sldMk cId="2491430858" sldId="2421"/>
            <ac:spMk id="52" creationId="{D054DCB5-357A-4A97-9092-9515D5A337B1}"/>
          </ac:spMkLst>
        </pc:spChg>
        <pc:spChg chg="del">
          <ac:chgData name="Aurelien Domont" userId="6da7715ce44349b3" providerId="LiveId" clId="{30A766B1-982E-4295-BCAD-093FA0E8E566}" dt="2022-04-26T06:36:07.305" v="5478" actId="478"/>
          <ac:spMkLst>
            <pc:docMk/>
            <pc:sldMk cId="2491430858" sldId="2421"/>
            <ac:spMk id="53" creationId="{E19A5A81-B74B-49D5-AC5E-5448C335DA71}"/>
          </ac:spMkLst>
        </pc:spChg>
        <pc:spChg chg="del">
          <ac:chgData name="Aurelien Domont" userId="6da7715ce44349b3" providerId="LiveId" clId="{30A766B1-982E-4295-BCAD-093FA0E8E566}" dt="2022-04-26T06:36:07.305" v="5478" actId="478"/>
          <ac:spMkLst>
            <pc:docMk/>
            <pc:sldMk cId="2491430858" sldId="2421"/>
            <ac:spMk id="54" creationId="{16FB81E8-D44E-452B-BD90-7889A004F2FF}"/>
          </ac:spMkLst>
        </pc:spChg>
        <pc:spChg chg="del">
          <ac:chgData name="Aurelien Domont" userId="6da7715ce44349b3" providerId="LiveId" clId="{30A766B1-982E-4295-BCAD-093FA0E8E566}" dt="2022-04-26T06:36:07.305" v="5478" actId="478"/>
          <ac:spMkLst>
            <pc:docMk/>
            <pc:sldMk cId="2491430858" sldId="2421"/>
            <ac:spMk id="55" creationId="{AC41087D-673C-4E67-BE78-6842C699457B}"/>
          </ac:spMkLst>
        </pc:spChg>
        <pc:spChg chg="del">
          <ac:chgData name="Aurelien Domont" userId="6da7715ce44349b3" providerId="LiveId" clId="{30A766B1-982E-4295-BCAD-093FA0E8E566}" dt="2022-04-26T06:36:07.305" v="5478" actId="478"/>
          <ac:spMkLst>
            <pc:docMk/>
            <pc:sldMk cId="2491430858" sldId="2421"/>
            <ac:spMk id="56" creationId="{3609C396-58B7-45BD-8404-F6E6A201D20F}"/>
          </ac:spMkLst>
        </pc:spChg>
        <pc:spChg chg="del">
          <ac:chgData name="Aurelien Domont" userId="6da7715ce44349b3" providerId="LiveId" clId="{30A766B1-982E-4295-BCAD-093FA0E8E566}" dt="2022-04-26T06:36:07.305" v="5478" actId="478"/>
          <ac:spMkLst>
            <pc:docMk/>
            <pc:sldMk cId="2491430858" sldId="2421"/>
            <ac:spMk id="57" creationId="{EE7D2478-FB66-4622-943C-F892C3813381}"/>
          </ac:spMkLst>
        </pc:spChg>
        <pc:spChg chg="del">
          <ac:chgData name="Aurelien Domont" userId="6da7715ce44349b3" providerId="LiveId" clId="{30A766B1-982E-4295-BCAD-093FA0E8E566}" dt="2022-04-26T06:36:07.305" v="5478" actId="478"/>
          <ac:spMkLst>
            <pc:docMk/>
            <pc:sldMk cId="2491430858" sldId="2421"/>
            <ac:spMk id="58" creationId="{CAF8F8A1-5367-4712-91EF-584709ABAB7E}"/>
          </ac:spMkLst>
        </pc:spChg>
        <pc:spChg chg="del">
          <ac:chgData name="Aurelien Domont" userId="6da7715ce44349b3" providerId="LiveId" clId="{30A766B1-982E-4295-BCAD-093FA0E8E566}" dt="2022-04-26T06:36:07.305" v="5478" actId="478"/>
          <ac:spMkLst>
            <pc:docMk/>
            <pc:sldMk cId="2491430858" sldId="2421"/>
            <ac:spMk id="59" creationId="{145FF42F-9319-47FC-B6AE-D3C67A18BBBB}"/>
          </ac:spMkLst>
        </pc:spChg>
        <pc:spChg chg="del">
          <ac:chgData name="Aurelien Domont" userId="6da7715ce44349b3" providerId="LiveId" clId="{30A766B1-982E-4295-BCAD-093FA0E8E566}" dt="2022-04-26T06:36:07.305" v="5478" actId="478"/>
          <ac:spMkLst>
            <pc:docMk/>
            <pc:sldMk cId="2491430858" sldId="2421"/>
            <ac:spMk id="61" creationId="{1463F3F6-3218-4E18-8CA2-45AE9FC76CEE}"/>
          </ac:spMkLst>
        </pc:spChg>
        <pc:spChg chg="add del mod topLvl">
          <ac:chgData name="Aurelien Domont" userId="6da7715ce44349b3" providerId="LiveId" clId="{30A766B1-982E-4295-BCAD-093FA0E8E566}" dt="2022-04-26T06:50:37.234" v="5543" actId="478"/>
          <ac:spMkLst>
            <pc:docMk/>
            <pc:sldMk cId="2491430858" sldId="2421"/>
            <ac:spMk id="66" creationId="{CEBAB835-D57C-482F-8334-284CD3E00B47}"/>
          </ac:spMkLst>
        </pc:spChg>
        <pc:spChg chg="add del mod topLvl">
          <ac:chgData name="Aurelien Domont" userId="6da7715ce44349b3" providerId="LiveId" clId="{30A766B1-982E-4295-BCAD-093FA0E8E566}" dt="2022-04-26T06:50:37.234" v="5543" actId="478"/>
          <ac:spMkLst>
            <pc:docMk/>
            <pc:sldMk cId="2491430858" sldId="2421"/>
            <ac:spMk id="67" creationId="{13EDD6EB-1277-4C4B-9D18-23A1BB549E63}"/>
          </ac:spMkLst>
        </pc:spChg>
        <pc:spChg chg="add del mod topLvl">
          <ac:chgData name="Aurelien Domont" userId="6da7715ce44349b3" providerId="LiveId" clId="{30A766B1-982E-4295-BCAD-093FA0E8E566}" dt="2022-04-26T06:50:37.234" v="5543" actId="478"/>
          <ac:spMkLst>
            <pc:docMk/>
            <pc:sldMk cId="2491430858" sldId="2421"/>
            <ac:spMk id="68" creationId="{DD767ED9-34DD-47DF-AE3A-90F2BA56AF66}"/>
          </ac:spMkLst>
        </pc:spChg>
        <pc:spChg chg="add del mod topLvl">
          <ac:chgData name="Aurelien Domont" userId="6da7715ce44349b3" providerId="LiveId" clId="{30A766B1-982E-4295-BCAD-093FA0E8E566}" dt="2022-04-26T06:50:37.234" v="5543" actId="478"/>
          <ac:spMkLst>
            <pc:docMk/>
            <pc:sldMk cId="2491430858" sldId="2421"/>
            <ac:spMk id="69" creationId="{69ED359D-00F3-46D2-8D6A-44BE724E65EC}"/>
          </ac:spMkLst>
        </pc:spChg>
        <pc:spChg chg="add del mod topLvl">
          <ac:chgData name="Aurelien Domont" userId="6da7715ce44349b3" providerId="LiveId" clId="{30A766B1-982E-4295-BCAD-093FA0E8E566}" dt="2022-04-26T06:50:37.234" v="5543" actId="478"/>
          <ac:spMkLst>
            <pc:docMk/>
            <pc:sldMk cId="2491430858" sldId="2421"/>
            <ac:spMk id="70" creationId="{81BDA501-EF06-44FF-8444-0EB2E31B4DC7}"/>
          </ac:spMkLst>
        </pc:spChg>
        <pc:spChg chg="add del mod topLvl">
          <ac:chgData name="Aurelien Domont" userId="6da7715ce44349b3" providerId="LiveId" clId="{30A766B1-982E-4295-BCAD-093FA0E8E566}" dt="2022-04-26T06:50:37.234" v="5543" actId="478"/>
          <ac:spMkLst>
            <pc:docMk/>
            <pc:sldMk cId="2491430858" sldId="2421"/>
            <ac:spMk id="71" creationId="{842E97A2-7BB7-49E2-8F62-9A11E0134724}"/>
          </ac:spMkLst>
        </pc:spChg>
        <pc:spChg chg="add del mod topLvl">
          <ac:chgData name="Aurelien Domont" userId="6da7715ce44349b3" providerId="LiveId" clId="{30A766B1-982E-4295-BCAD-093FA0E8E566}" dt="2022-04-26T06:50:37.234" v="5543" actId="478"/>
          <ac:spMkLst>
            <pc:docMk/>
            <pc:sldMk cId="2491430858" sldId="2421"/>
            <ac:spMk id="72" creationId="{88F2A4D2-0E9B-424D-ACD1-AB64C12C3F87}"/>
          </ac:spMkLst>
        </pc:spChg>
        <pc:spChg chg="add del mod topLvl">
          <ac:chgData name="Aurelien Domont" userId="6da7715ce44349b3" providerId="LiveId" clId="{30A766B1-982E-4295-BCAD-093FA0E8E566}" dt="2022-04-26T06:50:37.234" v="5543" actId="478"/>
          <ac:spMkLst>
            <pc:docMk/>
            <pc:sldMk cId="2491430858" sldId="2421"/>
            <ac:spMk id="73" creationId="{31958B51-E32F-46EA-9829-FBDA1F4C4F3C}"/>
          </ac:spMkLst>
        </pc:spChg>
        <pc:spChg chg="add del mod topLvl">
          <ac:chgData name="Aurelien Domont" userId="6da7715ce44349b3" providerId="LiveId" clId="{30A766B1-982E-4295-BCAD-093FA0E8E566}" dt="2022-04-26T06:50:37.234" v="5543" actId="478"/>
          <ac:spMkLst>
            <pc:docMk/>
            <pc:sldMk cId="2491430858" sldId="2421"/>
            <ac:spMk id="74" creationId="{89EE38A0-61DD-4BF6-8191-BBC04140D6F0}"/>
          </ac:spMkLst>
        </pc:spChg>
        <pc:spChg chg="add del mod topLvl">
          <ac:chgData name="Aurelien Domont" userId="6da7715ce44349b3" providerId="LiveId" clId="{30A766B1-982E-4295-BCAD-093FA0E8E566}" dt="2022-04-26T06:50:37.234" v="5543" actId="478"/>
          <ac:spMkLst>
            <pc:docMk/>
            <pc:sldMk cId="2491430858" sldId="2421"/>
            <ac:spMk id="75" creationId="{2EEA615C-362C-44D7-AE94-7434501E393A}"/>
          </ac:spMkLst>
        </pc:spChg>
        <pc:spChg chg="mod">
          <ac:chgData name="Aurelien Domont" userId="6da7715ce44349b3" providerId="LiveId" clId="{30A766B1-982E-4295-BCAD-093FA0E8E566}" dt="2022-04-26T06:37:09.767" v="5491" actId="165"/>
          <ac:spMkLst>
            <pc:docMk/>
            <pc:sldMk cId="2491430858" sldId="2421"/>
            <ac:spMk id="78" creationId="{5E5F3D7B-B470-45C3-8137-854F4AC0A7A0}"/>
          </ac:spMkLst>
        </pc:spChg>
        <pc:spChg chg="mod">
          <ac:chgData name="Aurelien Domont" userId="6da7715ce44349b3" providerId="LiveId" clId="{30A766B1-982E-4295-BCAD-093FA0E8E566}" dt="2022-04-26T06:37:09.767" v="5491" actId="165"/>
          <ac:spMkLst>
            <pc:docMk/>
            <pc:sldMk cId="2491430858" sldId="2421"/>
            <ac:spMk id="79" creationId="{25780123-37BB-41C4-92FD-14F8888D992B}"/>
          </ac:spMkLst>
        </pc:spChg>
        <pc:spChg chg="mod">
          <ac:chgData name="Aurelien Domont" userId="6da7715ce44349b3" providerId="LiveId" clId="{30A766B1-982E-4295-BCAD-093FA0E8E566}" dt="2022-04-26T06:37:09.767" v="5491" actId="165"/>
          <ac:spMkLst>
            <pc:docMk/>
            <pc:sldMk cId="2491430858" sldId="2421"/>
            <ac:spMk id="80" creationId="{27217988-FD5B-4F7F-820F-E485E64743CD}"/>
          </ac:spMkLst>
        </pc:spChg>
        <pc:spChg chg="mod">
          <ac:chgData name="Aurelien Domont" userId="6da7715ce44349b3" providerId="LiveId" clId="{30A766B1-982E-4295-BCAD-093FA0E8E566}" dt="2022-04-26T06:37:09.767" v="5491" actId="165"/>
          <ac:spMkLst>
            <pc:docMk/>
            <pc:sldMk cId="2491430858" sldId="2421"/>
            <ac:spMk id="81" creationId="{0721AA04-CE66-4B36-B5A9-BDAF932BAFA1}"/>
          </ac:spMkLst>
        </pc:spChg>
        <pc:spChg chg="add del mod topLvl">
          <ac:chgData name="Aurelien Domont" userId="6da7715ce44349b3" providerId="LiveId" clId="{30A766B1-982E-4295-BCAD-093FA0E8E566}" dt="2022-04-26T06:50:37.234" v="5543" actId="478"/>
          <ac:spMkLst>
            <pc:docMk/>
            <pc:sldMk cId="2491430858" sldId="2421"/>
            <ac:spMk id="82" creationId="{F5A2FC8C-E08F-45FC-9AF2-612163699011}"/>
          </ac:spMkLst>
        </pc:spChg>
        <pc:spChg chg="add del mod">
          <ac:chgData name="Aurelien Domont" userId="6da7715ce44349b3" providerId="LiveId" clId="{30A766B1-982E-4295-BCAD-093FA0E8E566}" dt="2022-04-26T06:50:37.234" v="5543" actId="478"/>
          <ac:spMkLst>
            <pc:docMk/>
            <pc:sldMk cId="2491430858" sldId="2421"/>
            <ac:spMk id="83" creationId="{8273B518-D1EF-4D04-96F5-21E4A96E8623}"/>
          </ac:spMkLst>
        </pc:spChg>
        <pc:spChg chg="add del mod">
          <ac:chgData name="Aurelien Domont" userId="6da7715ce44349b3" providerId="LiveId" clId="{30A766B1-982E-4295-BCAD-093FA0E8E566}" dt="2022-04-26T06:50:51.624" v="5548" actId="478"/>
          <ac:spMkLst>
            <pc:docMk/>
            <pc:sldMk cId="2491430858" sldId="2421"/>
            <ac:spMk id="84" creationId="{D4D6EF05-18A2-4EED-83BE-63F0E54D3D92}"/>
          </ac:spMkLst>
        </pc:spChg>
        <pc:spChg chg="add del mod topLvl">
          <ac:chgData name="Aurelien Domont" userId="6da7715ce44349b3" providerId="LiveId" clId="{30A766B1-982E-4295-BCAD-093FA0E8E566}" dt="2022-04-26T06:52:26.217" v="5566" actId="478"/>
          <ac:spMkLst>
            <pc:docMk/>
            <pc:sldMk cId="2491430858" sldId="2421"/>
            <ac:spMk id="85" creationId="{BB430BCD-9A03-4E2E-9199-7265D0A0C47E}"/>
          </ac:spMkLst>
        </pc:spChg>
        <pc:spChg chg="add del mod topLvl">
          <ac:chgData name="Aurelien Domont" userId="6da7715ce44349b3" providerId="LiveId" clId="{30A766B1-982E-4295-BCAD-093FA0E8E566}" dt="2022-04-26T06:52:26.217" v="5566" actId="478"/>
          <ac:spMkLst>
            <pc:docMk/>
            <pc:sldMk cId="2491430858" sldId="2421"/>
            <ac:spMk id="86" creationId="{84F8C4B2-CA16-410A-B54D-2AA70F6C3471}"/>
          </ac:spMkLst>
        </pc:spChg>
        <pc:spChg chg="add del mod topLvl">
          <ac:chgData name="Aurelien Domont" userId="6da7715ce44349b3" providerId="LiveId" clId="{30A766B1-982E-4295-BCAD-093FA0E8E566}" dt="2022-04-26T06:52:26.217" v="5566" actId="478"/>
          <ac:spMkLst>
            <pc:docMk/>
            <pc:sldMk cId="2491430858" sldId="2421"/>
            <ac:spMk id="87" creationId="{60E69179-74E2-41D0-9EAF-789E939B1F93}"/>
          </ac:spMkLst>
        </pc:spChg>
        <pc:spChg chg="add del mod topLvl">
          <ac:chgData name="Aurelien Domont" userId="6da7715ce44349b3" providerId="LiveId" clId="{30A766B1-982E-4295-BCAD-093FA0E8E566}" dt="2022-04-26T06:52:26.217" v="5566" actId="478"/>
          <ac:spMkLst>
            <pc:docMk/>
            <pc:sldMk cId="2491430858" sldId="2421"/>
            <ac:spMk id="88" creationId="{690DFD6F-2A9F-4A31-A1F0-4A4AD3C8777E}"/>
          </ac:spMkLst>
        </pc:spChg>
        <pc:spChg chg="add del mod">
          <ac:chgData name="Aurelien Domont" userId="6da7715ce44349b3" providerId="LiveId" clId="{30A766B1-982E-4295-BCAD-093FA0E8E566}" dt="2022-04-27T04:39:46.461" v="5841" actId="478"/>
          <ac:spMkLst>
            <pc:docMk/>
            <pc:sldMk cId="2491430858" sldId="2421"/>
            <ac:spMk id="89" creationId="{F54E783C-428C-4ACB-9CCA-0F131DFBCD93}"/>
          </ac:spMkLst>
        </pc:spChg>
        <pc:spChg chg="add del mod">
          <ac:chgData name="Aurelien Domont" userId="6da7715ce44349b3" providerId="LiveId" clId="{30A766B1-982E-4295-BCAD-093FA0E8E566}" dt="2022-04-26T06:54:13.211" v="5613" actId="478"/>
          <ac:spMkLst>
            <pc:docMk/>
            <pc:sldMk cId="2491430858" sldId="2421"/>
            <ac:spMk id="90" creationId="{C1A61754-B2F0-4B68-AFEB-E3393AD8F811}"/>
          </ac:spMkLst>
        </pc:spChg>
        <pc:spChg chg="add del mod">
          <ac:chgData name="Aurelien Domont" userId="6da7715ce44349b3" providerId="LiveId" clId="{30A766B1-982E-4295-BCAD-093FA0E8E566}" dt="2022-04-27T04:39:46.461" v="5841" actId="478"/>
          <ac:spMkLst>
            <pc:docMk/>
            <pc:sldMk cId="2491430858" sldId="2421"/>
            <ac:spMk id="91" creationId="{54D58893-7FD7-4B48-A7C1-C595BE4567CB}"/>
          </ac:spMkLst>
        </pc:spChg>
        <pc:spChg chg="add del mod">
          <ac:chgData name="Aurelien Domont" userId="6da7715ce44349b3" providerId="LiveId" clId="{30A766B1-982E-4295-BCAD-093FA0E8E566}" dt="2022-04-26T06:54:09.617" v="5611" actId="478"/>
          <ac:spMkLst>
            <pc:docMk/>
            <pc:sldMk cId="2491430858" sldId="2421"/>
            <ac:spMk id="92" creationId="{4049DE53-E45A-4157-A9D1-C751B2F831DC}"/>
          </ac:spMkLst>
        </pc:spChg>
        <pc:spChg chg="add del mod">
          <ac:chgData name="Aurelien Domont" userId="6da7715ce44349b3" providerId="LiveId" clId="{30A766B1-982E-4295-BCAD-093FA0E8E566}" dt="2022-04-27T04:39:46.461" v="5841" actId="478"/>
          <ac:spMkLst>
            <pc:docMk/>
            <pc:sldMk cId="2491430858" sldId="2421"/>
            <ac:spMk id="93" creationId="{1A4ECCBD-515E-4F51-BCA3-54EA0A8EDE51}"/>
          </ac:spMkLst>
        </pc:spChg>
        <pc:spChg chg="add del mod">
          <ac:chgData name="Aurelien Domont" userId="6da7715ce44349b3" providerId="LiveId" clId="{30A766B1-982E-4295-BCAD-093FA0E8E566}" dt="2022-04-26T06:54:11.523" v="5612" actId="478"/>
          <ac:spMkLst>
            <pc:docMk/>
            <pc:sldMk cId="2491430858" sldId="2421"/>
            <ac:spMk id="94" creationId="{9FD41A6E-9F7A-4D91-B9A0-BA67726462B4}"/>
          </ac:spMkLst>
        </pc:spChg>
        <pc:spChg chg="add del mod">
          <ac:chgData name="Aurelien Domont" userId="6da7715ce44349b3" providerId="LiveId" clId="{30A766B1-982E-4295-BCAD-093FA0E8E566}" dt="2022-04-27T04:39:46.461" v="5841" actId="478"/>
          <ac:spMkLst>
            <pc:docMk/>
            <pc:sldMk cId="2491430858" sldId="2421"/>
            <ac:spMk id="95" creationId="{2E62BF26-0BD5-4C16-B50A-E8AB06F59149}"/>
          </ac:spMkLst>
        </pc:spChg>
        <pc:spChg chg="add del mod">
          <ac:chgData name="Aurelien Domont" userId="6da7715ce44349b3" providerId="LiveId" clId="{30A766B1-982E-4295-BCAD-093FA0E8E566}" dt="2022-04-26T06:54:14.898" v="5614" actId="478"/>
          <ac:spMkLst>
            <pc:docMk/>
            <pc:sldMk cId="2491430858" sldId="2421"/>
            <ac:spMk id="96" creationId="{FED2BC48-1592-4AC5-AF39-57F1ABE0B90B}"/>
          </ac:spMkLst>
        </pc:spChg>
        <pc:spChg chg="add del mod">
          <ac:chgData name="Aurelien Domont" userId="6da7715ce44349b3" providerId="LiveId" clId="{30A766B1-982E-4295-BCAD-093FA0E8E566}" dt="2022-04-27T04:39:46.461" v="5841" actId="478"/>
          <ac:spMkLst>
            <pc:docMk/>
            <pc:sldMk cId="2491430858" sldId="2421"/>
            <ac:spMk id="97" creationId="{E9A1FE48-7DED-42D8-9EEA-66D13AF51B14}"/>
          </ac:spMkLst>
        </pc:spChg>
        <pc:spChg chg="add del mod">
          <ac:chgData name="Aurelien Domont" userId="6da7715ce44349b3" providerId="LiveId" clId="{30A766B1-982E-4295-BCAD-093FA0E8E566}" dt="2022-04-26T06:54:18.101" v="5615" actId="478"/>
          <ac:spMkLst>
            <pc:docMk/>
            <pc:sldMk cId="2491430858" sldId="2421"/>
            <ac:spMk id="98" creationId="{7A0222CE-037E-432B-8975-EB8DE7516CD5}"/>
          </ac:spMkLst>
        </pc:spChg>
        <pc:spChg chg="add del mod">
          <ac:chgData name="Aurelien Domont" userId="6da7715ce44349b3" providerId="LiveId" clId="{30A766B1-982E-4295-BCAD-093FA0E8E566}" dt="2022-04-27T04:39:46.461" v="5841" actId="478"/>
          <ac:spMkLst>
            <pc:docMk/>
            <pc:sldMk cId="2491430858" sldId="2421"/>
            <ac:spMk id="99" creationId="{57879DAA-2D93-4C41-90CB-9990152B7F4B}"/>
          </ac:spMkLst>
        </pc:spChg>
        <pc:spChg chg="add del mod">
          <ac:chgData name="Aurelien Domont" userId="6da7715ce44349b3" providerId="LiveId" clId="{30A766B1-982E-4295-BCAD-093FA0E8E566}" dt="2022-04-26T06:54:26.679" v="5618" actId="478"/>
          <ac:spMkLst>
            <pc:docMk/>
            <pc:sldMk cId="2491430858" sldId="2421"/>
            <ac:spMk id="100" creationId="{5EEAB5E6-AD32-402B-9541-F49008398CFF}"/>
          </ac:spMkLst>
        </pc:spChg>
        <pc:spChg chg="mod">
          <ac:chgData name="Aurelien Domont" userId="6da7715ce44349b3" providerId="LiveId" clId="{30A766B1-982E-4295-BCAD-093FA0E8E566}" dt="2022-04-26T06:54:36.712" v="5621"/>
          <ac:spMkLst>
            <pc:docMk/>
            <pc:sldMk cId="2491430858" sldId="2421"/>
            <ac:spMk id="103" creationId="{D51C2358-BA56-49D9-BA92-CA1A0DB2B3E8}"/>
          </ac:spMkLst>
        </pc:spChg>
        <pc:spChg chg="mod">
          <ac:chgData name="Aurelien Domont" userId="6da7715ce44349b3" providerId="LiveId" clId="{30A766B1-982E-4295-BCAD-093FA0E8E566}" dt="2022-04-26T06:54:36.712" v="5621"/>
          <ac:spMkLst>
            <pc:docMk/>
            <pc:sldMk cId="2491430858" sldId="2421"/>
            <ac:spMk id="104" creationId="{F66F4C06-DEC7-4E8F-930E-0586CBD0F339}"/>
          </ac:spMkLst>
        </pc:spChg>
        <pc:spChg chg="mod">
          <ac:chgData name="Aurelien Domont" userId="6da7715ce44349b3" providerId="LiveId" clId="{30A766B1-982E-4295-BCAD-093FA0E8E566}" dt="2022-04-26T06:54:36.712" v="5621"/>
          <ac:spMkLst>
            <pc:docMk/>
            <pc:sldMk cId="2491430858" sldId="2421"/>
            <ac:spMk id="105" creationId="{35737CA3-D77F-4C6B-87B9-3BDA58F12453}"/>
          </ac:spMkLst>
        </pc:spChg>
        <pc:spChg chg="mod">
          <ac:chgData name="Aurelien Domont" userId="6da7715ce44349b3" providerId="LiveId" clId="{30A766B1-982E-4295-BCAD-093FA0E8E566}" dt="2022-04-26T06:54:36.712" v="5621"/>
          <ac:spMkLst>
            <pc:docMk/>
            <pc:sldMk cId="2491430858" sldId="2421"/>
            <ac:spMk id="106" creationId="{04C817C4-F6E1-42BE-AC7E-DA937150567A}"/>
          </ac:spMkLst>
        </pc:spChg>
        <pc:spChg chg="add del mod">
          <ac:chgData name="Aurelien Domont" userId="6da7715ce44349b3" providerId="LiveId" clId="{30A766B1-982E-4295-BCAD-093FA0E8E566}" dt="2022-04-27T04:39:46.461" v="5841" actId="478"/>
          <ac:spMkLst>
            <pc:docMk/>
            <pc:sldMk cId="2491430858" sldId="2421"/>
            <ac:spMk id="107" creationId="{0BDA9A82-E924-430D-9FAA-D2F2656047A3}"/>
          </ac:spMkLst>
        </pc:spChg>
        <pc:spChg chg="add del mod">
          <ac:chgData name="Aurelien Domont" userId="6da7715ce44349b3" providerId="LiveId" clId="{30A766B1-982E-4295-BCAD-093FA0E8E566}" dt="2022-04-27T04:39:46.461" v="5841" actId="478"/>
          <ac:spMkLst>
            <pc:docMk/>
            <pc:sldMk cId="2491430858" sldId="2421"/>
            <ac:spMk id="108" creationId="{F187D779-DD9A-4690-A588-C3CBD7379D94}"/>
          </ac:spMkLst>
        </pc:spChg>
        <pc:spChg chg="add del mod">
          <ac:chgData name="Aurelien Domont" userId="6da7715ce44349b3" providerId="LiveId" clId="{30A766B1-982E-4295-BCAD-093FA0E8E566}" dt="2022-04-27T04:39:46.461" v="5841" actId="478"/>
          <ac:spMkLst>
            <pc:docMk/>
            <pc:sldMk cId="2491430858" sldId="2421"/>
            <ac:spMk id="109" creationId="{F150C235-DE43-4A20-848E-D896195FF30B}"/>
          </ac:spMkLst>
        </pc:spChg>
        <pc:spChg chg="add del mod">
          <ac:chgData name="Aurelien Domont" userId="6da7715ce44349b3" providerId="LiveId" clId="{30A766B1-982E-4295-BCAD-093FA0E8E566}" dt="2022-04-27T04:39:46.461" v="5841" actId="478"/>
          <ac:spMkLst>
            <pc:docMk/>
            <pc:sldMk cId="2491430858" sldId="2421"/>
            <ac:spMk id="110" creationId="{A2A2EAAE-0A45-4E50-A000-25AA391DA155}"/>
          </ac:spMkLst>
        </pc:spChg>
        <pc:spChg chg="add del mod">
          <ac:chgData name="Aurelien Domont" userId="6da7715ce44349b3" providerId="LiveId" clId="{30A766B1-982E-4295-BCAD-093FA0E8E566}" dt="2022-04-27T04:39:46.461" v="5841" actId="478"/>
          <ac:spMkLst>
            <pc:docMk/>
            <pc:sldMk cId="2491430858" sldId="2421"/>
            <ac:spMk id="111" creationId="{2853A9F0-3963-4AD3-829D-D05935F85A13}"/>
          </ac:spMkLst>
        </pc:spChg>
        <pc:spChg chg="add del mod">
          <ac:chgData name="Aurelien Domont" userId="6da7715ce44349b3" providerId="LiveId" clId="{30A766B1-982E-4295-BCAD-093FA0E8E566}" dt="2022-04-27T04:39:46.461" v="5841" actId="478"/>
          <ac:spMkLst>
            <pc:docMk/>
            <pc:sldMk cId="2491430858" sldId="2421"/>
            <ac:spMk id="112" creationId="{7176793C-AA87-4217-BCE0-BCBC44DA53B0}"/>
          </ac:spMkLst>
        </pc:spChg>
        <pc:grpChg chg="add mod">
          <ac:chgData name="Aurelien Domont" userId="6da7715ce44349b3" providerId="LiveId" clId="{30A766B1-982E-4295-BCAD-093FA0E8E566}" dt="2022-04-27T04:41:28.117" v="5873" actId="164"/>
          <ac:grpSpMkLst>
            <pc:docMk/>
            <pc:sldMk cId="2491430858" sldId="2421"/>
            <ac:grpSpMk id="2" creationId="{F24F8531-7A9A-4F6E-85C2-5B231F0EACEC}"/>
          </ac:grpSpMkLst>
        </pc:grpChg>
        <pc:grpChg chg="add del mod">
          <ac:chgData name="Aurelien Domont" userId="6da7715ce44349b3" providerId="LiveId" clId="{30A766B1-982E-4295-BCAD-093FA0E8E566}" dt="2022-04-26T06:37:09.767" v="5491" actId="165"/>
          <ac:grpSpMkLst>
            <pc:docMk/>
            <pc:sldMk cId="2491430858" sldId="2421"/>
            <ac:grpSpMk id="4" creationId="{6BD04AC5-469A-4219-920A-785465382A81}"/>
          </ac:grpSpMkLst>
        </pc:grpChg>
        <pc:grpChg chg="add del mod">
          <ac:chgData name="Aurelien Domont" userId="6da7715ce44349b3" providerId="LiveId" clId="{30A766B1-982E-4295-BCAD-093FA0E8E566}" dt="2022-04-26T06:52:14.777" v="5565" actId="165"/>
          <ac:grpSpMkLst>
            <pc:docMk/>
            <pc:sldMk cId="2491430858" sldId="2421"/>
            <ac:grpSpMk id="5" creationId="{6D57EBD3-DE3F-4935-B2C7-EDD71882FDD2}"/>
          </ac:grpSpMkLst>
        </pc:grpChg>
        <pc:grpChg chg="add del mod topLvl">
          <ac:chgData name="Aurelien Domont" userId="6da7715ce44349b3" providerId="LiveId" clId="{30A766B1-982E-4295-BCAD-093FA0E8E566}" dt="2022-04-26T06:50:37.234" v="5543" actId="478"/>
          <ac:grpSpMkLst>
            <pc:docMk/>
            <pc:sldMk cId="2491430858" sldId="2421"/>
            <ac:grpSpMk id="76" creationId="{0E22C74A-AB50-43FA-B645-104AF7F0C431}"/>
          </ac:grpSpMkLst>
        </pc:grpChg>
        <pc:grpChg chg="mod">
          <ac:chgData name="Aurelien Domont" userId="6da7715ce44349b3" providerId="LiveId" clId="{30A766B1-982E-4295-BCAD-093FA0E8E566}" dt="2022-04-26T06:37:09.767" v="5491" actId="165"/>
          <ac:grpSpMkLst>
            <pc:docMk/>
            <pc:sldMk cId="2491430858" sldId="2421"/>
            <ac:grpSpMk id="77" creationId="{F1312AEB-BCB6-4F59-B509-833B06BC1231}"/>
          </ac:grpSpMkLst>
        </pc:grpChg>
        <pc:grpChg chg="add del mod">
          <ac:chgData name="Aurelien Domont" userId="6da7715ce44349b3" providerId="LiveId" clId="{30A766B1-982E-4295-BCAD-093FA0E8E566}" dt="2022-04-27T04:39:46.461" v="5841" actId="478"/>
          <ac:grpSpMkLst>
            <pc:docMk/>
            <pc:sldMk cId="2491430858" sldId="2421"/>
            <ac:grpSpMk id="101" creationId="{9F7B51F1-EED4-4C9A-94F8-AA781FBA6414}"/>
          </ac:grpSpMkLst>
        </pc:grpChg>
        <pc:grpChg chg="mod">
          <ac:chgData name="Aurelien Domont" userId="6da7715ce44349b3" providerId="LiveId" clId="{30A766B1-982E-4295-BCAD-093FA0E8E566}" dt="2022-04-26T06:54:36.712" v="5621"/>
          <ac:grpSpMkLst>
            <pc:docMk/>
            <pc:sldMk cId="2491430858" sldId="2421"/>
            <ac:grpSpMk id="102" creationId="{97A05DC2-8390-4E32-A42D-0C0C9682BCC2}"/>
          </ac:grpSpMkLst>
        </pc:grpChg>
        <pc:picChg chg="del">
          <ac:chgData name="Aurelien Domont" userId="6da7715ce44349b3" providerId="LiveId" clId="{30A766B1-982E-4295-BCAD-093FA0E8E566}" dt="2022-04-26T06:36:03.399" v="5477" actId="478"/>
          <ac:picMkLst>
            <pc:docMk/>
            <pc:sldMk cId="2491430858" sldId="2421"/>
            <ac:picMk id="60" creationId="{4A80790F-6316-4A41-A0C9-00378FA2C864}"/>
          </ac:picMkLst>
        </pc:picChg>
        <pc:picChg chg="del">
          <ac:chgData name="Aurelien Domont" userId="6da7715ce44349b3" providerId="LiveId" clId="{30A766B1-982E-4295-BCAD-093FA0E8E566}" dt="2022-04-26T06:36:07.305" v="5478" actId="478"/>
          <ac:picMkLst>
            <pc:docMk/>
            <pc:sldMk cId="2491430858" sldId="2421"/>
            <ac:picMk id="1026" creationId="{E1F8E52A-2047-436B-BEDF-BB439DCA965B}"/>
          </ac:picMkLst>
        </pc:picChg>
        <pc:picChg chg="del">
          <ac:chgData name="Aurelien Domont" userId="6da7715ce44349b3" providerId="LiveId" clId="{30A766B1-982E-4295-BCAD-093FA0E8E566}" dt="2022-04-26T06:36:07.305" v="5478" actId="478"/>
          <ac:picMkLst>
            <pc:docMk/>
            <pc:sldMk cId="2491430858" sldId="2421"/>
            <ac:picMk id="1028" creationId="{EE9526CA-67F8-4E04-BBA2-9C28E0B0D3BD}"/>
          </ac:picMkLst>
        </pc:picChg>
        <pc:cxnChg chg="add del mod topLvl">
          <ac:chgData name="Aurelien Domont" userId="6da7715ce44349b3" providerId="LiveId" clId="{30A766B1-982E-4295-BCAD-093FA0E8E566}" dt="2022-04-26T06:50:37.234" v="5543" actId="478"/>
          <ac:cxnSpMkLst>
            <pc:docMk/>
            <pc:sldMk cId="2491430858" sldId="2421"/>
            <ac:cxnSpMk id="62" creationId="{CE392ECD-0902-4C04-B2B4-D5F215F41482}"/>
          </ac:cxnSpMkLst>
        </pc:cxnChg>
        <pc:cxnChg chg="add del mod topLvl">
          <ac:chgData name="Aurelien Domont" userId="6da7715ce44349b3" providerId="LiveId" clId="{30A766B1-982E-4295-BCAD-093FA0E8E566}" dt="2022-04-26T06:50:37.234" v="5543" actId="478"/>
          <ac:cxnSpMkLst>
            <pc:docMk/>
            <pc:sldMk cId="2491430858" sldId="2421"/>
            <ac:cxnSpMk id="63" creationId="{5FBD7B50-6247-444C-AA66-1407C278701C}"/>
          </ac:cxnSpMkLst>
        </pc:cxnChg>
        <pc:cxnChg chg="add del mod topLvl">
          <ac:chgData name="Aurelien Domont" userId="6da7715ce44349b3" providerId="LiveId" clId="{30A766B1-982E-4295-BCAD-093FA0E8E566}" dt="2022-04-26T06:50:37.234" v="5543" actId="478"/>
          <ac:cxnSpMkLst>
            <pc:docMk/>
            <pc:sldMk cId="2491430858" sldId="2421"/>
            <ac:cxnSpMk id="64" creationId="{20E166D3-6781-4CC3-A8BD-9DBAF7E6E8C8}"/>
          </ac:cxnSpMkLst>
        </pc:cxnChg>
        <pc:cxnChg chg="add del mod topLvl">
          <ac:chgData name="Aurelien Domont" userId="6da7715ce44349b3" providerId="LiveId" clId="{30A766B1-982E-4295-BCAD-093FA0E8E566}" dt="2022-04-26T06:50:37.234" v="5543" actId="478"/>
          <ac:cxnSpMkLst>
            <pc:docMk/>
            <pc:sldMk cId="2491430858" sldId="2421"/>
            <ac:cxnSpMk id="65" creationId="{90B90254-9069-4622-991A-99ADEE378BCF}"/>
          </ac:cxnSpMkLst>
        </pc:cxnChg>
      </pc:sldChg>
      <pc:sldChg chg="add del">
        <pc:chgData name="Aurelien Domont" userId="6da7715ce44349b3" providerId="LiveId" clId="{30A766B1-982E-4295-BCAD-093FA0E8E566}" dt="2022-04-26T07:04:48.870" v="5815" actId="47"/>
        <pc:sldMkLst>
          <pc:docMk/>
          <pc:sldMk cId="1308642707" sldId="2422"/>
        </pc:sldMkLst>
      </pc:sldChg>
      <pc:sldChg chg="add del">
        <pc:chgData name="Aurelien Domont" userId="6da7715ce44349b3" providerId="LiveId" clId="{30A766B1-982E-4295-BCAD-093FA0E8E566}" dt="2022-04-26T07:04:47.729" v="5814" actId="47"/>
        <pc:sldMkLst>
          <pc:docMk/>
          <pc:sldMk cId="1885851725" sldId="2423"/>
        </pc:sldMkLst>
      </pc:sldChg>
      <pc:sldChg chg="addSp delSp modSp add mod">
        <pc:chgData name="Aurelien Domont" userId="6da7715ce44349b3" providerId="LiveId" clId="{30A766B1-982E-4295-BCAD-093FA0E8E566}" dt="2023-01-18T05:33:07.832" v="14918"/>
        <pc:sldMkLst>
          <pc:docMk/>
          <pc:sldMk cId="2575164422" sldId="2424"/>
        </pc:sldMkLst>
        <pc:spChg chg="mod">
          <ac:chgData name="Aurelien Domont" userId="6da7715ce44349b3" providerId="LiveId" clId="{30A766B1-982E-4295-BCAD-093FA0E8E566}" dt="2023-01-18T05:33:07.832" v="14918"/>
          <ac:spMkLst>
            <pc:docMk/>
            <pc:sldMk cId="2575164422" sldId="2424"/>
            <ac:spMk id="3" creationId="{CE2529A3-BA97-486F-9E02-8DFAAA7D8D38}"/>
          </ac:spMkLst>
        </pc:spChg>
        <pc:spChg chg="mod">
          <ac:chgData name="Aurelien Domont" userId="6da7715ce44349b3" providerId="LiveId" clId="{30A766B1-982E-4295-BCAD-093FA0E8E566}" dt="2023-01-18T05:33:07.832" v="14918"/>
          <ac:spMkLst>
            <pc:docMk/>
            <pc:sldMk cId="2575164422" sldId="2424"/>
            <ac:spMk id="16" creationId="{6C2BB713-9637-4B9B-938F-E9768876782A}"/>
          </ac:spMkLst>
        </pc:spChg>
        <pc:spChg chg="add mod">
          <ac:chgData name="Aurelien Domont" userId="6da7715ce44349b3" providerId="LiveId" clId="{30A766B1-982E-4295-BCAD-093FA0E8E566}" dt="2022-04-26T07:01:43.245" v="5720" actId="20577"/>
          <ac:spMkLst>
            <pc:docMk/>
            <pc:sldMk cId="2575164422" sldId="2424"/>
            <ac:spMk id="24" creationId="{476E214A-0309-4764-9D8B-8F0A8890090C}"/>
          </ac:spMkLst>
        </pc:spChg>
        <pc:spChg chg="add mod">
          <ac:chgData name="Aurelien Domont" userId="6da7715ce44349b3" providerId="LiveId" clId="{30A766B1-982E-4295-BCAD-093FA0E8E566}" dt="2022-04-27T04:50:26.686" v="6098" actId="20577"/>
          <ac:spMkLst>
            <pc:docMk/>
            <pc:sldMk cId="2575164422" sldId="2424"/>
            <ac:spMk id="25" creationId="{BC92BE93-AEA6-45D5-B65B-9BC052905644}"/>
          </ac:spMkLst>
        </pc:spChg>
        <pc:spChg chg="add mod">
          <ac:chgData name="Aurelien Domont" userId="6da7715ce44349b3" providerId="LiveId" clId="{30A766B1-982E-4295-BCAD-093FA0E8E566}" dt="2022-04-27T04:52:40.427" v="6127" actId="14100"/>
          <ac:spMkLst>
            <pc:docMk/>
            <pc:sldMk cId="2575164422" sldId="2424"/>
            <ac:spMk id="26" creationId="{5B873CCF-2748-4744-B83F-8A43B424E28C}"/>
          </ac:spMkLst>
        </pc:spChg>
        <pc:spChg chg="add mod">
          <ac:chgData name="Aurelien Domont" userId="6da7715ce44349b3" providerId="LiveId" clId="{30A766B1-982E-4295-BCAD-093FA0E8E566}" dt="2022-04-27T04:50:52.392" v="6109" actId="1035"/>
          <ac:spMkLst>
            <pc:docMk/>
            <pc:sldMk cId="2575164422" sldId="2424"/>
            <ac:spMk id="27" creationId="{470DACC0-3D13-4289-AADE-D6740B371E33}"/>
          </ac:spMkLst>
        </pc:spChg>
        <pc:spChg chg="add del mod">
          <ac:chgData name="Aurelien Domont" userId="6da7715ce44349b3" providerId="LiveId" clId="{30A766B1-982E-4295-BCAD-093FA0E8E566}" dt="2022-04-27T04:50:35.518" v="6099" actId="478"/>
          <ac:spMkLst>
            <pc:docMk/>
            <pc:sldMk cId="2575164422" sldId="2424"/>
            <ac:spMk id="28" creationId="{751F1E67-94A9-43C7-8C17-BFDF27EDFC48}"/>
          </ac:spMkLst>
        </pc:spChg>
        <pc:spChg chg="add mod">
          <ac:chgData name="Aurelien Domont" userId="6da7715ce44349b3" providerId="LiveId" clId="{30A766B1-982E-4295-BCAD-093FA0E8E566}" dt="2022-04-26T07:04:23.174" v="5811" actId="242"/>
          <ac:spMkLst>
            <pc:docMk/>
            <pc:sldMk cId="2575164422" sldId="2424"/>
            <ac:spMk id="29" creationId="{5041B1FA-2041-496D-A97F-A2A2E76492CF}"/>
          </ac:spMkLst>
        </pc:spChg>
        <pc:spChg chg="add mod">
          <ac:chgData name="Aurelien Domont" userId="6da7715ce44349b3" providerId="LiveId" clId="{30A766B1-982E-4295-BCAD-093FA0E8E566}" dt="2022-04-27T05:00:51.365" v="6386" actId="20577"/>
          <ac:spMkLst>
            <pc:docMk/>
            <pc:sldMk cId="2575164422" sldId="2424"/>
            <ac:spMk id="30" creationId="{8108265A-20FD-4646-B527-C07FD27FE67F}"/>
          </ac:spMkLst>
        </pc:spChg>
        <pc:spChg chg="add mod">
          <ac:chgData name="Aurelien Domont" userId="6da7715ce44349b3" providerId="LiveId" clId="{30A766B1-982E-4295-BCAD-093FA0E8E566}" dt="2022-04-27T04:51:32.554" v="6112" actId="571"/>
          <ac:spMkLst>
            <pc:docMk/>
            <pc:sldMk cId="2575164422" sldId="2424"/>
            <ac:spMk id="31" creationId="{FC8FD6B0-698A-4EE8-871A-DB9BDDE2EF5E}"/>
          </ac:spMkLst>
        </pc:spChg>
        <pc:spChg chg="add mod">
          <ac:chgData name="Aurelien Domont" userId="6da7715ce44349b3" providerId="LiveId" clId="{30A766B1-982E-4295-BCAD-093FA0E8E566}" dt="2022-04-27T04:53:12.937" v="6132"/>
          <ac:spMkLst>
            <pc:docMk/>
            <pc:sldMk cId="2575164422" sldId="2424"/>
            <ac:spMk id="32" creationId="{108FB609-2079-47AB-A825-179C7CE235A9}"/>
          </ac:spMkLst>
        </pc:spChg>
        <pc:spChg chg="mod">
          <ac:chgData name="Aurelien Domont" userId="6da7715ce44349b3" providerId="LiveId" clId="{30A766B1-982E-4295-BCAD-093FA0E8E566}" dt="2022-04-27T04:49:14.385" v="6090"/>
          <ac:spMkLst>
            <pc:docMk/>
            <pc:sldMk cId="2575164422" sldId="2424"/>
            <ac:spMk id="89" creationId="{F54E783C-428C-4ACB-9CCA-0F131DFBCD93}"/>
          </ac:spMkLst>
        </pc:spChg>
        <pc:spChg chg="mod">
          <ac:chgData name="Aurelien Domont" userId="6da7715ce44349b3" providerId="LiveId" clId="{30A766B1-982E-4295-BCAD-093FA0E8E566}" dt="2022-04-27T04:49:24.316" v="6092"/>
          <ac:spMkLst>
            <pc:docMk/>
            <pc:sldMk cId="2575164422" sldId="2424"/>
            <ac:spMk id="91" creationId="{54D58893-7FD7-4B48-A7C1-C595BE4567CB}"/>
          </ac:spMkLst>
        </pc:spChg>
        <pc:spChg chg="mod">
          <ac:chgData name="Aurelien Domont" userId="6da7715ce44349b3" providerId="LiveId" clId="{30A766B1-982E-4295-BCAD-093FA0E8E566}" dt="2022-04-27T04:49:31.645" v="6094"/>
          <ac:spMkLst>
            <pc:docMk/>
            <pc:sldMk cId="2575164422" sldId="2424"/>
            <ac:spMk id="93" creationId="{1A4ECCBD-515E-4F51-BCA3-54EA0A8EDE51}"/>
          </ac:spMkLst>
        </pc:spChg>
        <pc:spChg chg="mod">
          <ac:chgData name="Aurelien Domont" userId="6da7715ce44349b3" providerId="LiveId" clId="{30A766B1-982E-4295-BCAD-093FA0E8E566}" dt="2022-04-27T04:49:39.874" v="6096"/>
          <ac:spMkLst>
            <pc:docMk/>
            <pc:sldMk cId="2575164422" sldId="2424"/>
            <ac:spMk id="95" creationId="{2E62BF26-0BD5-4C16-B50A-E8AB06F59149}"/>
          </ac:spMkLst>
        </pc:spChg>
        <pc:spChg chg="mod">
          <ac:chgData name="Aurelien Domont" userId="6da7715ce44349b3" providerId="LiveId" clId="{30A766B1-982E-4295-BCAD-093FA0E8E566}" dt="2022-04-27T04:51:32.898" v="6113"/>
          <ac:spMkLst>
            <pc:docMk/>
            <pc:sldMk cId="2575164422" sldId="2424"/>
            <ac:spMk id="111" creationId="{2853A9F0-3963-4AD3-829D-D05935F85A13}"/>
          </ac:spMkLst>
        </pc:spChg>
      </pc:sldChg>
      <pc:sldChg chg="modSp add mod">
        <pc:chgData name="Aurelien Domont" userId="6da7715ce44349b3" providerId="LiveId" clId="{30A766B1-982E-4295-BCAD-093FA0E8E566}" dt="2023-01-18T05:33:07.832" v="14918"/>
        <pc:sldMkLst>
          <pc:docMk/>
          <pc:sldMk cId="86518636" sldId="2425"/>
        </pc:sldMkLst>
        <pc:spChg chg="mod">
          <ac:chgData name="Aurelien Domont" userId="6da7715ce44349b3" providerId="LiveId" clId="{30A766B1-982E-4295-BCAD-093FA0E8E566}" dt="2023-01-18T05:33:07.832" v="14918"/>
          <ac:spMkLst>
            <pc:docMk/>
            <pc:sldMk cId="86518636" sldId="2425"/>
            <ac:spMk id="3" creationId="{CE2529A3-BA97-486F-9E02-8DFAAA7D8D38}"/>
          </ac:spMkLst>
        </pc:spChg>
        <pc:spChg chg="mod">
          <ac:chgData name="Aurelien Domont" userId="6da7715ce44349b3" providerId="LiveId" clId="{30A766B1-982E-4295-BCAD-093FA0E8E566}" dt="2023-01-18T05:33:07.832" v="14918"/>
          <ac:spMkLst>
            <pc:docMk/>
            <pc:sldMk cId="86518636" sldId="2425"/>
            <ac:spMk id="16" creationId="{6C2BB713-9637-4B9B-938F-E9768876782A}"/>
          </ac:spMkLst>
        </pc:spChg>
        <pc:spChg chg="mod">
          <ac:chgData name="Aurelien Domont" userId="6da7715ce44349b3" providerId="LiveId" clId="{30A766B1-982E-4295-BCAD-093FA0E8E566}" dt="2022-04-27T04:48:54.529" v="6081" actId="20577"/>
          <ac:spMkLst>
            <pc:docMk/>
            <pc:sldMk cId="86518636" sldId="2425"/>
            <ac:spMk id="89" creationId="{F54E783C-428C-4ACB-9CCA-0F131DFBCD93}"/>
          </ac:spMkLst>
        </pc:spChg>
        <pc:spChg chg="mod">
          <ac:chgData name="Aurelien Domont" userId="6da7715ce44349b3" providerId="LiveId" clId="{30A766B1-982E-4295-BCAD-093FA0E8E566}" dt="2022-04-27T04:48:56.665" v="6082" actId="20577"/>
          <ac:spMkLst>
            <pc:docMk/>
            <pc:sldMk cId="86518636" sldId="2425"/>
            <ac:spMk id="91" creationId="{54D58893-7FD7-4B48-A7C1-C595BE4567CB}"/>
          </ac:spMkLst>
        </pc:spChg>
        <pc:spChg chg="mod">
          <ac:chgData name="Aurelien Domont" userId="6da7715ce44349b3" providerId="LiveId" clId="{30A766B1-982E-4295-BCAD-093FA0E8E566}" dt="2022-04-27T04:49:01.943" v="6085" actId="20577"/>
          <ac:spMkLst>
            <pc:docMk/>
            <pc:sldMk cId="86518636" sldId="2425"/>
            <ac:spMk id="93" creationId="{1A4ECCBD-515E-4F51-BCA3-54EA0A8EDE51}"/>
          </ac:spMkLst>
        </pc:spChg>
        <pc:spChg chg="mod">
          <ac:chgData name="Aurelien Domont" userId="6da7715ce44349b3" providerId="LiveId" clId="{30A766B1-982E-4295-BCAD-093FA0E8E566}" dt="2022-04-27T04:49:04.530" v="6089" actId="20577"/>
          <ac:spMkLst>
            <pc:docMk/>
            <pc:sldMk cId="86518636" sldId="2425"/>
            <ac:spMk id="95" creationId="{2E62BF26-0BD5-4C16-B50A-E8AB06F59149}"/>
          </ac:spMkLst>
        </pc:spChg>
      </pc:sldChg>
      <pc:sldChg chg="delSp modSp add mod">
        <pc:chgData name="Aurelien Domont" userId="6da7715ce44349b3" providerId="LiveId" clId="{30A766B1-982E-4295-BCAD-093FA0E8E566}" dt="2023-01-18T05:33:07.832" v="14918"/>
        <pc:sldMkLst>
          <pc:docMk/>
          <pc:sldMk cId="2980469399" sldId="2426"/>
        </pc:sldMkLst>
        <pc:spChg chg="mod">
          <ac:chgData name="Aurelien Domont" userId="6da7715ce44349b3" providerId="LiveId" clId="{30A766B1-982E-4295-BCAD-093FA0E8E566}" dt="2023-01-18T05:33:07.832" v="14918"/>
          <ac:spMkLst>
            <pc:docMk/>
            <pc:sldMk cId="2980469399" sldId="2426"/>
            <ac:spMk id="3" creationId="{CE2529A3-BA97-486F-9E02-8DFAAA7D8D38}"/>
          </ac:spMkLst>
        </pc:spChg>
        <pc:spChg chg="mod">
          <ac:chgData name="Aurelien Domont" userId="6da7715ce44349b3" providerId="LiveId" clId="{30A766B1-982E-4295-BCAD-093FA0E8E566}" dt="2023-01-18T05:33:07.832" v="14918"/>
          <ac:spMkLst>
            <pc:docMk/>
            <pc:sldMk cId="2980469399" sldId="2426"/>
            <ac:spMk id="16" creationId="{6C2BB713-9637-4B9B-938F-E9768876782A}"/>
          </ac:spMkLst>
        </pc:spChg>
        <pc:spChg chg="mod">
          <ac:chgData name="Aurelien Domont" userId="6da7715ce44349b3" providerId="LiveId" clId="{30A766B1-982E-4295-BCAD-093FA0E8E566}" dt="2022-04-27T04:44:51.460" v="6009" actId="20577"/>
          <ac:spMkLst>
            <pc:docMk/>
            <pc:sldMk cId="2980469399" sldId="2426"/>
            <ac:spMk id="24" creationId="{476E214A-0309-4764-9D8B-8F0A8890090C}"/>
          </ac:spMkLst>
        </pc:spChg>
        <pc:spChg chg="del">
          <ac:chgData name="Aurelien Domont" userId="6da7715ce44349b3" providerId="LiveId" clId="{30A766B1-982E-4295-BCAD-093FA0E8E566}" dt="2022-04-27T04:44:58.588" v="6010" actId="478"/>
          <ac:spMkLst>
            <pc:docMk/>
            <pc:sldMk cId="2980469399" sldId="2426"/>
            <ac:spMk id="25" creationId="{BC92BE93-AEA6-45D5-B65B-9BC052905644}"/>
          </ac:spMkLst>
        </pc:spChg>
        <pc:spChg chg="del">
          <ac:chgData name="Aurelien Domont" userId="6da7715ce44349b3" providerId="LiveId" clId="{30A766B1-982E-4295-BCAD-093FA0E8E566}" dt="2022-04-27T04:44:58.588" v="6010" actId="478"/>
          <ac:spMkLst>
            <pc:docMk/>
            <pc:sldMk cId="2980469399" sldId="2426"/>
            <ac:spMk id="26" creationId="{5B873CCF-2748-4744-B83F-8A43B424E28C}"/>
          </ac:spMkLst>
        </pc:spChg>
        <pc:spChg chg="del">
          <ac:chgData name="Aurelien Domont" userId="6da7715ce44349b3" providerId="LiveId" clId="{30A766B1-982E-4295-BCAD-093FA0E8E566}" dt="2022-04-27T04:44:58.588" v="6010" actId="478"/>
          <ac:spMkLst>
            <pc:docMk/>
            <pc:sldMk cId="2980469399" sldId="2426"/>
            <ac:spMk id="27" creationId="{470DACC0-3D13-4289-AADE-D6740B371E33}"/>
          </ac:spMkLst>
        </pc:spChg>
        <pc:spChg chg="del">
          <ac:chgData name="Aurelien Domont" userId="6da7715ce44349b3" providerId="LiveId" clId="{30A766B1-982E-4295-BCAD-093FA0E8E566}" dt="2022-04-27T04:44:58.588" v="6010" actId="478"/>
          <ac:spMkLst>
            <pc:docMk/>
            <pc:sldMk cId="2980469399" sldId="2426"/>
            <ac:spMk id="28" creationId="{751F1E67-94A9-43C7-8C17-BFDF27EDFC48}"/>
          </ac:spMkLst>
        </pc:spChg>
        <pc:spChg chg="del">
          <ac:chgData name="Aurelien Domont" userId="6da7715ce44349b3" providerId="LiveId" clId="{30A766B1-982E-4295-BCAD-093FA0E8E566}" dt="2022-04-27T04:44:58.588" v="6010" actId="478"/>
          <ac:spMkLst>
            <pc:docMk/>
            <pc:sldMk cId="2980469399" sldId="2426"/>
            <ac:spMk id="29" creationId="{5041B1FA-2041-496D-A97F-A2A2E76492CF}"/>
          </ac:spMkLst>
        </pc:spChg>
        <pc:spChg chg="del">
          <ac:chgData name="Aurelien Domont" userId="6da7715ce44349b3" providerId="LiveId" clId="{30A766B1-982E-4295-BCAD-093FA0E8E566}" dt="2022-04-27T04:44:58.588" v="6010" actId="478"/>
          <ac:spMkLst>
            <pc:docMk/>
            <pc:sldMk cId="2980469399" sldId="2426"/>
            <ac:spMk id="30" creationId="{8108265A-20FD-4646-B527-C07FD27FE67F}"/>
          </ac:spMkLst>
        </pc:spChg>
        <pc:spChg chg="mod">
          <ac:chgData name="Aurelien Domont" userId="6da7715ce44349b3" providerId="LiveId" clId="{30A766B1-982E-4295-BCAD-093FA0E8E566}" dt="2022-04-27T04:49:18.608" v="6091"/>
          <ac:spMkLst>
            <pc:docMk/>
            <pc:sldMk cId="2980469399" sldId="2426"/>
            <ac:spMk id="89" creationId="{F54E783C-428C-4ACB-9CCA-0F131DFBCD93}"/>
          </ac:spMkLst>
        </pc:spChg>
        <pc:spChg chg="mod">
          <ac:chgData name="Aurelien Domont" userId="6da7715ce44349b3" providerId="LiveId" clId="{30A766B1-982E-4295-BCAD-093FA0E8E566}" dt="2022-04-27T04:49:26.699" v="6093"/>
          <ac:spMkLst>
            <pc:docMk/>
            <pc:sldMk cId="2980469399" sldId="2426"/>
            <ac:spMk id="91" creationId="{54D58893-7FD7-4B48-A7C1-C595BE4567CB}"/>
          </ac:spMkLst>
        </pc:spChg>
        <pc:spChg chg="mod">
          <ac:chgData name="Aurelien Domont" userId="6da7715ce44349b3" providerId="LiveId" clId="{30A766B1-982E-4295-BCAD-093FA0E8E566}" dt="2022-04-27T04:49:34.604" v="6095"/>
          <ac:spMkLst>
            <pc:docMk/>
            <pc:sldMk cId="2980469399" sldId="2426"/>
            <ac:spMk id="93" creationId="{1A4ECCBD-515E-4F51-BCA3-54EA0A8EDE51}"/>
          </ac:spMkLst>
        </pc:spChg>
        <pc:spChg chg="mod">
          <ac:chgData name="Aurelien Domont" userId="6da7715ce44349b3" providerId="LiveId" clId="{30A766B1-982E-4295-BCAD-093FA0E8E566}" dt="2022-04-27T04:49:43.271" v="6097"/>
          <ac:spMkLst>
            <pc:docMk/>
            <pc:sldMk cId="2980469399" sldId="2426"/>
            <ac:spMk id="95" creationId="{2E62BF26-0BD5-4C16-B50A-E8AB06F59149}"/>
          </ac:spMkLst>
        </pc:spChg>
        <pc:spChg chg="mod">
          <ac:chgData name="Aurelien Domont" userId="6da7715ce44349b3" providerId="LiveId" clId="{30A766B1-982E-4295-BCAD-093FA0E8E566}" dt="2022-04-27T04:47:48.506" v="6074"/>
          <ac:spMkLst>
            <pc:docMk/>
            <pc:sldMk cId="2980469399" sldId="2426"/>
            <ac:spMk id="107" creationId="{0BDA9A82-E924-430D-9FAA-D2F2656047A3}"/>
          </ac:spMkLst>
        </pc:spChg>
        <pc:spChg chg="mod">
          <ac:chgData name="Aurelien Domont" userId="6da7715ce44349b3" providerId="LiveId" clId="{30A766B1-982E-4295-BCAD-093FA0E8E566}" dt="2022-04-27T04:51:47.126" v="6114"/>
          <ac:spMkLst>
            <pc:docMk/>
            <pc:sldMk cId="2980469399" sldId="2426"/>
            <ac:spMk id="108" creationId="{F187D779-DD9A-4690-A588-C3CBD7379D94}"/>
          </ac:spMkLst>
        </pc:spChg>
        <pc:spChg chg="mod">
          <ac:chgData name="Aurelien Domont" userId="6da7715ce44349b3" providerId="LiveId" clId="{30A766B1-982E-4295-BCAD-093FA0E8E566}" dt="2022-04-27T04:55:43.975" v="6233"/>
          <ac:spMkLst>
            <pc:docMk/>
            <pc:sldMk cId="2980469399" sldId="2426"/>
            <ac:spMk id="109" creationId="{F150C235-DE43-4A20-848E-D896195FF30B}"/>
          </ac:spMkLst>
        </pc:spChg>
        <pc:spChg chg="mod">
          <ac:chgData name="Aurelien Domont" userId="6da7715ce44349b3" providerId="LiveId" clId="{30A766B1-982E-4295-BCAD-093FA0E8E566}" dt="2022-04-27T04:52:06.558" v="6120"/>
          <ac:spMkLst>
            <pc:docMk/>
            <pc:sldMk cId="2980469399" sldId="2426"/>
            <ac:spMk id="110" creationId="{A2A2EAAE-0A45-4E50-A000-25AA391DA155}"/>
          </ac:spMkLst>
        </pc:spChg>
        <pc:spChg chg="mod">
          <ac:chgData name="Aurelien Domont" userId="6da7715ce44349b3" providerId="LiveId" clId="{30A766B1-982E-4295-BCAD-093FA0E8E566}" dt="2022-04-27T04:51:53.831" v="6117"/>
          <ac:spMkLst>
            <pc:docMk/>
            <pc:sldMk cId="2980469399" sldId="2426"/>
            <ac:spMk id="111" creationId="{2853A9F0-3963-4AD3-829D-D05935F85A13}"/>
          </ac:spMkLst>
        </pc:spChg>
        <pc:spChg chg="mod">
          <ac:chgData name="Aurelien Domont" userId="6da7715ce44349b3" providerId="LiveId" clId="{30A766B1-982E-4295-BCAD-093FA0E8E566}" dt="2022-04-27T04:58:50.546" v="6372" actId="20577"/>
          <ac:spMkLst>
            <pc:docMk/>
            <pc:sldMk cId="2980469399" sldId="2426"/>
            <ac:spMk id="112" creationId="{7176793C-AA87-4217-BCE0-BCBC44DA53B0}"/>
          </ac:spMkLst>
        </pc:spChg>
      </pc:sldChg>
      <pc:sldChg chg="addSp delSp modSp add mod">
        <pc:chgData name="Aurelien Domont" userId="6da7715ce44349b3" providerId="LiveId" clId="{30A766B1-982E-4295-BCAD-093FA0E8E566}" dt="2023-01-18T05:33:07.832" v="14918"/>
        <pc:sldMkLst>
          <pc:docMk/>
          <pc:sldMk cId="4226861179" sldId="2427"/>
        </pc:sldMkLst>
        <pc:spChg chg="add mod">
          <ac:chgData name="Aurelien Domont" userId="6da7715ce44349b3" providerId="LiveId" clId="{30A766B1-982E-4295-BCAD-093FA0E8E566}" dt="2022-04-27T05:25:38.362" v="6965" actId="14861"/>
          <ac:spMkLst>
            <pc:docMk/>
            <pc:sldMk cId="4226861179" sldId="2427"/>
            <ac:spMk id="2" creationId="{7801488D-B37C-407E-9007-31C23DCB2033}"/>
          </ac:spMkLst>
        </pc:spChg>
        <pc:spChg chg="mod">
          <ac:chgData name="Aurelien Domont" userId="6da7715ce44349b3" providerId="LiveId" clId="{30A766B1-982E-4295-BCAD-093FA0E8E566}" dt="2023-01-18T05:33:07.832" v="14918"/>
          <ac:spMkLst>
            <pc:docMk/>
            <pc:sldMk cId="4226861179" sldId="2427"/>
            <ac:spMk id="3" creationId="{CE2529A3-BA97-486F-9E02-8DFAAA7D8D38}"/>
          </ac:spMkLst>
        </pc:spChg>
        <pc:spChg chg="mod">
          <ac:chgData name="Aurelien Domont" userId="6da7715ce44349b3" providerId="LiveId" clId="{30A766B1-982E-4295-BCAD-093FA0E8E566}" dt="2023-01-18T05:33:07.832" v="14918"/>
          <ac:spMkLst>
            <pc:docMk/>
            <pc:sldMk cId="4226861179" sldId="2427"/>
            <ac:spMk id="16" creationId="{6C2BB713-9637-4B9B-938F-E9768876782A}"/>
          </ac:spMkLst>
        </pc:spChg>
        <pc:spChg chg="mod">
          <ac:chgData name="Aurelien Domont" userId="6da7715ce44349b3" providerId="LiveId" clId="{30A766B1-982E-4295-BCAD-093FA0E8E566}" dt="2022-04-27T05:01:44.085" v="6412" actId="20577"/>
          <ac:spMkLst>
            <pc:docMk/>
            <pc:sldMk cId="4226861179" sldId="2427"/>
            <ac:spMk id="24" creationId="{476E214A-0309-4764-9D8B-8F0A8890090C}"/>
          </ac:spMkLst>
        </pc:spChg>
        <pc:spChg chg="add mod">
          <ac:chgData name="Aurelien Domont" userId="6da7715ce44349b3" providerId="LiveId" clId="{30A766B1-982E-4295-BCAD-093FA0E8E566}" dt="2022-04-27T05:25:38.362" v="6965" actId="14861"/>
          <ac:spMkLst>
            <pc:docMk/>
            <pc:sldMk cId="4226861179" sldId="2427"/>
            <ac:spMk id="26" creationId="{6EDED422-89D7-4395-BABA-B841ED8D7BD4}"/>
          </ac:spMkLst>
        </pc:spChg>
        <pc:spChg chg="add mod">
          <ac:chgData name="Aurelien Domont" userId="6da7715ce44349b3" providerId="LiveId" clId="{30A766B1-982E-4295-BCAD-093FA0E8E566}" dt="2022-04-27T05:25:38.362" v="6965" actId="14861"/>
          <ac:spMkLst>
            <pc:docMk/>
            <pc:sldMk cId="4226861179" sldId="2427"/>
            <ac:spMk id="27" creationId="{F432BD65-D95A-4622-814B-DD2615DF86DD}"/>
          </ac:spMkLst>
        </pc:spChg>
        <pc:spChg chg="add mod">
          <ac:chgData name="Aurelien Domont" userId="6da7715ce44349b3" providerId="LiveId" clId="{30A766B1-982E-4295-BCAD-093FA0E8E566}" dt="2022-04-27T05:25:38.362" v="6965" actId="14861"/>
          <ac:spMkLst>
            <pc:docMk/>
            <pc:sldMk cId="4226861179" sldId="2427"/>
            <ac:spMk id="28" creationId="{FA40499B-398B-46E6-957F-2629A423C26C}"/>
          </ac:spMkLst>
        </pc:spChg>
        <pc:spChg chg="add mod">
          <ac:chgData name="Aurelien Domont" userId="6da7715ce44349b3" providerId="LiveId" clId="{30A766B1-982E-4295-BCAD-093FA0E8E566}" dt="2022-04-27T05:25:38.362" v="6965" actId="14861"/>
          <ac:spMkLst>
            <pc:docMk/>
            <pc:sldMk cId="4226861179" sldId="2427"/>
            <ac:spMk id="29" creationId="{62392068-F03F-445E-BCAE-2E864A90E1EE}"/>
          </ac:spMkLst>
        </pc:spChg>
        <pc:spChg chg="add mod">
          <ac:chgData name="Aurelien Domont" userId="6da7715ce44349b3" providerId="LiveId" clId="{30A766B1-982E-4295-BCAD-093FA0E8E566}" dt="2022-04-27T05:25:38.362" v="6965" actId="14861"/>
          <ac:spMkLst>
            <pc:docMk/>
            <pc:sldMk cId="4226861179" sldId="2427"/>
            <ac:spMk id="30" creationId="{09C0A18A-A045-41DE-B693-548C768EBA34}"/>
          </ac:spMkLst>
        </pc:spChg>
        <pc:spChg chg="add mod">
          <ac:chgData name="Aurelien Domont" userId="6da7715ce44349b3" providerId="LiveId" clId="{30A766B1-982E-4295-BCAD-093FA0E8E566}" dt="2022-04-27T05:25:38.362" v="6965" actId="14861"/>
          <ac:spMkLst>
            <pc:docMk/>
            <pc:sldMk cId="4226861179" sldId="2427"/>
            <ac:spMk id="31" creationId="{CDCB9516-94C8-488A-931D-B95F8334C154}"/>
          </ac:spMkLst>
        </pc:spChg>
        <pc:spChg chg="add mod">
          <ac:chgData name="Aurelien Domont" userId="6da7715ce44349b3" providerId="LiveId" clId="{30A766B1-982E-4295-BCAD-093FA0E8E566}" dt="2022-04-27T05:25:38.362" v="6965" actId="14861"/>
          <ac:spMkLst>
            <pc:docMk/>
            <pc:sldMk cId="4226861179" sldId="2427"/>
            <ac:spMk id="32" creationId="{8E0C78AE-920F-4853-A51F-EDE1E455B5EA}"/>
          </ac:spMkLst>
        </pc:spChg>
        <pc:spChg chg="add mod">
          <ac:chgData name="Aurelien Domont" userId="6da7715ce44349b3" providerId="LiveId" clId="{30A766B1-982E-4295-BCAD-093FA0E8E566}" dt="2022-04-27T05:25:38.362" v="6965" actId="14861"/>
          <ac:spMkLst>
            <pc:docMk/>
            <pc:sldMk cId="4226861179" sldId="2427"/>
            <ac:spMk id="33" creationId="{D6F65A2D-D9F9-4CF4-A2D1-F6EC7DA87405}"/>
          </ac:spMkLst>
        </pc:spChg>
        <pc:spChg chg="add mod">
          <ac:chgData name="Aurelien Domont" userId="6da7715ce44349b3" providerId="LiveId" clId="{30A766B1-982E-4295-BCAD-093FA0E8E566}" dt="2022-04-27T05:25:38.362" v="6965" actId="14861"/>
          <ac:spMkLst>
            <pc:docMk/>
            <pc:sldMk cId="4226861179" sldId="2427"/>
            <ac:spMk id="34" creationId="{697A44CC-491D-4D6F-BB8B-9942343A7C1A}"/>
          </ac:spMkLst>
        </pc:spChg>
        <pc:spChg chg="add mod">
          <ac:chgData name="Aurelien Domont" userId="6da7715ce44349b3" providerId="LiveId" clId="{30A766B1-982E-4295-BCAD-093FA0E8E566}" dt="2022-04-27T05:25:38.362" v="6965" actId="14861"/>
          <ac:spMkLst>
            <pc:docMk/>
            <pc:sldMk cId="4226861179" sldId="2427"/>
            <ac:spMk id="35" creationId="{34F315BC-EAD0-4D66-A0C9-4E941C65E3E1}"/>
          </ac:spMkLst>
        </pc:spChg>
        <pc:spChg chg="add mod">
          <ac:chgData name="Aurelien Domont" userId="6da7715ce44349b3" providerId="LiveId" clId="{30A766B1-982E-4295-BCAD-093FA0E8E566}" dt="2022-04-27T05:25:38.362" v="6965" actId="14861"/>
          <ac:spMkLst>
            <pc:docMk/>
            <pc:sldMk cId="4226861179" sldId="2427"/>
            <ac:spMk id="36" creationId="{F1E7B33E-8109-4F7D-8E79-3A8280A4B32B}"/>
          </ac:spMkLst>
        </pc:spChg>
        <pc:spChg chg="add mod">
          <ac:chgData name="Aurelien Domont" userId="6da7715ce44349b3" providerId="LiveId" clId="{30A766B1-982E-4295-BCAD-093FA0E8E566}" dt="2022-04-27T05:25:38.362" v="6965" actId="14861"/>
          <ac:spMkLst>
            <pc:docMk/>
            <pc:sldMk cId="4226861179" sldId="2427"/>
            <ac:spMk id="37" creationId="{E02D6935-E27B-4651-BA44-E3884E8AD9EB}"/>
          </ac:spMkLst>
        </pc:spChg>
        <pc:spChg chg="add mod">
          <ac:chgData name="Aurelien Domont" userId="6da7715ce44349b3" providerId="LiveId" clId="{30A766B1-982E-4295-BCAD-093FA0E8E566}" dt="2022-04-27T05:25:38.362" v="6965" actId="14861"/>
          <ac:spMkLst>
            <pc:docMk/>
            <pc:sldMk cId="4226861179" sldId="2427"/>
            <ac:spMk id="38" creationId="{F2118399-0778-4DE9-811F-24FD867B60E9}"/>
          </ac:spMkLst>
        </pc:spChg>
        <pc:spChg chg="add mod">
          <ac:chgData name="Aurelien Domont" userId="6da7715ce44349b3" providerId="LiveId" clId="{30A766B1-982E-4295-BCAD-093FA0E8E566}" dt="2022-04-27T05:25:38.362" v="6965" actId="14861"/>
          <ac:spMkLst>
            <pc:docMk/>
            <pc:sldMk cId="4226861179" sldId="2427"/>
            <ac:spMk id="39" creationId="{FB616301-0EF4-49C8-AAD9-9AE046A9A291}"/>
          </ac:spMkLst>
        </pc:spChg>
        <pc:spChg chg="add mod">
          <ac:chgData name="Aurelien Domont" userId="6da7715ce44349b3" providerId="LiveId" clId="{30A766B1-982E-4295-BCAD-093FA0E8E566}" dt="2022-04-27T05:25:38.362" v="6965" actId="14861"/>
          <ac:spMkLst>
            <pc:docMk/>
            <pc:sldMk cId="4226861179" sldId="2427"/>
            <ac:spMk id="40" creationId="{C0C45F1C-71C7-4E21-B51E-E8979C4C5F6C}"/>
          </ac:spMkLst>
        </pc:spChg>
        <pc:spChg chg="add mod">
          <ac:chgData name="Aurelien Domont" userId="6da7715ce44349b3" providerId="LiveId" clId="{30A766B1-982E-4295-BCAD-093FA0E8E566}" dt="2022-04-27T05:25:38.362" v="6965" actId="14861"/>
          <ac:spMkLst>
            <pc:docMk/>
            <pc:sldMk cId="4226861179" sldId="2427"/>
            <ac:spMk id="41" creationId="{66D153C2-20D6-4CB0-B844-1F216BE80544}"/>
          </ac:spMkLst>
        </pc:spChg>
        <pc:spChg chg="add mod">
          <ac:chgData name="Aurelien Domont" userId="6da7715ce44349b3" providerId="LiveId" clId="{30A766B1-982E-4295-BCAD-093FA0E8E566}" dt="2022-04-27T05:25:38.362" v="6965" actId="14861"/>
          <ac:spMkLst>
            <pc:docMk/>
            <pc:sldMk cId="4226861179" sldId="2427"/>
            <ac:spMk id="42" creationId="{32A0EF88-3B67-4DAD-8715-564E04849431}"/>
          </ac:spMkLst>
        </pc:spChg>
        <pc:spChg chg="add mod">
          <ac:chgData name="Aurelien Domont" userId="6da7715ce44349b3" providerId="LiveId" clId="{30A766B1-982E-4295-BCAD-093FA0E8E566}" dt="2022-04-27T05:05:12.081" v="6521" actId="20577"/>
          <ac:spMkLst>
            <pc:docMk/>
            <pc:sldMk cId="4226861179" sldId="2427"/>
            <ac:spMk id="43" creationId="{A58727D5-5AC8-4249-86B6-6E5B35B7B683}"/>
          </ac:spMkLst>
        </pc:spChg>
        <pc:spChg chg="add mod">
          <ac:chgData name="Aurelien Domont" userId="6da7715ce44349b3" providerId="LiveId" clId="{30A766B1-982E-4295-BCAD-093FA0E8E566}" dt="2022-04-27T05:04:58.105" v="6508" actId="20577"/>
          <ac:spMkLst>
            <pc:docMk/>
            <pc:sldMk cId="4226861179" sldId="2427"/>
            <ac:spMk id="44" creationId="{CB25CF17-7E5E-4C40-95EF-AD1DC74E3056}"/>
          </ac:spMkLst>
        </pc:spChg>
        <pc:spChg chg="add mod">
          <ac:chgData name="Aurelien Domont" userId="6da7715ce44349b3" providerId="LiveId" clId="{30A766B1-982E-4295-BCAD-093FA0E8E566}" dt="2022-04-27T05:04:42.982" v="6504" actId="1038"/>
          <ac:spMkLst>
            <pc:docMk/>
            <pc:sldMk cId="4226861179" sldId="2427"/>
            <ac:spMk id="45" creationId="{ADD15F0A-C92C-4687-BA2E-E00098AFCC19}"/>
          </ac:spMkLst>
        </pc:spChg>
        <pc:spChg chg="del">
          <ac:chgData name="Aurelien Domont" userId="6da7715ce44349b3" providerId="LiveId" clId="{30A766B1-982E-4295-BCAD-093FA0E8E566}" dt="2022-04-27T05:01:52.968" v="6413" actId="478"/>
          <ac:spMkLst>
            <pc:docMk/>
            <pc:sldMk cId="4226861179" sldId="2427"/>
            <ac:spMk id="107" creationId="{0BDA9A82-E924-430D-9FAA-D2F2656047A3}"/>
          </ac:spMkLst>
        </pc:spChg>
        <pc:spChg chg="del">
          <ac:chgData name="Aurelien Domont" userId="6da7715ce44349b3" providerId="LiveId" clId="{30A766B1-982E-4295-BCAD-093FA0E8E566}" dt="2022-04-27T05:01:52.968" v="6413" actId="478"/>
          <ac:spMkLst>
            <pc:docMk/>
            <pc:sldMk cId="4226861179" sldId="2427"/>
            <ac:spMk id="108" creationId="{F187D779-DD9A-4690-A588-C3CBD7379D94}"/>
          </ac:spMkLst>
        </pc:spChg>
        <pc:spChg chg="del">
          <ac:chgData name="Aurelien Domont" userId="6da7715ce44349b3" providerId="LiveId" clId="{30A766B1-982E-4295-BCAD-093FA0E8E566}" dt="2022-04-27T05:01:52.968" v="6413" actId="478"/>
          <ac:spMkLst>
            <pc:docMk/>
            <pc:sldMk cId="4226861179" sldId="2427"/>
            <ac:spMk id="109" creationId="{F150C235-DE43-4A20-848E-D896195FF30B}"/>
          </ac:spMkLst>
        </pc:spChg>
        <pc:spChg chg="del">
          <ac:chgData name="Aurelien Domont" userId="6da7715ce44349b3" providerId="LiveId" clId="{30A766B1-982E-4295-BCAD-093FA0E8E566}" dt="2022-04-27T05:01:52.968" v="6413" actId="478"/>
          <ac:spMkLst>
            <pc:docMk/>
            <pc:sldMk cId="4226861179" sldId="2427"/>
            <ac:spMk id="110" creationId="{A2A2EAAE-0A45-4E50-A000-25AA391DA155}"/>
          </ac:spMkLst>
        </pc:spChg>
        <pc:spChg chg="del">
          <ac:chgData name="Aurelien Domont" userId="6da7715ce44349b3" providerId="LiveId" clId="{30A766B1-982E-4295-BCAD-093FA0E8E566}" dt="2022-04-27T05:01:52.968" v="6413" actId="478"/>
          <ac:spMkLst>
            <pc:docMk/>
            <pc:sldMk cId="4226861179" sldId="2427"/>
            <ac:spMk id="111" creationId="{2853A9F0-3963-4AD3-829D-D05935F85A13}"/>
          </ac:spMkLst>
        </pc:spChg>
        <pc:spChg chg="del">
          <ac:chgData name="Aurelien Domont" userId="6da7715ce44349b3" providerId="LiveId" clId="{30A766B1-982E-4295-BCAD-093FA0E8E566}" dt="2022-04-27T05:01:52.968" v="6413" actId="478"/>
          <ac:spMkLst>
            <pc:docMk/>
            <pc:sldMk cId="4226861179" sldId="2427"/>
            <ac:spMk id="112" creationId="{7176793C-AA87-4217-BCE0-BCBC44DA53B0}"/>
          </ac:spMkLst>
        </pc:spChg>
      </pc:sldChg>
      <pc:sldChg chg="modSp add mod">
        <pc:chgData name="Aurelien Domont" userId="6da7715ce44349b3" providerId="LiveId" clId="{30A766B1-982E-4295-BCAD-093FA0E8E566}" dt="2023-01-18T05:33:07.832" v="14918"/>
        <pc:sldMkLst>
          <pc:docMk/>
          <pc:sldMk cId="184401917" sldId="2428"/>
        </pc:sldMkLst>
        <pc:spChg chg="mod">
          <ac:chgData name="Aurelien Domont" userId="6da7715ce44349b3" providerId="LiveId" clId="{30A766B1-982E-4295-BCAD-093FA0E8E566}" dt="2023-01-18T05:33:07.832" v="14918"/>
          <ac:spMkLst>
            <pc:docMk/>
            <pc:sldMk cId="184401917" sldId="2428"/>
            <ac:spMk id="3" creationId="{CE2529A3-BA97-486F-9E02-8DFAAA7D8D38}"/>
          </ac:spMkLst>
        </pc:spChg>
        <pc:spChg chg="mod">
          <ac:chgData name="Aurelien Domont" userId="6da7715ce44349b3" providerId="LiveId" clId="{30A766B1-982E-4295-BCAD-093FA0E8E566}" dt="2023-01-18T05:33:07.832" v="14918"/>
          <ac:spMkLst>
            <pc:docMk/>
            <pc:sldMk cId="184401917" sldId="2428"/>
            <ac:spMk id="16" creationId="{6C2BB713-9637-4B9B-938F-E9768876782A}"/>
          </ac:spMkLst>
        </pc:spChg>
        <pc:spChg chg="mod">
          <ac:chgData name="Aurelien Domont" userId="6da7715ce44349b3" providerId="LiveId" clId="{30A766B1-982E-4295-BCAD-093FA0E8E566}" dt="2022-04-27T05:10:24.823" v="6557"/>
          <ac:spMkLst>
            <pc:docMk/>
            <pc:sldMk cId="184401917" sldId="2428"/>
            <ac:spMk id="27" creationId="{AC8B7369-7E6F-43E6-96D5-9FE68700ADE3}"/>
          </ac:spMkLst>
        </pc:spChg>
      </pc:sldChg>
      <pc:sldChg chg="addSp delSp modSp add mod ord">
        <pc:chgData name="Aurelien Domont" userId="6da7715ce44349b3" providerId="LiveId" clId="{30A766B1-982E-4295-BCAD-093FA0E8E566}" dt="2023-01-19T22:58:57.361" v="15936"/>
        <pc:sldMkLst>
          <pc:docMk/>
          <pc:sldMk cId="1336290850" sldId="2429"/>
        </pc:sldMkLst>
        <pc:spChg chg="del">
          <ac:chgData name="Aurelien Domont" userId="6da7715ce44349b3" providerId="LiveId" clId="{30A766B1-982E-4295-BCAD-093FA0E8E566}" dt="2022-05-25T05:59:05.220" v="7269" actId="478"/>
          <ac:spMkLst>
            <pc:docMk/>
            <pc:sldMk cId="1336290850" sldId="2429"/>
            <ac:spMk id="2" creationId="{2EE86A9F-4CE5-49E9-95D6-D406609D749A}"/>
          </ac:spMkLst>
        </pc:spChg>
        <pc:spChg chg="add mod">
          <ac:chgData name="Aurelien Domont" userId="6da7715ce44349b3" providerId="LiveId" clId="{30A766B1-982E-4295-BCAD-093FA0E8E566}" dt="2023-01-19T00:38:55.028" v="15533" actId="14100"/>
          <ac:spMkLst>
            <pc:docMk/>
            <pc:sldMk cId="1336290850" sldId="2429"/>
            <ac:spMk id="2" creationId="{C80C9E7D-AC47-08CE-AE6D-8369C61020CF}"/>
          </ac:spMkLst>
        </pc:spChg>
        <pc:spChg chg="mod">
          <ac:chgData name="Aurelien Domont" userId="6da7715ce44349b3" providerId="LiveId" clId="{30A766B1-982E-4295-BCAD-093FA0E8E566}" dt="2023-01-18T05:33:07.832" v="14918"/>
          <ac:spMkLst>
            <pc:docMk/>
            <pc:sldMk cId="1336290850" sldId="2429"/>
            <ac:spMk id="3" creationId="{CE2529A3-BA97-486F-9E02-8DFAAA7D8D38}"/>
          </ac:spMkLst>
        </pc:spChg>
        <pc:spChg chg="add mod">
          <ac:chgData name="Aurelien Domont" userId="6da7715ce44349b3" providerId="LiveId" clId="{30A766B1-982E-4295-BCAD-093FA0E8E566}" dt="2023-01-16T04:37:06.957" v="13659" actId="14100"/>
          <ac:spMkLst>
            <pc:docMk/>
            <pc:sldMk cId="1336290850" sldId="2429"/>
            <ac:spMk id="4" creationId="{DFDABEBC-4CDA-DE67-F7EF-3C9B292D3796}"/>
          </ac:spMkLst>
        </pc:spChg>
        <pc:spChg chg="add del mod">
          <ac:chgData name="Aurelien Domont" userId="6da7715ce44349b3" providerId="LiveId" clId="{30A766B1-982E-4295-BCAD-093FA0E8E566}" dt="2023-01-19T22:58:56.901" v="15935" actId="478"/>
          <ac:spMkLst>
            <pc:docMk/>
            <pc:sldMk cId="1336290850" sldId="2429"/>
            <ac:spMk id="6" creationId="{2EE7932B-CD5C-F3C9-D512-3646C12FE601}"/>
          </ac:spMkLst>
        </pc:spChg>
        <pc:spChg chg="add mod">
          <ac:chgData name="Aurelien Domont" userId="6da7715ce44349b3" providerId="LiveId" clId="{30A766B1-982E-4295-BCAD-093FA0E8E566}" dt="2023-01-16T05:21:29.476" v="14231" actId="20577"/>
          <ac:spMkLst>
            <pc:docMk/>
            <pc:sldMk cId="1336290850" sldId="2429"/>
            <ac:spMk id="8" creationId="{72A52A59-2B0C-B438-B79F-EAD1EBFD5A88}"/>
          </ac:spMkLst>
        </pc:spChg>
        <pc:spChg chg="mod">
          <ac:chgData name="Aurelien Domont" userId="6da7715ce44349b3" providerId="LiveId" clId="{30A766B1-982E-4295-BCAD-093FA0E8E566}" dt="2023-01-16T04:33:40.814" v="13658" actId="403"/>
          <ac:spMkLst>
            <pc:docMk/>
            <pc:sldMk cId="1336290850" sldId="2429"/>
            <ac:spMk id="9" creationId="{0F4B39A0-2803-47D9-93AE-F99798C91F06}"/>
          </ac:spMkLst>
        </pc:spChg>
        <pc:spChg chg="mod">
          <ac:chgData name="Aurelien Domont" userId="6da7715ce44349b3" providerId="LiveId" clId="{30A766B1-982E-4295-BCAD-093FA0E8E566}" dt="2023-01-16T04:33:40.814" v="13658" actId="403"/>
          <ac:spMkLst>
            <pc:docMk/>
            <pc:sldMk cId="1336290850" sldId="2429"/>
            <ac:spMk id="10" creationId="{52524284-CA7D-416E-ADDB-CAB7040B62C4}"/>
          </ac:spMkLst>
        </pc:spChg>
        <pc:spChg chg="mod">
          <ac:chgData name="Aurelien Domont" userId="6da7715ce44349b3" providerId="LiveId" clId="{30A766B1-982E-4295-BCAD-093FA0E8E566}" dt="2023-01-16T04:33:40.814" v="13658" actId="403"/>
          <ac:spMkLst>
            <pc:docMk/>
            <pc:sldMk cId="1336290850" sldId="2429"/>
            <ac:spMk id="11" creationId="{DCA1B29F-4AB2-4DAE-B498-BC74026B1DDA}"/>
          </ac:spMkLst>
        </pc:spChg>
        <pc:spChg chg="mod">
          <ac:chgData name="Aurelien Domont" userId="6da7715ce44349b3" providerId="LiveId" clId="{30A766B1-982E-4295-BCAD-093FA0E8E566}" dt="2023-01-16T04:33:40.814" v="13658" actId="403"/>
          <ac:spMkLst>
            <pc:docMk/>
            <pc:sldMk cId="1336290850" sldId="2429"/>
            <ac:spMk id="12" creationId="{B9BBA604-AEF4-4807-AD42-75399F0043F4}"/>
          </ac:spMkLst>
        </pc:spChg>
        <pc:spChg chg="add mod">
          <ac:chgData name="Aurelien Domont" userId="6da7715ce44349b3" providerId="LiveId" clId="{30A766B1-982E-4295-BCAD-093FA0E8E566}" dt="2023-01-19T22:58:57.361" v="15936"/>
          <ac:spMkLst>
            <pc:docMk/>
            <pc:sldMk cId="1336290850" sldId="2429"/>
            <ac:spMk id="14" creationId="{85DB7984-08ED-9AB7-9778-BAC9EF667E17}"/>
          </ac:spMkLst>
        </pc:spChg>
        <pc:spChg chg="mod">
          <ac:chgData name="Aurelien Domont" userId="6da7715ce44349b3" providerId="LiveId" clId="{30A766B1-982E-4295-BCAD-093FA0E8E566}" dt="2023-01-19T00:39:07.823" v="15584" actId="20577"/>
          <ac:spMkLst>
            <pc:docMk/>
            <pc:sldMk cId="1336290850" sldId="2429"/>
            <ac:spMk id="16" creationId="{6C2BB713-9637-4B9B-938F-E9768876782A}"/>
          </ac:spMkLst>
        </pc:spChg>
        <pc:spChg chg="add mod">
          <ac:chgData name="Aurelien Domont" userId="6da7715ce44349b3" providerId="LiveId" clId="{30A766B1-982E-4295-BCAD-093FA0E8E566}" dt="2023-01-16T04:39:24.542" v="13846" actId="20577"/>
          <ac:spMkLst>
            <pc:docMk/>
            <pc:sldMk cId="1336290850" sldId="2429"/>
            <ac:spMk id="17" creationId="{8C9A6BE3-F866-232F-A05A-29749A83B1CF}"/>
          </ac:spMkLst>
        </pc:spChg>
        <pc:spChg chg="add mod">
          <ac:chgData name="Aurelien Domont" userId="6da7715ce44349b3" providerId="LiveId" clId="{30A766B1-982E-4295-BCAD-093FA0E8E566}" dt="2023-01-16T04:38:30.819" v="13785" actId="20577"/>
          <ac:spMkLst>
            <pc:docMk/>
            <pc:sldMk cId="1336290850" sldId="2429"/>
            <ac:spMk id="19" creationId="{C6EB7CDE-7F94-BEF9-CB99-7B3D90C68209}"/>
          </ac:spMkLst>
        </pc:spChg>
        <pc:spChg chg="add mod">
          <ac:chgData name="Aurelien Domont" userId="6da7715ce44349b3" providerId="LiveId" clId="{30A766B1-982E-4295-BCAD-093FA0E8E566}" dt="2023-01-16T04:52:48.620" v="14050" actId="1035"/>
          <ac:spMkLst>
            <pc:docMk/>
            <pc:sldMk cId="1336290850" sldId="2429"/>
            <ac:spMk id="20" creationId="{943B90E0-B674-6878-C4CE-C84145B92770}"/>
          </ac:spMkLst>
        </pc:spChg>
        <pc:spChg chg="add mod">
          <ac:chgData name="Aurelien Domont" userId="6da7715ce44349b3" providerId="LiveId" clId="{30A766B1-982E-4295-BCAD-093FA0E8E566}" dt="2023-01-16T05:31:40.476" v="14337" actId="948"/>
          <ac:spMkLst>
            <pc:docMk/>
            <pc:sldMk cId="1336290850" sldId="2429"/>
            <ac:spMk id="21" creationId="{65195D31-8CD1-9CAD-EDAB-5DC5BCEFF793}"/>
          </ac:spMkLst>
        </pc:spChg>
        <pc:spChg chg="mod">
          <ac:chgData name="Aurelien Domont" userId="6da7715ce44349b3" providerId="LiveId" clId="{30A766B1-982E-4295-BCAD-093FA0E8E566}" dt="2023-01-16T04:33:40.814" v="13658" actId="403"/>
          <ac:spMkLst>
            <pc:docMk/>
            <pc:sldMk cId="1336290850" sldId="2429"/>
            <ac:spMk id="22" creationId="{8664D20B-2002-4C9F-A94C-AB6D33819DF8}"/>
          </ac:spMkLst>
        </pc:spChg>
        <pc:spChg chg="add mod">
          <ac:chgData name="Aurelien Domont" userId="6da7715ce44349b3" providerId="LiveId" clId="{30A766B1-982E-4295-BCAD-093FA0E8E566}" dt="2023-01-16T04:57:55.541" v="14072" actId="6549"/>
          <ac:spMkLst>
            <pc:docMk/>
            <pc:sldMk cId="1336290850" sldId="2429"/>
            <ac:spMk id="23" creationId="{93DA698C-3A69-9CB5-3F74-216F16D103FC}"/>
          </ac:spMkLst>
        </pc:spChg>
        <pc:spChg chg="add mod">
          <ac:chgData name="Aurelien Domont" userId="6da7715ce44349b3" providerId="LiveId" clId="{30A766B1-982E-4295-BCAD-093FA0E8E566}" dt="2023-01-16T04:57:29.192" v="14071" actId="20577"/>
          <ac:spMkLst>
            <pc:docMk/>
            <pc:sldMk cId="1336290850" sldId="2429"/>
            <ac:spMk id="26" creationId="{60AA3177-69A2-8959-DB8F-FDAAC70C5894}"/>
          </ac:spMkLst>
        </pc:spChg>
        <pc:spChg chg="mod">
          <ac:chgData name="Aurelien Domont" userId="6da7715ce44349b3" providerId="LiveId" clId="{30A766B1-982E-4295-BCAD-093FA0E8E566}" dt="2023-01-16T04:26:40.779" v="13609" actId="14100"/>
          <ac:spMkLst>
            <pc:docMk/>
            <pc:sldMk cId="1336290850" sldId="2429"/>
            <ac:spMk id="27" creationId="{54BC1734-C961-49B3-BBCE-81BBEF3EFD1B}"/>
          </ac:spMkLst>
        </pc:spChg>
        <pc:spChg chg="del">
          <ac:chgData name="Aurelien Domont" userId="6da7715ce44349b3" providerId="LiveId" clId="{30A766B1-982E-4295-BCAD-093FA0E8E566}" dt="2022-05-25T07:14:08.063" v="7932" actId="478"/>
          <ac:spMkLst>
            <pc:docMk/>
            <pc:sldMk cId="1336290850" sldId="2429"/>
            <ac:spMk id="28" creationId="{4A40CCF3-55AD-4BA5-B3E8-AE7B563E3E35}"/>
          </ac:spMkLst>
        </pc:spChg>
        <pc:spChg chg="add mod">
          <ac:chgData name="Aurelien Domont" userId="6da7715ce44349b3" providerId="LiveId" clId="{30A766B1-982E-4295-BCAD-093FA0E8E566}" dt="2023-01-16T04:58:07.638" v="14082" actId="20577"/>
          <ac:spMkLst>
            <pc:docMk/>
            <pc:sldMk cId="1336290850" sldId="2429"/>
            <ac:spMk id="28" creationId="{84AA7505-5048-31BF-7E45-224CBD648139}"/>
          </ac:spMkLst>
        </pc:spChg>
        <pc:spChg chg="add mod">
          <ac:chgData name="Aurelien Domont" userId="6da7715ce44349b3" providerId="LiveId" clId="{30A766B1-982E-4295-BCAD-093FA0E8E566}" dt="2023-01-16T05:34:47.803" v="14375" actId="20577"/>
          <ac:spMkLst>
            <pc:docMk/>
            <pc:sldMk cId="1336290850" sldId="2429"/>
            <ac:spMk id="29" creationId="{8F984EF8-19B2-4B5E-98EC-433CCE26E2A7}"/>
          </ac:spMkLst>
        </pc:spChg>
        <pc:spChg chg="mod">
          <ac:chgData name="Aurelien Domont" userId="6da7715ce44349b3" providerId="LiveId" clId="{30A766B1-982E-4295-BCAD-093FA0E8E566}" dt="2023-01-16T04:46:57.984" v="13982" actId="1035"/>
          <ac:spMkLst>
            <pc:docMk/>
            <pc:sldMk cId="1336290850" sldId="2429"/>
            <ac:spMk id="31" creationId="{1C1B78F5-CE09-4A06-8F1D-30227B5D6E15}"/>
          </ac:spMkLst>
        </pc:spChg>
        <pc:spChg chg="mod">
          <ac:chgData name="Aurelien Domont" userId="6da7715ce44349b3" providerId="LiveId" clId="{30A766B1-982E-4295-BCAD-093FA0E8E566}" dt="2023-01-16T04:46:57.984" v="13982" actId="1035"/>
          <ac:spMkLst>
            <pc:docMk/>
            <pc:sldMk cId="1336290850" sldId="2429"/>
            <ac:spMk id="32" creationId="{3BEF6079-F38C-4B82-B044-53A13155F334}"/>
          </ac:spMkLst>
        </pc:spChg>
        <pc:spChg chg="mod">
          <ac:chgData name="Aurelien Domont" userId="6da7715ce44349b3" providerId="LiveId" clId="{30A766B1-982E-4295-BCAD-093FA0E8E566}" dt="2023-01-16T04:46:57.984" v="13982" actId="1035"/>
          <ac:spMkLst>
            <pc:docMk/>
            <pc:sldMk cId="1336290850" sldId="2429"/>
            <ac:spMk id="33" creationId="{8260BE05-FEA7-4631-88CD-752AC5C966BA}"/>
          </ac:spMkLst>
        </pc:spChg>
        <pc:spChg chg="mod">
          <ac:chgData name="Aurelien Domont" userId="6da7715ce44349b3" providerId="LiveId" clId="{30A766B1-982E-4295-BCAD-093FA0E8E566}" dt="2023-01-16T04:46:57.984" v="13982" actId="1035"/>
          <ac:spMkLst>
            <pc:docMk/>
            <pc:sldMk cId="1336290850" sldId="2429"/>
            <ac:spMk id="34" creationId="{473B4042-51F1-41BD-8EDF-E03E66716A5A}"/>
          </ac:spMkLst>
        </pc:spChg>
        <pc:spChg chg="mod">
          <ac:chgData name="Aurelien Domont" userId="6da7715ce44349b3" providerId="LiveId" clId="{30A766B1-982E-4295-BCAD-093FA0E8E566}" dt="2023-01-16T04:46:57.984" v="13982" actId="1035"/>
          <ac:spMkLst>
            <pc:docMk/>
            <pc:sldMk cId="1336290850" sldId="2429"/>
            <ac:spMk id="35" creationId="{64C38490-8643-4DBA-8D8B-54C587ECA10D}"/>
          </ac:spMkLst>
        </pc:spChg>
        <pc:spChg chg="add mod">
          <ac:chgData name="Aurelien Domont" userId="6da7715ce44349b3" providerId="LiveId" clId="{30A766B1-982E-4295-BCAD-093FA0E8E566}" dt="2023-01-16T05:08:38.986" v="14184" actId="20577"/>
          <ac:spMkLst>
            <pc:docMk/>
            <pc:sldMk cId="1336290850" sldId="2429"/>
            <ac:spMk id="36" creationId="{66F38449-718A-4DDB-1755-5E28AC672730}"/>
          </ac:spMkLst>
        </pc:spChg>
        <pc:spChg chg="del">
          <ac:chgData name="Aurelien Domont" userId="6da7715ce44349b3" providerId="LiveId" clId="{30A766B1-982E-4295-BCAD-093FA0E8E566}" dt="2022-05-25T07:14:08.063" v="7932" actId="478"/>
          <ac:spMkLst>
            <pc:docMk/>
            <pc:sldMk cId="1336290850" sldId="2429"/>
            <ac:spMk id="37" creationId="{31FE688D-FF20-4223-A037-1233B17CB62E}"/>
          </ac:spMkLst>
        </pc:spChg>
        <pc:spChg chg="del">
          <ac:chgData name="Aurelien Domont" userId="6da7715ce44349b3" providerId="LiveId" clId="{30A766B1-982E-4295-BCAD-093FA0E8E566}" dt="2022-05-25T07:14:08.063" v="7932" actId="478"/>
          <ac:spMkLst>
            <pc:docMk/>
            <pc:sldMk cId="1336290850" sldId="2429"/>
            <ac:spMk id="38" creationId="{9D01B2F0-F734-4933-A904-035A8BF40F3D}"/>
          </ac:spMkLst>
        </pc:spChg>
        <pc:picChg chg="mod">
          <ac:chgData name="Aurelien Domont" userId="6da7715ce44349b3" providerId="LiveId" clId="{30A766B1-982E-4295-BCAD-093FA0E8E566}" dt="2023-01-16T04:26:15.314" v="13596" actId="1035"/>
          <ac:picMkLst>
            <pc:docMk/>
            <pc:sldMk cId="1336290850" sldId="2429"/>
            <ac:picMk id="5" creationId="{B591932E-445E-4FC6-BA49-B391B8DCAC7A}"/>
          </ac:picMkLst>
        </pc:picChg>
        <pc:picChg chg="add del mod">
          <ac:chgData name="Aurelien Domont" userId="6da7715ce44349b3" providerId="LiveId" clId="{30A766B1-982E-4295-BCAD-093FA0E8E566}" dt="2022-05-25T05:57:11.425" v="7147" actId="478"/>
          <ac:picMkLst>
            <pc:docMk/>
            <pc:sldMk cId="1336290850" sldId="2429"/>
            <ac:picMk id="6" creationId="{FB62A8DC-CAA5-4B6A-A63D-6A92BDF735D1}"/>
          </ac:picMkLst>
        </pc:picChg>
        <pc:picChg chg="mod">
          <ac:chgData name="Aurelien Domont" userId="6da7715ce44349b3" providerId="LiveId" clId="{30A766B1-982E-4295-BCAD-093FA0E8E566}" dt="2023-01-16T04:26:15.314" v="13596" actId="1035"/>
          <ac:picMkLst>
            <pc:docMk/>
            <pc:sldMk cId="1336290850" sldId="2429"/>
            <ac:picMk id="7" creationId="{F8BDF65F-C179-4D90-9DAF-9A04B8C11C0C}"/>
          </ac:picMkLst>
        </pc:picChg>
        <pc:picChg chg="mod">
          <ac:chgData name="Aurelien Domont" userId="6da7715ce44349b3" providerId="LiveId" clId="{30A766B1-982E-4295-BCAD-093FA0E8E566}" dt="2023-01-16T04:26:15.314" v="13596" actId="1035"/>
          <ac:picMkLst>
            <pc:docMk/>
            <pc:sldMk cId="1336290850" sldId="2429"/>
            <ac:picMk id="24" creationId="{D2DB75A5-E17D-431C-A54A-40A06ADDBEF3}"/>
          </ac:picMkLst>
        </pc:picChg>
        <pc:picChg chg="mod">
          <ac:chgData name="Aurelien Domont" userId="6da7715ce44349b3" providerId="LiveId" clId="{30A766B1-982E-4295-BCAD-093FA0E8E566}" dt="2023-01-16T04:26:15.314" v="13596" actId="1035"/>
          <ac:picMkLst>
            <pc:docMk/>
            <pc:sldMk cId="1336290850" sldId="2429"/>
            <ac:picMk id="25" creationId="{86024EC3-117C-470E-8D6A-4C9B8B7C4E90}"/>
          </ac:picMkLst>
        </pc:picChg>
        <pc:picChg chg="mod">
          <ac:chgData name="Aurelien Domont" userId="6da7715ce44349b3" providerId="LiveId" clId="{30A766B1-982E-4295-BCAD-093FA0E8E566}" dt="2023-01-16T04:26:15.314" v="13596" actId="1035"/>
          <ac:picMkLst>
            <pc:docMk/>
            <pc:sldMk cId="1336290850" sldId="2429"/>
            <ac:picMk id="30" creationId="{39260E92-FADF-4076-9052-5C1B0040ACAE}"/>
          </ac:picMkLst>
        </pc:picChg>
        <pc:picChg chg="add del mod">
          <ac:chgData name="Aurelien Domont" userId="6da7715ce44349b3" providerId="LiveId" clId="{30A766B1-982E-4295-BCAD-093FA0E8E566}" dt="2023-01-16T05:08:29.243" v="14158" actId="478"/>
          <ac:picMkLst>
            <pc:docMk/>
            <pc:sldMk cId="1336290850" sldId="2429"/>
            <ac:picMk id="37" creationId="{28B9BF96-F863-07D0-48E7-3AE6AF046CC7}"/>
          </ac:picMkLst>
        </pc:picChg>
        <pc:cxnChg chg="add mod">
          <ac:chgData name="Aurelien Domont" userId="6da7715ce44349b3" providerId="LiveId" clId="{30A766B1-982E-4295-BCAD-093FA0E8E566}" dt="2023-01-16T04:28:10.257" v="13639" actId="1038"/>
          <ac:cxnSpMkLst>
            <pc:docMk/>
            <pc:sldMk cId="1336290850" sldId="2429"/>
            <ac:cxnSpMk id="15" creationId="{2F1CB0CC-174D-DC9F-858B-0C02A80273D2}"/>
          </ac:cxnSpMkLst>
        </pc:cxnChg>
        <pc:cxnChg chg="add mod">
          <ac:chgData name="Aurelien Domont" userId="6da7715ce44349b3" providerId="LiveId" clId="{30A766B1-982E-4295-BCAD-093FA0E8E566}" dt="2023-01-16T04:37:29.976" v="13679" actId="1036"/>
          <ac:cxnSpMkLst>
            <pc:docMk/>
            <pc:sldMk cId="1336290850" sldId="2429"/>
            <ac:cxnSpMk id="18" creationId="{9F678C74-3F31-06E3-3984-42342FEDB37D}"/>
          </ac:cxnSpMkLst>
        </pc:cxnChg>
        <pc:cxnChg chg="del">
          <ac:chgData name="Aurelien Domont" userId="6da7715ce44349b3" providerId="LiveId" clId="{30A766B1-982E-4295-BCAD-093FA0E8E566}" dt="2022-05-25T07:14:08.063" v="7932" actId="478"/>
          <ac:cxnSpMkLst>
            <pc:docMk/>
            <pc:sldMk cId="1336290850" sldId="2429"/>
            <ac:cxnSpMk id="19" creationId="{19DA62D3-92ED-4E24-A47E-4114E3BAC740}"/>
          </ac:cxnSpMkLst>
        </pc:cxnChg>
      </pc:sldChg>
      <pc:sldChg chg="addSp delSp modSp add del mod">
        <pc:chgData name="Aurelien Domont" userId="6da7715ce44349b3" providerId="LiveId" clId="{30A766B1-982E-4295-BCAD-093FA0E8E566}" dt="2022-05-25T06:05:50.492" v="7285" actId="2696"/>
        <pc:sldMkLst>
          <pc:docMk/>
          <pc:sldMk cId="3217734136" sldId="2430"/>
        </pc:sldMkLst>
        <pc:spChg chg="add mod">
          <ac:chgData name="Aurelien Domont" userId="6da7715ce44349b3" providerId="LiveId" clId="{30A766B1-982E-4295-BCAD-093FA0E8E566}" dt="2022-04-27T05:22:19.067" v="6957"/>
          <ac:spMkLst>
            <pc:docMk/>
            <pc:sldMk cId="3217734136" sldId="2430"/>
            <ac:spMk id="11" creationId="{B9645EE8-520E-4B83-A488-D3E6FEA78F04}"/>
          </ac:spMkLst>
        </pc:spChg>
        <pc:spChg chg="add mod">
          <ac:chgData name="Aurelien Domont" userId="6da7715ce44349b3" providerId="LiveId" clId="{30A766B1-982E-4295-BCAD-093FA0E8E566}" dt="2022-04-27T05:22:02.551" v="6952" actId="1036"/>
          <ac:spMkLst>
            <pc:docMk/>
            <pc:sldMk cId="3217734136" sldId="2430"/>
            <ac:spMk id="12" creationId="{C044DC9A-D5DA-425F-A52E-E54A52C2D821}"/>
          </ac:spMkLst>
        </pc:spChg>
        <pc:spChg chg="add mod">
          <ac:chgData name="Aurelien Domont" userId="6da7715ce44349b3" providerId="LiveId" clId="{30A766B1-982E-4295-BCAD-093FA0E8E566}" dt="2022-04-27T05:22:25.594" v="6960"/>
          <ac:spMkLst>
            <pc:docMk/>
            <pc:sldMk cId="3217734136" sldId="2430"/>
            <ac:spMk id="14" creationId="{2C48C057-3822-4EE1-8891-FEA265C6B70E}"/>
          </ac:spMkLst>
        </pc:spChg>
        <pc:spChg chg="add mod">
          <ac:chgData name="Aurelien Domont" userId="6da7715ce44349b3" providerId="LiveId" clId="{30A766B1-982E-4295-BCAD-093FA0E8E566}" dt="2022-04-27T05:22:06.258" v="6953" actId="571"/>
          <ac:spMkLst>
            <pc:docMk/>
            <pc:sldMk cId="3217734136" sldId="2430"/>
            <ac:spMk id="15" creationId="{68F04FE8-7194-4E4B-8885-EF372A5E723A}"/>
          </ac:spMkLst>
        </pc:spChg>
        <pc:spChg chg="mod">
          <ac:chgData name="Aurelien Domont" userId="6da7715ce44349b3" providerId="LiveId" clId="{30A766B1-982E-4295-BCAD-093FA0E8E566}" dt="2022-04-27T05:21:15.708" v="6936" actId="20577"/>
          <ac:spMkLst>
            <pc:docMk/>
            <pc:sldMk cId="3217734136" sldId="2430"/>
            <ac:spMk id="16" creationId="{6C2BB713-9637-4B9B-938F-E9768876782A}"/>
          </ac:spMkLst>
        </pc:spChg>
        <pc:spChg chg="add mod">
          <ac:chgData name="Aurelien Domont" userId="6da7715ce44349b3" providerId="LiveId" clId="{30A766B1-982E-4295-BCAD-093FA0E8E566}" dt="2022-04-27T05:22:32.506" v="6963"/>
          <ac:spMkLst>
            <pc:docMk/>
            <pc:sldMk cId="3217734136" sldId="2430"/>
            <ac:spMk id="17" creationId="{334DD0FA-A304-4D80-982F-EFCDB22C101F}"/>
          </ac:spMkLst>
        </pc:spChg>
        <pc:spChg chg="add mod">
          <ac:chgData name="Aurelien Domont" userId="6da7715ce44349b3" providerId="LiveId" clId="{30A766B1-982E-4295-BCAD-093FA0E8E566}" dt="2022-04-27T05:22:09.919" v="6954" actId="571"/>
          <ac:spMkLst>
            <pc:docMk/>
            <pc:sldMk cId="3217734136" sldId="2430"/>
            <ac:spMk id="18" creationId="{517B3254-1454-41C6-8EAA-C3EDDD569296}"/>
          </ac:spMkLst>
        </pc:spChg>
        <pc:spChg chg="del">
          <ac:chgData name="Aurelien Domont" userId="6da7715ce44349b3" providerId="LiveId" clId="{30A766B1-982E-4295-BCAD-093FA0E8E566}" dt="2022-04-27T05:21:25.154" v="6937" actId="478"/>
          <ac:spMkLst>
            <pc:docMk/>
            <pc:sldMk cId="3217734136" sldId="2430"/>
            <ac:spMk id="24" creationId="{83A9CD77-ADAB-41C7-817C-8A06F22EB74B}"/>
          </ac:spMkLst>
        </pc:spChg>
        <pc:spChg chg="del">
          <ac:chgData name="Aurelien Domont" userId="6da7715ce44349b3" providerId="LiveId" clId="{30A766B1-982E-4295-BCAD-093FA0E8E566}" dt="2022-04-27T05:21:27.424" v="6938" actId="478"/>
          <ac:spMkLst>
            <pc:docMk/>
            <pc:sldMk cId="3217734136" sldId="2430"/>
            <ac:spMk id="27" creationId="{AC8B7369-7E6F-43E6-96D5-9FE68700ADE3}"/>
          </ac:spMkLst>
        </pc:spChg>
        <pc:grpChg chg="del">
          <ac:chgData name="Aurelien Domont" userId="6da7715ce44349b3" providerId="LiveId" clId="{30A766B1-982E-4295-BCAD-093FA0E8E566}" dt="2022-04-27T05:21:25.154" v="6937" actId="478"/>
          <ac:grpSpMkLst>
            <pc:docMk/>
            <pc:sldMk cId="3217734136" sldId="2430"/>
            <ac:grpSpMk id="2" creationId="{F24F8531-7A9A-4F6E-85C2-5B231F0EACEC}"/>
          </ac:grpSpMkLst>
        </pc:grpChg>
      </pc:sldChg>
      <pc:sldChg chg="addSp delSp modSp add mod ord">
        <pc:chgData name="Aurelien Domont" userId="6da7715ce44349b3" providerId="LiveId" clId="{30A766B1-982E-4295-BCAD-093FA0E8E566}" dt="2023-01-18T05:33:07.832" v="14918"/>
        <pc:sldMkLst>
          <pc:docMk/>
          <pc:sldMk cId="3624781149" sldId="2430"/>
        </pc:sldMkLst>
        <pc:spChg chg="mod">
          <ac:chgData name="Aurelien Domont" userId="6da7715ce44349b3" providerId="LiveId" clId="{30A766B1-982E-4295-BCAD-093FA0E8E566}" dt="2023-01-18T05:33:07.832" v="14918"/>
          <ac:spMkLst>
            <pc:docMk/>
            <pc:sldMk cId="3624781149" sldId="2430"/>
            <ac:spMk id="3" creationId="{CE2529A3-BA97-486F-9E02-8DFAAA7D8D38}"/>
          </ac:spMkLst>
        </pc:spChg>
        <pc:spChg chg="add mod">
          <ac:chgData name="Aurelien Domont" userId="6da7715ce44349b3" providerId="LiveId" clId="{30A766B1-982E-4295-BCAD-093FA0E8E566}" dt="2022-05-27T06:00:49.728" v="12801" actId="113"/>
          <ac:spMkLst>
            <pc:docMk/>
            <pc:sldMk cId="3624781149" sldId="2430"/>
            <ac:spMk id="9" creationId="{BE08DE42-BC34-2CB5-B8D0-9A674610A298}"/>
          </ac:spMkLst>
        </pc:spChg>
        <pc:spChg chg="add del mod">
          <ac:chgData name="Aurelien Domont" userId="6da7715ce44349b3" providerId="LiveId" clId="{30A766B1-982E-4295-BCAD-093FA0E8E566}" dt="2022-05-27T05:54:23.659" v="12732"/>
          <ac:spMkLst>
            <pc:docMk/>
            <pc:sldMk cId="3624781149" sldId="2430"/>
            <ac:spMk id="10" creationId="{E2116F58-5158-6151-78AE-19C029716A1A}"/>
          </ac:spMkLst>
        </pc:spChg>
        <pc:spChg chg="del">
          <ac:chgData name="Aurelien Domont" userId="6da7715ce44349b3" providerId="LiveId" clId="{30A766B1-982E-4295-BCAD-093FA0E8E566}" dt="2022-05-25T06:24:45.049" v="7311" actId="478"/>
          <ac:spMkLst>
            <pc:docMk/>
            <pc:sldMk cId="3624781149" sldId="2430"/>
            <ac:spMk id="11" creationId="{B9645EE8-520E-4B83-A488-D3E6FEA78F04}"/>
          </ac:spMkLst>
        </pc:spChg>
        <pc:spChg chg="del">
          <ac:chgData name="Aurelien Domont" userId="6da7715ce44349b3" providerId="LiveId" clId="{30A766B1-982E-4295-BCAD-093FA0E8E566}" dt="2022-05-25T06:24:45.049" v="7311" actId="478"/>
          <ac:spMkLst>
            <pc:docMk/>
            <pc:sldMk cId="3624781149" sldId="2430"/>
            <ac:spMk id="12" creationId="{C044DC9A-D5DA-425F-A52E-E54A52C2D821}"/>
          </ac:spMkLst>
        </pc:spChg>
        <pc:spChg chg="del">
          <ac:chgData name="Aurelien Domont" userId="6da7715ce44349b3" providerId="LiveId" clId="{30A766B1-982E-4295-BCAD-093FA0E8E566}" dt="2022-05-25T06:24:45.049" v="7311" actId="478"/>
          <ac:spMkLst>
            <pc:docMk/>
            <pc:sldMk cId="3624781149" sldId="2430"/>
            <ac:spMk id="14" creationId="{2C48C057-3822-4EE1-8891-FEA265C6B70E}"/>
          </ac:spMkLst>
        </pc:spChg>
        <pc:spChg chg="del">
          <ac:chgData name="Aurelien Domont" userId="6da7715ce44349b3" providerId="LiveId" clId="{30A766B1-982E-4295-BCAD-093FA0E8E566}" dt="2022-05-25T06:24:45.049" v="7311" actId="478"/>
          <ac:spMkLst>
            <pc:docMk/>
            <pc:sldMk cId="3624781149" sldId="2430"/>
            <ac:spMk id="15" creationId="{68F04FE8-7194-4E4B-8885-EF372A5E723A}"/>
          </ac:spMkLst>
        </pc:spChg>
        <pc:spChg chg="mod">
          <ac:chgData name="Aurelien Domont" userId="6da7715ce44349b3" providerId="LiveId" clId="{30A766B1-982E-4295-BCAD-093FA0E8E566}" dt="2023-01-18T05:33:07.832" v="14918"/>
          <ac:spMkLst>
            <pc:docMk/>
            <pc:sldMk cId="3624781149" sldId="2430"/>
            <ac:spMk id="16" creationId="{6C2BB713-9637-4B9B-938F-E9768876782A}"/>
          </ac:spMkLst>
        </pc:spChg>
        <pc:spChg chg="del">
          <ac:chgData name="Aurelien Domont" userId="6da7715ce44349b3" providerId="LiveId" clId="{30A766B1-982E-4295-BCAD-093FA0E8E566}" dt="2022-05-25T06:24:45.049" v="7311" actId="478"/>
          <ac:spMkLst>
            <pc:docMk/>
            <pc:sldMk cId="3624781149" sldId="2430"/>
            <ac:spMk id="17" creationId="{334DD0FA-A304-4D80-982F-EFCDB22C101F}"/>
          </ac:spMkLst>
        </pc:spChg>
        <pc:spChg chg="del">
          <ac:chgData name="Aurelien Domont" userId="6da7715ce44349b3" providerId="LiveId" clId="{30A766B1-982E-4295-BCAD-093FA0E8E566}" dt="2022-05-25T06:24:45.049" v="7311" actId="478"/>
          <ac:spMkLst>
            <pc:docMk/>
            <pc:sldMk cId="3624781149" sldId="2430"/>
            <ac:spMk id="18" creationId="{517B3254-1454-41C6-8EAA-C3EDDD569296}"/>
          </ac:spMkLst>
        </pc:spChg>
        <pc:spChg chg="add del">
          <ac:chgData name="Aurelien Domont" userId="6da7715ce44349b3" providerId="LiveId" clId="{30A766B1-982E-4295-BCAD-093FA0E8E566}" dt="2022-05-25T06:24:48.959" v="7313" actId="22"/>
          <ac:spMkLst>
            <pc:docMk/>
            <pc:sldMk cId="3624781149" sldId="2430"/>
            <ac:spMk id="19" creationId="{3CF83D6B-5C5C-582F-81CF-AC4ADB9E0A5D}"/>
          </ac:spMkLst>
        </pc:spChg>
        <pc:spChg chg="add del mod">
          <ac:chgData name="Aurelien Domont" userId="6da7715ce44349b3" providerId="LiveId" clId="{30A766B1-982E-4295-BCAD-093FA0E8E566}" dt="2022-05-27T05:33:09.939" v="12494" actId="478"/>
          <ac:spMkLst>
            <pc:docMk/>
            <pc:sldMk cId="3624781149" sldId="2430"/>
            <ac:spMk id="20" creationId="{6F42B407-2666-69B3-72ED-6B9C33D14087}"/>
          </ac:spMkLst>
        </pc:spChg>
        <pc:spChg chg="add del mod">
          <ac:chgData name="Aurelien Domont" userId="6da7715ce44349b3" providerId="LiveId" clId="{30A766B1-982E-4295-BCAD-093FA0E8E566}" dt="2022-05-27T05:33:07.310" v="12493" actId="478"/>
          <ac:spMkLst>
            <pc:docMk/>
            <pc:sldMk cId="3624781149" sldId="2430"/>
            <ac:spMk id="21" creationId="{5CEFCDCF-6861-30D9-4B65-49C20EAA42AE}"/>
          </ac:spMkLst>
        </pc:spChg>
        <pc:picChg chg="add del mod">
          <ac:chgData name="Aurelien Domont" userId="6da7715ce44349b3" providerId="LiveId" clId="{30A766B1-982E-4295-BCAD-093FA0E8E566}" dt="2022-05-25T06:26:35.772" v="7336" actId="478"/>
          <ac:picMkLst>
            <pc:docMk/>
            <pc:sldMk cId="3624781149" sldId="2430"/>
            <ac:picMk id="6" creationId="{CBDA0ADE-9610-975D-8CF1-047868C8561C}"/>
          </ac:picMkLst>
        </pc:picChg>
      </pc:sldChg>
      <pc:sldChg chg="modSp add">
        <pc:chgData name="Aurelien Domont" userId="6da7715ce44349b3" providerId="LiveId" clId="{30A766B1-982E-4295-BCAD-093FA0E8E566}" dt="2023-01-18T05:33:07.832" v="14918"/>
        <pc:sldMkLst>
          <pc:docMk/>
          <pc:sldMk cId="1310623865" sldId="2431"/>
        </pc:sldMkLst>
        <pc:spChg chg="mod">
          <ac:chgData name="Aurelien Domont" userId="6da7715ce44349b3" providerId="LiveId" clId="{30A766B1-982E-4295-BCAD-093FA0E8E566}" dt="2023-01-18T05:33:07.832" v="14918"/>
          <ac:spMkLst>
            <pc:docMk/>
            <pc:sldMk cId="1310623865" sldId="2431"/>
            <ac:spMk id="3" creationId="{CE2529A3-BA97-486F-9E02-8DFAAA7D8D38}"/>
          </ac:spMkLst>
        </pc:spChg>
        <pc:spChg chg="mod">
          <ac:chgData name="Aurelien Domont" userId="6da7715ce44349b3" providerId="LiveId" clId="{30A766B1-982E-4295-BCAD-093FA0E8E566}" dt="2023-01-18T05:33:07.832" v="14918"/>
          <ac:spMkLst>
            <pc:docMk/>
            <pc:sldMk cId="1310623865" sldId="2431"/>
            <ac:spMk id="16" creationId="{6C2BB713-9637-4B9B-938F-E9768876782A}"/>
          </ac:spMkLst>
        </pc:spChg>
      </pc:sldChg>
      <pc:sldChg chg="modSp add">
        <pc:chgData name="Aurelien Domont" userId="6da7715ce44349b3" providerId="LiveId" clId="{30A766B1-982E-4295-BCAD-093FA0E8E566}" dt="2023-01-18T05:33:07.832" v="14918"/>
        <pc:sldMkLst>
          <pc:docMk/>
          <pc:sldMk cId="207067997" sldId="2432"/>
        </pc:sldMkLst>
        <pc:spChg chg="mod">
          <ac:chgData name="Aurelien Domont" userId="6da7715ce44349b3" providerId="LiveId" clId="{30A766B1-982E-4295-BCAD-093FA0E8E566}" dt="2023-01-18T05:33:07.832" v="14918"/>
          <ac:spMkLst>
            <pc:docMk/>
            <pc:sldMk cId="207067997" sldId="2432"/>
            <ac:spMk id="3" creationId="{CE2529A3-BA97-486F-9E02-8DFAAA7D8D38}"/>
          </ac:spMkLst>
        </pc:spChg>
        <pc:spChg chg="mod">
          <ac:chgData name="Aurelien Domont" userId="6da7715ce44349b3" providerId="LiveId" clId="{30A766B1-982E-4295-BCAD-093FA0E8E566}" dt="2023-01-18T05:33:07.832" v="14918"/>
          <ac:spMkLst>
            <pc:docMk/>
            <pc:sldMk cId="207067997" sldId="2432"/>
            <ac:spMk id="16" creationId="{6C2BB713-9637-4B9B-938F-E9768876782A}"/>
          </ac:spMkLst>
        </pc:spChg>
      </pc:sldChg>
      <pc:sldChg chg="add del">
        <pc:chgData name="Aurelien Domont" userId="6da7715ce44349b3" providerId="LiveId" clId="{30A766B1-982E-4295-BCAD-093FA0E8E566}" dt="2022-05-25T06:01:10.658" v="7276"/>
        <pc:sldMkLst>
          <pc:docMk/>
          <pc:sldMk cId="2190507811" sldId="2432"/>
        </pc:sldMkLst>
      </pc:sldChg>
      <pc:sldChg chg="delSp modSp add del mod">
        <pc:chgData name="Aurelien Domont" userId="6da7715ce44349b3" providerId="LiveId" clId="{30A766B1-982E-4295-BCAD-093FA0E8E566}" dt="2022-05-25T06:02:14.283" v="7284" actId="47"/>
        <pc:sldMkLst>
          <pc:docMk/>
          <pc:sldMk cId="2913795939" sldId="2432"/>
        </pc:sldMkLst>
        <pc:spChg chg="del">
          <ac:chgData name="Aurelien Domont" userId="6da7715ce44349b3" providerId="LiveId" clId="{30A766B1-982E-4295-BCAD-093FA0E8E566}" dt="2022-05-25T05:59:31.904" v="7270" actId="478"/>
          <ac:spMkLst>
            <pc:docMk/>
            <pc:sldMk cId="2913795939" sldId="2432"/>
            <ac:spMk id="9" creationId="{0F4B39A0-2803-47D9-93AE-F99798C91F06}"/>
          </ac:spMkLst>
        </pc:spChg>
        <pc:spChg chg="del">
          <ac:chgData name="Aurelien Domont" userId="6da7715ce44349b3" providerId="LiveId" clId="{30A766B1-982E-4295-BCAD-093FA0E8E566}" dt="2022-05-25T05:59:31.904" v="7270" actId="478"/>
          <ac:spMkLst>
            <pc:docMk/>
            <pc:sldMk cId="2913795939" sldId="2432"/>
            <ac:spMk id="10" creationId="{52524284-CA7D-416E-ADDB-CAB7040B62C4}"/>
          </ac:spMkLst>
        </pc:spChg>
        <pc:spChg chg="del">
          <ac:chgData name="Aurelien Domont" userId="6da7715ce44349b3" providerId="LiveId" clId="{30A766B1-982E-4295-BCAD-093FA0E8E566}" dt="2022-05-25T05:59:31.904" v="7270" actId="478"/>
          <ac:spMkLst>
            <pc:docMk/>
            <pc:sldMk cId="2913795939" sldId="2432"/>
            <ac:spMk id="11" creationId="{DCA1B29F-4AB2-4DAE-B498-BC74026B1DDA}"/>
          </ac:spMkLst>
        </pc:spChg>
        <pc:spChg chg="del">
          <ac:chgData name="Aurelien Domont" userId="6da7715ce44349b3" providerId="LiveId" clId="{30A766B1-982E-4295-BCAD-093FA0E8E566}" dt="2022-05-25T05:59:31.904" v="7270" actId="478"/>
          <ac:spMkLst>
            <pc:docMk/>
            <pc:sldMk cId="2913795939" sldId="2432"/>
            <ac:spMk id="12" creationId="{B9BBA604-AEF4-4807-AD42-75399F0043F4}"/>
          </ac:spMkLst>
        </pc:spChg>
        <pc:spChg chg="del">
          <ac:chgData name="Aurelien Domont" userId="6da7715ce44349b3" providerId="LiveId" clId="{30A766B1-982E-4295-BCAD-093FA0E8E566}" dt="2022-05-25T05:59:31.904" v="7270" actId="478"/>
          <ac:spMkLst>
            <pc:docMk/>
            <pc:sldMk cId="2913795939" sldId="2432"/>
            <ac:spMk id="22" creationId="{8664D20B-2002-4C9F-A94C-AB6D33819DF8}"/>
          </ac:spMkLst>
        </pc:spChg>
        <pc:spChg chg="del">
          <ac:chgData name="Aurelien Domont" userId="6da7715ce44349b3" providerId="LiveId" clId="{30A766B1-982E-4295-BCAD-093FA0E8E566}" dt="2022-05-25T05:59:31.904" v="7270" actId="478"/>
          <ac:spMkLst>
            <pc:docMk/>
            <pc:sldMk cId="2913795939" sldId="2432"/>
            <ac:spMk id="27" creationId="{54BC1734-C961-49B3-BBCE-81BBEF3EFD1B}"/>
          </ac:spMkLst>
        </pc:spChg>
        <pc:spChg chg="del">
          <ac:chgData name="Aurelien Domont" userId="6da7715ce44349b3" providerId="LiveId" clId="{30A766B1-982E-4295-BCAD-093FA0E8E566}" dt="2022-05-25T05:59:31.904" v="7270" actId="478"/>
          <ac:spMkLst>
            <pc:docMk/>
            <pc:sldMk cId="2913795939" sldId="2432"/>
            <ac:spMk id="28" creationId="{4A40CCF3-55AD-4BA5-B3E8-AE7B563E3E35}"/>
          </ac:spMkLst>
        </pc:spChg>
        <pc:spChg chg="del">
          <ac:chgData name="Aurelien Domont" userId="6da7715ce44349b3" providerId="LiveId" clId="{30A766B1-982E-4295-BCAD-093FA0E8E566}" dt="2022-05-25T05:59:31.904" v="7270" actId="478"/>
          <ac:spMkLst>
            <pc:docMk/>
            <pc:sldMk cId="2913795939" sldId="2432"/>
            <ac:spMk id="31" creationId="{1C1B78F5-CE09-4A06-8F1D-30227B5D6E15}"/>
          </ac:spMkLst>
        </pc:spChg>
        <pc:spChg chg="del">
          <ac:chgData name="Aurelien Domont" userId="6da7715ce44349b3" providerId="LiveId" clId="{30A766B1-982E-4295-BCAD-093FA0E8E566}" dt="2022-05-25T05:59:31.904" v="7270" actId="478"/>
          <ac:spMkLst>
            <pc:docMk/>
            <pc:sldMk cId="2913795939" sldId="2432"/>
            <ac:spMk id="32" creationId="{3BEF6079-F38C-4B82-B044-53A13155F334}"/>
          </ac:spMkLst>
        </pc:spChg>
        <pc:spChg chg="del">
          <ac:chgData name="Aurelien Domont" userId="6da7715ce44349b3" providerId="LiveId" clId="{30A766B1-982E-4295-BCAD-093FA0E8E566}" dt="2022-05-25T05:59:31.904" v="7270" actId="478"/>
          <ac:spMkLst>
            <pc:docMk/>
            <pc:sldMk cId="2913795939" sldId="2432"/>
            <ac:spMk id="33" creationId="{8260BE05-FEA7-4631-88CD-752AC5C966BA}"/>
          </ac:spMkLst>
        </pc:spChg>
        <pc:spChg chg="del">
          <ac:chgData name="Aurelien Domont" userId="6da7715ce44349b3" providerId="LiveId" clId="{30A766B1-982E-4295-BCAD-093FA0E8E566}" dt="2022-05-25T05:59:31.904" v="7270" actId="478"/>
          <ac:spMkLst>
            <pc:docMk/>
            <pc:sldMk cId="2913795939" sldId="2432"/>
            <ac:spMk id="34" creationId="{473B4042-51F1-41BD-8EDF-E03E66716A5A}"/>
          </ac:spMkLst>
        </pc:spChg>
        <pc:spChg chg="del">
          <ac:chgData name="Aurelien Domont" userId="6da7715ce44349b3" providerId="LiveId" clId="{30A766B1-982E-4295-BCAD-093FA0E8E566}" dt="2022-05-25T05:59:31.904" v="7270" actId="478"/>
          <ac:spMkLst>
            <pc:docMk/>
            <pc:sldMk cId="2913795939" sldId="2432"/>
            <ac:spMk id="35" creationId="{64C38490-8643-4DBA-8D8B-54C587ECA10D}"/>
          </ac:spMkLst>
        </pc:spChg>
        <pc:spChg chg="del">
          <ac:chgData name="Aurelien Domont" userId="6da7715ce44349b3" providerId="LiveId" clId="{30A766B1-982E-4295-BCAD-093FA0E8E566}" dt="2022-05-25T05:59:31.904" v="7270" actId="478"/>
          <ac:spMkLst>
            <pc:docMk/>
            <pc:sldMk cId="2913795939" sldId="2432"/>
            <ac:spMk id="37" creationId="{31FE688D-FF20-4223-A037-1233B17CB62E}"/>
          </ac:spMkLst>
        </pc:spChg>
        <pc:spChg chg="del">
          <ac:chgData name="Aurelien Domont" userId="6da7715ce44349b3" providerId="LiveId" clId="{30A766B1-982E-4295-BCAD-093FA0E8E566}" dt="2022-05-25T05:59:31.904" v="7270" actId="478"/>
          <ac:spMkLst>
            <pc:docMk/>
            <pc:sldMk cId="2913795939" sldId="2432"/>
            <ac:spMk id="38" creationId="{9D01B2F0-F734-4933-A904-035A8BF40F3D}"/>
          </ac:spMkLst>
        </pc:spChg>
        <pc:picChg chg="del">
          <ac:chgData name="Aurelien Domont" userId="6da7715ce44349b3" providerId="LiveId" clId="{30A766B1-982E-4295-BCAD-093FA0E8E566}" dt="2022-05-25T05:59:31.904" v="7270" actId="478"/>
          <ac:picMkLst>
            <pc:docMk/>
            <pc:sldMk cId="2913795939" sldId="2432"/>
            <ac:picMk id="5" creationId="{B591932E-445E-4FC6-BA49-B391B8DCAC7A}"/>
          </ac:picMkLst>
        </pc:picChg>
        <pc:picChg chg="mod">
          <ac:chgData name="Aurelien Domont" userId="6da7715ce44349b3" providerId="LiveId" clId="{30A766B1-982E-4295-BCAD-093FA0E8E566}" dt="2022-05-25T06:01:13.897" v="7279" actId="1076"/>
          <ac:picMkLst>
            <pc:docMk/>
            <pc:sldMk cId="2913795939" sldId="2432"/>
            <ac:picMk id="6" creationId="{FB62A8DC-CAA5-4B6A-A63D-6A92BDF735D1}"/>
          </ac:picMkLst>
        </pc:picChg>
        <pc:picChg chg="del">
          <ac:chgData name="Aurelien Domont" userId="6da7715ce44349b3" providerId="LiveId" clId="{30A766B1-982E-4295-BCAD-093FA0E8E566}" dt="2022-05-25T05:59:31.904" v="7270" actId="478"/>
          <ac:picMkLst>
            <pc:docMk/>
            <pc:sldMk cId="2913795939" sldId="2432"/>
            <ac:picMk id="7" creationId="{F8BDF65F-C179-4D90-9DAF-9A04B8C11C0C}"/>
          </ac:picMkLst>
        </pc:picChg>
        <pc:picChg chg="del">
          <ac:chgData name="Aurelien Domont" userId="6da7715ce44349b3" providerId="LiveId" clId="{30A766B1-982E-4295-BCAD-093FA0E8E566}" dt="2022-05-25T05:59:31.904" v="7270" actId="478"/>
          <ac:picMkLst>
            <pc:docMk/>
            <pc:sldMk cId="2913795939" sldId="2432"/>
            <ac:picMk id="24" creationId="{D2DB75A5-E17D-431C-A54A-40A06ADDBEF3}"/>
          </ac:picMkLst>
        </pc:picChg>
        <pc:picChg chg="del">
          <ac:chgData name="Aurelien Domont" userId="6da7715ce44349b3" providerId="LiveId" clId="{30A766B1-982E-4295-BCAD-093FA0E8E566}" dt="2022-05-25T05:59:31.904" v="7270" actId="478"/>
          <ac:picMkLst>
            <pc:docMk/>
            <pc:sldMk cId="2913795939" sldId="2432"/>
            <ac:picMk id="25" creationId="{86024EC3-117C-470E-8D6A-4C9B8B7C4E90}"/>
          </ac:picMkLst>
        </pc:picChg>
        <pc:picChg chg="del">
          <ac:chgData name="Aurelien Domont" userId="6da7715ce44349b3" providerId="LiveId" clId="{30A766B1-982E-4295-BCAD-093FA0E8E566}" dt="2022-05-25T05:59:31.904" v="7270" actId="478"/>
          <ac:picMkLst>
            <pc:docMk/>
            <pc:sldMk cId="2913795939" sldId="2432"/>
            <ac:picMk id="30" creationId="{39260E92-FADF-4076-9052-5C1B0040ACAE}"/>
          </ac:picMkLst>
        </pc:picChg>
        <pc:cxnChg chg="del">
          <ac:chgData name="Aurelien Domont" userId="6da7715ce44349b3" providerId="LiveId" clId="{30A766B1-982E-4295-BCAD-093FA0E8E566}" dt="2022-05-25T05:59:31.904" v="7270" actId="478"/>
          <ac:cxnSpMkLst>
            <pc:docMk/>
            <pc:sldMk cId="2913795939" sldId="2432"/>
            <ac:cxnSpMk id="19" creationId="{19DA62D3-92ED-4E24-A47E-4114E3BAC740}"/>
          </ac:cxnSpMkLst>
        </pc:cxnChg>
      </pc:sldChg>
      <pc:sldChg chg="addSp delSp modSp add del mod">
        <pc:chgData name="Aurelien Domont" userId="6da7715ce44349b3" providerId="LiveId" clId="{30A766B1-982E-4295-BCAD-093FA0E8E566}" dt="2022-05-25T06:01:26.536" v="7281" actId="47"/>
        <pc:sldMkLst>
          <pc:docMk/>
          <pc:sldMk cId="427279184" sldId="2433"/>
        </pc:sldMkLst>
        <pc:spChg chg="del">
          <ac:chgData name="Aurelien Domont" userId="6da7715ce44349b3" providerId="LiveId" clId="{30A766B1-982E-4295-BCAD-093FA0E8E566}" dt="2022-05-25T05:57:16.048" v="7148" actId="478"/>
          <ac:spMkLst>
            <pc:docMk/>
            <pc:sldMk cId="427279184" sldId="2433"/>
            <ac:spMk id="9" creationId="{0F4B39A0-2803-47D9-93AE-F99798C91F06}"/>
          </ac:spMkLst>
        </pc:spChg>
        <pc:spChg chg="del">
          <ac:chgData name="Aurelien Domont" userId="6da7715ce44349b3" providerId="LiveId" clId="{30A766B1-982E-4295-BCAD-093FA0E8E566}" dt="2022-05-25T05:57:16.048" v="7148" actId="478"/>
          <ac:spMkLst>
            <pc:docMk/>
            <pc:sldMk cId="427279184" sldId="2433"/>
            <ac:spMk id="10" creationId="{52524284-CA7D-416E-ADDB-CAB7040B62C4}"/>
          </ac:spMkLst>
        </pc:spChg>
        <pc:spChg chg="del">
          <ac:chgData name="Aurelien Domont" userId="6da7715ce44349b3" providerId="LiveId" clId="{30A766B1-982E-4295-BCAD-093FA0E8E566}" dt="2022-05-25T05:57:16.048" v="7148" actId="478"/>
          <ac:spMkLst>
            <pc:docMk/>
            <pc:sldMk cId="427279184" sldId="2433"/>
            <ac:spMk id="11" creationId="{DCA1B29F-4AB2-4DAE-B498-BC74026B1DDA}"/>
          </ac:spMkLst>
        </pc:spChg>
        <pc:spChg chg="del">
          <ac:chgData name="Aurelien Domont" userId="6da7715ce44349b3" providerId="LiveId" clId="{30A766B1-982E-4295-BCAD-093FA0E8E566}" dt="2022-05-25T05:57:16.048" v="7148" actId="478"/>
          <ac:spMkLst>
            <pc:docMk/>
            <pc:sldMk cId="427279184" sldId="2433"/>
            <ac:spMk id="12" creationId="{B9BBA604-AEF4-4807-AD42-75399F0043F4}"/>
          </ac:spMkLst>
        </pc:spChg>
        <pc:spChg chg="mod">
          <ac:chgData name="Aurelien Domont" userId="6da7715ce44349b3" providerId="LiveId" clId="{30A766B1-982E-4295-BCAD-093FA0E8E566}" dt="2022-05-25T05:54:22.073" v="7144" actId="20577"/>
          <ac:spMkLst>
            <pc:docMk/>
            <pc:sldMk cId="427279184" sldId="2433"/>
            <ac:spMk id="16" creationId="{6C2BB713-9637-4B9B-938F-E9768876782A}"/>
          </ac:spMkLst>
        </pc:spChg>
        <pc:spChg chg="del">
          <ac:chgData name="Aurelien Domont" userId="6da7715ce44349b3" providerId="LiveId" clId="{30A766B1-982E-4295-BCAD-093FA0E8E566}" dt="2022-05-25T05:57:16.048" v="7148" actId="478"/>
          <ac:spMkLst>
            <pc:docMk/>
            <pc:sldMk cId="427279184" sldId="2433"/>
            <ac:spMk id="22" creationId="{8664D20B-2002-4C9F-A94C-AB6D33819DF8}"/>
          </ac:spMkLst>
        </pc:spChg>
        <pc:spChg chg="add mod">
          <ac:chgData name="Aurelien Domont" userId="6da7715ce44349b3" providerId="LiveId" clId="{30A766B1-982E-4295-BCAD-093FA0E8E566}" dt="2022-05-25T05:58:00.242" v="7181" actId="1036"/>
          <ac:spMkLst>
            <pc:docMk/>
            <pc:sldMk cId="427279184" sldId="2433"/>
            <ac:spMk id="23" creationId="{BC537B79-55FE-4B8A-103D-C76E8D55A4E4}"/>
          </ac:spMkLst>
        </pc:spChg>
        <pc:spChg chg="add mod">
          <ac:chgData name="Aurelien Domont" userId="6da7715ce44349b3" providerId="LiveId" clId="{30A766B1-982E-4295-BCAD-093FA0E8E566}" dt="2022-05-25T05:58:00.242" v="7181" actId="1036"/>
          <ac:spMkLst>
            <pc:docMk/>
            <pc:sldMk cId="427279184" sldId="2433"/>
            <ac:spMk id="26" creationId="{0CF15B81-A1EF-20CE-DA0C-6AEDEFEB646E}"/>
          </ac:spMkLst>
        </pc:spChg>
        <pc:spChg chg="add mod">
          <ac:chgData name="Aurelien Domont" userId="6da7715ce44349b3" providerId="LiveId" clId="{30A766B1-982E-4295-BCAD-093FA0E8E566}" dt="2022-05-25T05:58:00.242" v="7181" actId="1036"/>
          <ac:spMkLst>
            <pc:docMk/>
            <pc:sldMk cId="427279184" sldId="2433"/>
            <ac:spMk id="27" creationId="{1091ADE9-FF45-41F5-EDDC-EFDED02C8032}"/>
          </ac:spMkLst>
        </pc:spChg>
        <pc:spChg chg="add mod">
          <ac:chgData name="Aurelien Domont" userId="6da7715ce44349b3" providerId="LiveId" clId="{30A766B1-982E-4295-BCAD-093FA0E8E566}" dt="2022-05-25T05:58:00.242" v="7181" actId="1036"/>
          <ac:spMkLst>
            <pc:docMk/>
            <pc:sldMk cId="427279184" sldId="2433"/>
            <ac:spMk id="28" creationId="{CCC86A7E-6025-2D52-518B-534723EF7D4C}"/>
          </ac:spMkLst>
        </pc:spChg>
        <pc:spChg chg="add mod">
          <ac:chgData name="Aurelien Domont" userId="6da7715ce44349b3" providerId="LiveId" clId="{30A766B1-982E-4295-BCAD-093FA0E8E566}" dt="2022-05-25T05:58:00.242" v="7181" actId="1036"/>
          <ac:spMkLst>
            <pc:docMk/>
            <pc:sldMk cId="427279184" sldId="2433"/>
            <ac:spMk id="31" creationId="{8A6B2A4C-7D9C-C07D-9284-30CB81D8A7FA}"/>
          </ac:spMkLst>
        </pc:spChg>
        <pc:spChg chg="del">
          <ac:chgData name="Aurelien Domont" userId="6da7715ce44349b3" providerId="LiveId" clId="{30A766B1-982E-4295-BCAD-093FA0E8E566}" dt="2022-05-25T05:57:04.217" v="7145" actId="478"/>
          <ac:spMkLst>
            <pc:docMk/>
            <pc:sldMk cId="427279184" sldId="2433"/>
            <ac:spMk id="36" creationId="{1986B372-8067-410F-8B7C-D1E7178372BB}"/>
          </ac:spMkLst>
        </pc:spChg>
        <pc:spChg chg="add mod">
          <ac:chgData name="Aurelien Domont" userId="6da7715ce44349b3" providerId="LiveId" clId="{30A766B1-982E-4295-BCAD-093FA0E8E566}" dt="2022-05-25T05:58:00.242" v="7181" actId="1036"/>
          <ac:spMkLst>
            <pc:docMk/>
            <pc:sldMk cId="427279184" sldId="2433"/>
            <ac:spMk id="38" creationId="{914B6DBD-252D-A738-061A-29FFF82AEDB3}"/>
          </ac:spMkLst>
        </pc:spChg>
        <pc:spChg chg="add mod">
          <ac:chgData name="Aurelien Domont" userId="6da7715ce44349b3" providerId="LiveId" clId="{30A766B1-982E-4295-BCAD-093FA0E8E566}" dt="2022-05-25T05:58:00.242" v="7181" actId="1036"/>
          <ac:spMkLst>
            <pc:docMk/>
            <pc:sldMk cId="427279184" sldId="2433"/>
            <ac:spMk id="39" creationId="{56975C02-B635-7436-FF00-F6B655166055}"/>
          </ac:spMkLst>
        </pc:spChg>
        <pc:spChg chg="del">
          <ac:chgData name="Aurelien Domont" userId="6da7715ce44349b3" providerId="LiveId" clId="{30A766B1-982E-4295-BCAD-093FA0E8E566}" dt="2022-05-25T05:57:05.873" v="7146" actId="478"/>
          <ac:spMkLst>
            <pc:docMk/>
            <pc:sldMk cId="427279184" sldId="2433"/>
            <ac:spMk id="41" creationId="{FDDBF77E-A1BA-4D55-8310-78BB8D57F4CA}"/>
          </ac:spMkLst>
        </pc:spChg>
        <pc:spChg chg="add mod">
          <ac:chgData name="Aurelien Domont" userId="6da7715ce44349b3" providerId="LiveId" clId="{30A766B1-982E-4295-BCAD-093FA0E8E566}" dt="2022-05-25T05:58:00.242" v="7181" actId="1036"/>
          <ac:spMkLst>
            <pc:docMk/>
            <pc:sldMk cId="427279184" sldId="2433"/>
            <ac:spMk id="43" creationId="{F9A1A2FC-7E74-2F86-D137-4BECB81FE2FE}"/>
          </ac:spMkLst>
        </pc:spChg>
        <pc:spChg chg="del">
          <ac:chgData name="Aurelien Domont" userId="6da7715ce44349b3" providerId="LiveId" clId="{30A766B1-982E-4295-BCAD-093FA0E8E566}" dt="2022-05-25T05:57:05.873" v="7146" actId="478"/>
          <ac:spMkLst>
            <pc:docMk/>
            <pc:sldMk cId="427279184" sldId="2433"/>
            <ac:spMk id="44" creationId="{7AC00F69-A15C-4CC4-9D2A-F2208B8D37C3}"/>
          </ac:spMkLst>
        </pc:spChg>
        <pc:spChg chg="add mod">
          <ac:chgData name="Aurelien Domont" userId="6da7715ce44349b3" providerId="LiveId" clId="{30A766B1-982E-4295-BCAD-093FA0E8E566}" dt="2022-05-25T05:58:00.242" v="7181" actId="1036"/>
          <ac:spMkLst>
            <pc:docMk/>
            <pc:sldMk cId="427279184" sldId="2433"/>
            <ac:spMk id="46" creationId="{919D1362-25E7-49EC-D91B-C479219803AF}"/>
          </ac:spMkLst>
        </pc:spChg>
        <pc:spChg chg="add mod">
          <ac:chgData name="Aurelien Domont" userId="6da7715ce44349b3" providerId="LiveId" clId="{30A766B1-982E-4295-BCAD-093FA0E8E566}" dt="2022-05-25T05:58:00.242" v="7181" actId="1036"/>
          <ac:spMkLst>
            <pc:docMk/>
            <pc:sldMk cId="427279184" sldId="2433"/>
            <ac:spMk id="47" creationId="{C24A5D44-B798-7BFE-45A2-68BF7F4F2B61}"/>
          </ac:spMkLst>
        </pc:spChg>
        <pc:spChg chg="add mod">
          <ac:chgData name="Aurelien Domont" userId="6da7715ce44349b3" providerId="LiveId" clId="{30A766B1-982E-4295-BCAD-093FA0E8E566}" dt="2022-05-25T05:58:00.242" v="7181" actId="1036"/>
          <ac:spMkLst>
            <pc:docMk/>
            <pc:sldMk cId="427279184" sldId="2433"/>
            <ac:spMk id="48" creationId="{7340614E-E4CB-670E-D75C-67C408EB19C3}"/>
          </ac:spMkLst>
        </pc:spChg>
        <pc:spChg chg="del">
          <ac:chgData name="Aurelien Domont" userId="6da7715ce44349b3" providerId="LiveId" clId="{30A766B1-982E-4295-BCAD-093FA0E8E566}" dt="2022-05-25T05:57:04.217" v="7145" actId="478"/>
          <ac:spMkLst>
            <pc:docMk/>
            <pc:sldMk cId="427279184" sldId="2433"/>
            <ac:spMk id="55" creationId="{427DB4D8-C180-4658-AA84-15C6BE309756}"/>
          </ac:spMkLst>
        </pc:spChg>
        <pc:picChg chg="del">
          <ac:chgData name="Aurelien Domont" userId="6da7715ce44349b3" providerId="LiveId" clId="{30A766B1-982E-4295-BCAD-093FA0E8E566}" dt="2022-05-25T05:57:04.217" v="7145" actId="478"/>
          <ac:picMkLst>
            <pc:docMk/>
            <pc:sldMk cId="427279184" sldId="2433"/>
            <ac:picMk id="5" creationId="{B591932E-445E-4FC6-BA49-B391B8DCAC7A}"/>
          </ac:picMkLst>
        </pc:picChg>
        <pc:picChg chg="del">
          <ac:chgData name="Aurelien Domont" userId="6da7715ce44349b3" providerId="LiveId" clId="{30A766B1-982E-4295-BCAD-093FA0E8E566}" dt="2022-05-25T05:57:04.217" v="7145" actId="478"/>
          <ac:picMkLst>
            <pc:docMk/>
            <pc:sldMk cId="427279184" sldId="2433"/>
            <ac:picMk id="7" creationId="{F8BDF65F-C179-4D90-9DAF-9A04B8C11C0C}"/>
          </ac:picMkLst>
        </pc:picChg>
        <pc:picChg chg="del">
          <ac:chgData name="Aurelien Domont" userId="6da7715ce44349b3" providerId="LiveId" clId="{30A766B1-982E-4295-BCAD-093FA0E8E566}" dt="2022-05-25T05:57:04.217" v="7145" actId="478"/>
          <ac:picMkLst>
            <pc:docMk/>
            <pc:sldMk cId="427279184" sldId="2433"/>
            <ac:picMk id="24" creationId="{D2DB75A5-E17D-431C-A54A-40A06ADDBEF3}"/>
          </ac:picMkLst>
        </pc:picChg>
        <pc:picChg chg="del">
          <ac:chgData name="Aurelien Domont" userId="6da7715ce44349b3" providerId="LiveId" clId="{30A766B1-982E-4295-BCAD-093FA0E8E566}" dt="2022-05-25T05:57:04.217" v="7145" actId="478"/>
          <ac:picMkLst>
            <pc:docMk/>
            <pc:sldMk cId="427279184" sldId="2433"/>
            <ac:picMk id="25" creationId="{86024EC3-117C-470E-8D6A-4C9B8B7C4E90}"/>
          </ac:picMkLst>
        </pc:picChg>
        <pc:picChg chg="del">
          <ac:chgData name="Aurelien Domont" userId="6da7715ce44349b3" providerId="LiveId" clId="{30A766B1-982E-4295-BCAD-093FA0E8E566}" dt="2022-05-25T05:57:04.217" v="7145" actId="478"/>
          <ac:picMkLst>
            <pc:docMk/>
            <pc:sldMk cId="427279184" sldId="2433"/>
            <ac:picMk id="30" creationId="{39260E92-FADF-4076-9052-5C1B0040ACAE}"/>
          </ac:picMkLst>
        </pc:picChg>
        <pc:picChg chg="add mod">
          <ac:chgData name="Aurelien Domont" userId="6da7715ce44349b3" providerId="LiveId" clId="{30A766B1-982E-4295-BCAD-093FA0E8E566}" dt="2022-05-25T05:58:00.242" v="7181" actId="1036"/>
          <ac:picMkLst>
            <pc:docMk/>
            <pc:sldMk cId="427279184" sldId="2433"/>
            <ac:picMk id="32" creationId="{739FB113-10AF-C910-A6A1-8F24A21928F4}"/>
          </ac:picMkLst>
        </pc:picChg>
        <pc:picChg chg="add mod">
          <ac:chgData name="Aurelien Domont" userId="6da7715ce44349b3" providerId="LiveId" clId="{30A766B1-982E-4295-BCAD-093FA0E8E566}" dt="2022-05-25T05:58:00.242" v="7181" actId="1036"/>
          <ac:picMkLst>
            <pc:docMk/>
            <pc:sldMk cId="427279184" sldId="2433"/>
            <ac:picMk id="33" creationId="{C07EE1FB-7987-B556-3DB5-330CACD4C5DA}"/>
          </ac:picMkLst>
        </pc:picChg>
        <pc:picChg chg="add mod">
          <ac:chgData name="Aurelien Domont" userId="6da7715ce44349b3" providerId="LiveId" clId="{30A766B1-982E-4295-BCAD-093FA0E8E566}" dt="2022-05-25T05:58:00.242" v="7181" actId="1036"/>
          <ac:picMkLst>
            <pc:docMk/>
            <pc:sldMk cId="427279184" sldId="2433"/>
            <ac:picMk id="34" creationId="{952C49ED-BD13-84E5-6C3D-1BFD8A8954B5}"/>
          </ac:picMkLst>
        </pc:picChg>
        <pc:picChg chg="add mod">
          <ac:chgData name="Aurelien Domont" userId="6da7715ce44349b3" providerId="LiveId" clId="{30A766B1-982E-4295-BCAD-093FA0E8E566}" dt="2022-05-25T05:58:00.242" v="7181" actId="1036"/>
          <ac:picMkLst>
            <pc:docMk/>
            <pc:sldMk cId="427279184" sldId="2433"/>
            <ac:picMk id="35" creationId="{D08FC112-55EA-ADF0-13F4-1C6E1575338F}"/>
          </ac:picMkLst>
        </pc:picChg>
        <pc:picChg chg="add mod">
          <ac:chgData name="Aurelien Domont" userId="6da7715ce44349b3" providerId="LiveId" clId="{30A766B1-982E-4295-BCAD-093FA0E8E566}" dt="2022-05-25T05:58:00.242" v="7181" actId="1036"/>
          <ac:picMkLst>
            <pc:docMk/>
            <pc:sldMk cId="427279184" sldId="2433"/>
            <ac:picMk id="37" creationId="{A6594EE3-41DA-E952-7E29-D695671636E3}"/>
          </ac:picMkLst>
        </pc:picChg>
        <pc:cxnChg chg="del mod">
          <ac:chgData name="Aurelien Domont" userId="6da7715ce44349b3" providerId="LiveId" clId="{30A766B1-982E-4295-BCAD-093FA0E8E566}" dt="2022-05-25T05:57:04.217" v="7145" actId="478"/>
          <ac:cxnSpMkLst>
            <pc:docMk/>
            <pc:sldMk cId="427279184" sldId="2433"/>
            <ac:cxnSpMk id="29" creationId="{6F2BA6BB-1F7D-4C9C-AA14-97D7830489CA}"/>
          </ac:cxnSpMkLst>
        </pc:cxnChg>
        <pc:cxnChg chg="del">
          <ac:chgData name="Aurelien Domont" userId="6da7715ce44349b3" providerId="LiveId" clId="{30A766B1-982E-4295-BCAD-093FA0E8E566}" dt="2022-05-25T05:57:05.873" v="7146" actId="478"/>
          <ac:cxnSpMkLst>
            <pc:docMk/>
            <pc:sldMk cId="427279184" sldId="2433"/>
            <ac:cxnSpMk id="40" creationId="{7DC435C7-72F7-4452-A605-1CC928EB7321}"/>
          </ac:cxnSpMkLst>
        </pc:cxnChg>
        <pc:cxnChg chg="del mod">
          <ac:chgData name="Aurelien Domont" userId="6da7715ce44349b3" providerId="LiveId" clId="{30A766B1-982E-4295-BCAD-093FA0E8E566}" dt="2022-05-25T05:57:05.873" v="7146" actId="478"/>
          <ac:cxnSpMkLst>
            <pc:docMk/>
            <pc:sldMk cId="427279184" sldId="2433"/>
            <ac:cxnSpMk id="42" creationId="{CBF05F7B-24D5-4569-B49B-093167EF08C2}"/>
          </ac:cxnSpMkLst>
        </pc:cxnChg>
        <pc:cxnChg chg="del">
          <ac:chgData name="Aurelien Domont" userId="6da7715ce44349b3" providerId="LiveId" clId="{30A766B1-982E-4295-BCAD-093FA0E8E566}" dt="2022-05-25T05:57:04.217" v="7145" actId="478"/>
          <ac:cxnSpMkLst>
            <pc:docMk/>
            <pc:sldMk cId="427279184" sldId="2433"/>
            <ac:cxnSpMk id="45" creationId="{E5E863B6-378E-4293-BD82-9F8BFAE1DCD7}"/>
          </ac:cxnSpMkLst>
        </pc:cxnChg>
        <pc:cxnChg chg="add del mod">
          <ac:chgData name="Aurelien Domont" userId="6da7715ce44349b3" providerId="LiveId" clId="{30A766B1-982E-4295-BCAD-093FA0E8E566}" dt="2022-05-25T05:57:23.448" v="7150" actId="478"/>
          <ac:cxnSpMkLst>
            <pc:docMk/>
            <pc:sldMk cId="427279184" sldId="2433"/>
            <ac:cxnSpMk id="49" creationId="{3644BD04-5E07-6D25-4279-0D241ADAB589}"/>
          </ac:cxnSpMkLst>
        </pc:cxnChg>
      </pc:sldChg>
      <pc:sldChg chg="addSp delSp modSp new mod">
        <pc:chgData name="Aurelien Domont" userId="6da7715ce44349b3" providerId="LiveId" clId="{30A766B1-982E-4295-BCAD-093FA0E8E566}" dt="2023-01-18T05:33:07.832" v="14918"/>
        <pc:sldMkLst>
          <pc:docMk/>
          <pc:sldMk cId="4112890396" sldId="2433"/>
        </pc:sldMkLst>
        <pc:spChg chg="mod">
          <ac:chgData name="Aurelien Domont" userId="6da7715ce44349b3" providerId="LiveId" clId="{30A766B1-982E-4295-BCAD-093FA0E8E566}" dt="2023-01-18T05:33:07.832" v="14918"/>
          <ac:spMkLst>
            <pc:docMk/>
            <pc:sldMk cId="4112890396" sldId="2433"/>
            <ac:spMk id="2" creationId="{E29B1BE9-0F83-CAF2-E828-32D432A942C5}"/>
          </ac:spMkLst>
        </pc:spChg>
        <pc:spChg chg="add del">
          <ac:chgData name="Aurelien Domont" userId="6da7715ce44349b3" providerId="LiveId" clId="{30A766B1-982E-4295-BCAD-093FA0E8E566}" dt="2022-05-25T06:22:49.925" v="7292" actId="22"/>
          <ac:spMkLst>
            <pc:docMk/>
            <pc:sldMk cId="4112890396" sldId="2433"/>
            <ac:spMk id="4" creationId="{E247C4FE-0E3A-432C-A365-BE06D722FD77}"/>
          </ac:spMkLst>
        </pc:spChg>
        <pc:spChg chg="add">
          <ac:chgData name="Aurelien Domont" userId="6da7715ce44349b3" providerId="LiveId" clId="{30A766B1-982E-4295-BCAD-093FA0E8E566}" dt="2022-05-25T06:22:49.925" v="7293" actId="22"/>
          <ac:spMkLst>
            <pc:docMk/>
            <pc:sldMk cId="4112890396" sldId="2433"/>
            <ac:spMk id="6" creationId="{0532FFB2-1837-AD83-2584-72409E36323D}"/>
          </ac:spMkLst>
        </pc:spChg>
      </pc:sldChg>
      <pc:sldChg chg="addSp delSp modSp add mod ord">
        <pc:chgData name="Aurelien Domont" userId="6da7715ce44349b3" providerId="LiveId" clId="{30A766B1-982E-4295-BCAD-093FA0E8E566}" dt="2023-01-18T05:33:07.832" v="14918"/>
        <pc:sldMkLst>
          <pc:docMk/>
          <pc:sldMk cId="4140607600" sldId="2434"/>
        </pc:sldMkLst>
        <pc:spChg chg="mod">
          <ac:chgData name="Aurelien Domont" userId="6da7715ce44349b3" providerId="LiveId" clId="{30A766B1-982E-4295-BCAD-093FA0E8E566}" dt="2023-01-18T05:33:07.832" v="14918"/>
          <ac:spMkLst>
            <pc:docMk/>
            <pc:sldMk cId="4140607600" sldId="2434"/>
            <ac:spMk id="3" creationId="{CE2529A3-BA97-486F-9E02-8DFAAA7D8D38}"/>
          </ac:spMkLst>
        </pc:spChg>
        <pc:spChg chg="add mod">
          <ac:chgData name="Aurelien Domont" userId="6da7715ce44349b3" providerId="LiveId" clId="{30A766B1-982E-4295-BCAD-093FA0E8E566}" dt="2022-05-27T05:47:19.922" v="12609" actId="20577"/>
          <ac:spMkLst>
            <pc:docMk/>
            <pc:sldMk cId="4140607600" sldId="2434"/>
            <ac:spMk id="9" creationId="{D35F3DB0-AF36-78F6-C6A4-E0C427281449}"/>
          </ac:spMkLst>
        </pc:spChg>
        <pc:spChg chg="add mod">
          <ac:chgData name="Aurelien Domont" userId="6da7715ce44349b3" providerId="LiveId" clId="{30A766B1-982E-4295-BCAD-093FA0E8E566}" dt="2022-05-27T05:49:55.685" v="12653" actId="20577"/>
          <ac:spMkLst>
            <pc:docMk/>
            <pc:sldMk cId="4140607600" sldId="2434"/>
            <ac:spMk id="10" creationId="{7FD37BE4-0F3E-4A9D-6D84-D107835F6507}"/>
          </ac:spMkLst>
        </pc:spChg>
        <pc:spChg chg="add mod">
          <ac:chgData name="Aurelien Domont" userId="6da7715ce44349b3" providerId="LiveId" clId="{30A766B1-982E-4295-BCAD-093FA0E8E566}" dt="2022-05-27T06:02:47.769" v="12828" actId="20577"/>
          <ac:spMkLst>
            <pc:docMk/>
            <pc:sldMk cId="4140607600" sldId="2434"/>
            <ac:spMk id="11" creationId="{39D7F5CD-F7D5-99FC-6FE6-4195C7700088}"/>
          </ac:spMkLst>
        </pc:spChg>
        <pc:spChg chg="add del mod">
          <ac:chgData name="Aurelien Domont" userId="6da7715ce44349b3" providerId="LiveId" clId="{30A766B1-982E-4295-BCAD-093FA0E8E566}" dt="2022-05-27T06:09:21.956" v="13341" actId="478"/>
          <ac:spMkLst>
            <pc:docMk/>
            <pc:sldMk cId="4140607600" sldId="2434"/>
            <ac:spMk id="12" creationId="{0CA807C7-D5E3-F43B-A335-F81CD186B6D7}"/>
          </ac:spMkLst>
        </pc:spChg>
        <pc:spChg chg="add mod">
          <ac:chgData name="Aurelien Domont" userId="6da7715ce44349b3" providerId="LiveId" clId="{30A766B1-982E-4295-BCAD-093FA0E8E566}" dt="2022-05-27T05:47:59.460" v="12643" actId="6549"/>
          <ac:spMkLst>
            <pc:docMk/>
            <pc:sldMk cId="4140607600" sldId="2434"/>
            <ac:spMk id="14" creationId="{C7935C74-1AE8-37C8-22DA-396FCE77C9C9}"/>
          </ac:spMkLst>
        </pc:spChg>
        <pc:spChg chg="add mod">
          <ac:chgData name="Aurelien Domont" userId="6da7715ce44349b3" providerId="LiveId" clId="{30A766B1-982E-4295-BCAD-093FA0E8E566}" dt="2022-05-27T06:04:37.359" v="13007" actId="20577"/>
          <ac:spMkLst>
            <pc:docMk/>
            <pc:sldMk cId="4140607600" sldId="2434"/>
            <ac:spMk id="15" creationId="{642C91F0-97E8-03E1-C548-D2E12E5AF8CF}"/>
          </ac:spMkLst>
        </pc:spChg>
        <pc:spChg chg="mod">
          <ac:chgData name="Aurelien Domont" userId="6da7715ce44349b3" providerId="LiveId" clId="{30A766B1-982E-4295-BCAD-093FA0E8E566}" dt="2023-01-18T05:33:07.832" v="14918"/>
          <ac:spMkLst>
            <pc:docMk/>
            <pc:sldMk cId="4140607600" sldId="2434"/>
            <ac:spMk id="16" creationId="{6C2BB713-9637-4B9B-938F-E9768876782A}"/>
          </ac:spMkLst>
        </pc:spChg>
        <pc:spChg chg="add mod">
          <ac:chgData name="Aurelien Domont" userId="6da7715ce44349b3" providerId="LiveId" clId="{30A766B1-982E-4295-BCAD-093FA0E8E566}" dt="2022-05-27T06:04:43.795" v="13010" actId="20577"/>
          <ac:spMkLst>
            <pc:docMk/>
            <pc:sldMk cId="4140607600" sldId="2434"/>
            <ac:spMk id="17" creationId="{1FDF88BC-4362-5061-6851-4B68B031EF7A}"/>
          </ac:spMkLst>
        </pc:spChg>
        <pc:spChg chg="add del mod">
          <ac:chgData name="Aurelien Domont" userId="6da7715ce44349b3" providerId="LiveId" clId="{30A766B1-982E-4295-BCAD-093FA0E8E566}" dt="2022-05-27T06:09:21.956" v="13341" actId="478"/>
          <ac:spMkLst>
            <pc:docMk/>
            <pc:sldMk cId="4140607600" sldId="2434"/>
            <ac:spMk id="18" creationId="{47D17F8E-09B3-B61E-0E70-AA31D3684831}"/>
          </ac:spMkLst>
        </pc:spChg>
        <pc:spChg chg="add mod">
          <ac:chgData name="Aurelien Domont" userId="6da7715ce44349b3" providerId="LiveId" clId="{30A766B1-982E-4295-BCAD-093FA0E8E566}" dt="2022-05-27T06:07:13.168" v="13145"/>
          <ac:spMkLst>
            <pc:docMk/>
            <pc:sldMk cId="4140607600" sldId="2434"/>
            <ac:spMk id="19" creationId="{7E0DD6D3-9AA7-E39C-FC16-B4920C8D9473}"/>
          </ac:spMkLst>
        </pc:spChg>
        <pc:spChg chg="del">
          <ac:chgData name="Aurelien Domont" userId="6da7715ce44349b3" providerId="LiveId" clId="{30A766B1-982E-4295-BCAD-093FA0E8E566}" dt="2022-05-27T05:32:09.901" v="12467" actId="478"/>
          <ac:spMkLst>
            <pc:docMk/>
            <pc:sldMk cId="4140607600" sldId="2434"/>
            <ac:spMk id="20" creationId="{6F42B407-2666-69B3-72ED-6B9C33D14087}"/>
          </ac:spMkLst>
        </pc:spChg>
        <pc:spChg chg="del">
          <ac:chgData name="Aurelien Domont" userId="6da7715ce44349b3" providerId="LiveId" clId="{30A766B1-982E-4295-BCAD-093FA0E8E566}" dt="2022-05-27T05:32:04.162" v="12466" actId="478"/>
          <ac:spMkLst>
            <pc:docMk/>
            <pc:sldMk cId="4140607600" sldId="2434"/>
            <ac:spMk id="21" creationId="{5CEFCDCF-6861-30D9-4B65-49C20EAA42AE}"/>
          </ac:spMkLst>
        </pc:spChg>
        <pc:spChg chg="add mod">
          <ac:chgData name="Aurelien Domont" userId="6da7715ce44349b3" providerId="LiveId" clId="{30A766B1-982E-4295-BCAD-093FA0E8E566}" dt="2022-05-27T06:10:37.301" v="13407" actId="20577"/>
          <ac:spMkLst>
            <pc:docMk/>
            <pc:sldMk cId="4140607600" sldId="2434"/>
            <ac:spMk id="22" creationId="{DD3F6D4D-B4E2-C565-69C3-0C730406E1A5}"/>
          </ac:spMkLst>
        </pc:spChg>
        <pc:spChg chg="add mod ord">
          <ac:chgData name="Aurelien Domont" userId="6da7715ce44349b3" providerId="LiveId" clId="{30A766B1-982E-4295-BCAD-093FA0E8E566}" dt="2022-05-27T06:08:23.225" v="13331" actId="167"/>
          <ac:spMkLst>
            <pc:docMk/>
            <pc:sldMk cId="4140607600" sldId="2434"/>
            <ac:spMk id="23" creationId="{65424981-8A44-56D5-7A28-1026C49EB10F}"/>
          </ac:spMkLst>
        </pc:spChg>
        <pc:spChg chg="add mod ord">
          <ac:chgData name="Aurelien Domont" userId="6da7715ce44349b3" providerId="LiveId" clId="{30A766B1-982E-4295-BCAD-093FA0E8E566}" dt="2022-05-27T06:08:23.225" v="13331" actId="167"/>
          <ac:spMkLst>
            <pc:docMk/>
            <pc:sldMk cId="4140607600" sldId="2434"/>
            <ac:spMk id="24" creationId="{B697DF80-8EAF-A707-2524-A51A7A2EC3D9}"/>
          </ac:spMkLst>
        </pc:spChg>
        <pc:spChg chg="add mod ord">
          <ac:chgData name="Aurelien Domont" userId="6da7715ce44349b3" providerId="LiveId" clId="{30A766B1-982E-4295-BCAD-093FA0E8E566}" dt="2022-05-27T06:08:40.142" v="13335" actId="571"/>
          <ac:spMkLst>
            <pc:docMk/>
            <pc:sldMk cId="4140607600" sldId="2434"/>
            <ac:spMk id="25" creationId="{4230C9F3-AB0F-617F-8EBE-6FC169BC6177}"/>
          </ac:spMkLst>
        </pc:spChg>
        <pc:spChg chg="add mod ord">
          <ac:chgData name="Aurelien Domont" userId="6da7715ce44349b3" providerId="LiveId" clId="{30A766B1-982E-4295-BCAD-093FA0E8E566}" dt="2022-05-27T06:08:40.142" v="13335" actId="571"/>
          <ac:spMkLst>
            <pc:docMk/>
            <pc:sldMk cId="4140607600" sldId="2434"/>
            <ac:spMk id="26" creationId="{94D08200-7F53-A746-9D86-F1FC270ECD22}"/>
          </ac:spMkLst>
        </pc:spChg>
        <pc:spChg chg="add mod">
          <ac:chgData name="Aurelien Domont" userId="6da7715ce44349b3" providerId="LiveId" clId="{30A766B1-982E-4295-BCAD-093FA0E8E566}" dt="2022-05-27T06:08:50.176" v="13337" actId="571"/>
          <ac:spMkLst>
            <pc:docMk/>
            <pc:sldMk cId="4140607600" sldId="2434"/>
            <ac:spMk id="27" creationId="{6DF9B704-EEA5-8FBB-063E-07CBA83D0399}"/>
          </ac:spMkLst>
        </pc:spChg>
        <pc:spChg chg="add mod">
          <ac:chgData name="Aurelien Domont" userId="6da7715ce44349b3" providerId="LiveId" clId="{30A766B1-982E-4295-BCAD-093FA0E8E566}" dt="2022-05-27T06:08:50.176" v="13337" actId="571"/>
          <ac:spMkLst>
            <pc:docMk/>
            <pc:sldMk cId="4140607600" sldId="2434"/>
            <ac:spMk id="28" creationId="{34D7939F-8B32-B07A-40AD-5AD9C1A1D31A}"/>
          </ac:spMkLst>
        </pc:spChg>
        <pc:spChg chg="add mod">
          <ac:chgData name="Aurelien Domont" userId="6da7715ce44349b3" providerId="LiveId" clId="{30A766B1-982E-4295-BCAD-093FA0E8E566}" dt="2022-05-27T06:09:09.006" v="13338" actId="571"/>
          <ac:spMkLst>
            <pc:docMk/>
            <pc:sldMk cId="4140607600" sldId="2434"/>
            <ac:spMk id="29" creationId="{C551F8BA-23B7-3624-1AC2-B21315585C4B}"/>
          </ac:spMkLst>
        </pc:spChg>
        <pc:spChg chg="add mod">
          <ac:chgData name="Aurelien Domont" userId="6da7715ce44349b3" providerId="LiveId" clId="{30A766B1-982E-4295-BCAD-093FA0E8E566}" dt="2022-05-27T06:09:09.006" v="13338" actId="571"/>
          <ac:spMkLst>
            <pc:docMk/>
            <pc:sldMk cId="4140607600" sldId="2434"/>
            <ac:spMk id="30" creationId="{77B56EF9-7017-C7C5-6A5E-56DF5B36661C}"/>
          </ac:spMkLst>
        </pc:spChg>
        <pc:spChg chg="add mod ord">
          <ac:chgData name="Aurelien Domont" userId="6da7715ce44349b3" providerId="LiveId" clId="{30A766B1-982E-4295-BCAD-093FA0E8E566}" dt="2022-05-27T06:09:13.294" v="13339" actId="167"/>
          <ac:spMkLst>
            <pc:docMk/>
            <pc:sldMk cId="4140607600" sldId="2434"/>
            <ac:spMk id="31" creationId="{781E3CE0-A909-D2DD-B2B7-4CA8001EF35D}"/>
          </ac:spMkLst>
        </pc:spChg>
        <pc:spChg chg="add mod">
          <ac:chgData name="Aurelien Domont" userId="6da7715ce44349b3" providerId="LiveId" clId="{30A766B1-982E-4295-BCAD-093FA0E8E566}" dt="2022-05-27T06:09:09.006" v="13338" actId="571"/>
          <ac:spMkLst>
            <pc:docMk/>
            <pc:sldMk cId="4140607600" sldId="2434"/>
            <ac:spMk id="32" creationId="{F7D5D92B-310A-5EBD-6333-CF9F66FE468B}"/>
          </ac:spMkLst>
        </pc:spChg>
        <pc:spChg chg="add mod">
          <ac:chgData name="Aurelien Domont" userId="6da7715ce44349b3" providerId="LiveId" clId="{30A766B1-982E-4295-BCAD-093FA0E8E566}" dt="2022-05-27T06:10:00.230" v="13403" actId="313"/>
          <ac:spMkLst>
            <pc:docMk/>
            <pc:sldMk cId="4140607600" sldId="2434"/>
            <ac:spMk id="33" creationId="{86CEE578-99B8-AC39-9954-453DC9E18873}"/>
          </ac:spMkLst>
        </pc:spChg>
        <pc:spChg chg="add mod ord">
          <ac:chgData name="Aurelien Domont" userId="6da7715ce44349b3" providerId="LiveId" clId="{30A766B1-982E-4295-BCAD-093FA0E8E566}" dt="2022-05-27T06:09:13.294" v="13339" actId="167"/>
          <ac:spMkLst>
            <pc:docMk/>
            <pc:sldMk cId="4140607600" sldId="2434"/>
            <ac:spMk id="34" creationId="{873326B7-C996-179F-D7F6-87E4CE1B8874}"/>
          </ac:spMkLst>
        </pc:spChg>
        <pc:spChg chg="add mod">
          <ac:chgData name="Aurelien Domont" userId="6da7715ce44349b3" providerId="LiveId" clId="{30A766B1-982E-4295-BCAD-093FA0E8E566}" dt="2022-05-27T06:11:01.640" v="13416" actId="20577"/>
          <ac:spMkLst>
            <pc:docMk/>
            <pc:sldMk cId="4140607600" sldId="2434"/>
            <ac:spMk id="35" creationId="{E1093985-15BB-687B-8E56-1C9CCC3DB62B}"/>
          </ac:spMkLst>
        </pc:spChg>
        <pc:spChg chg="add mod">
          <ac:chgData name="Aurelien Domont" userId="6da7715ce44349b3" providerId="LiveId" clId="{30A766B1-982E-4295-BCAD-093FA0E8E566}" dt="2022-05-27T06:09:19.581" v="13340" actId="571"/>
          <ac:spMkLst>
            <pc:docMk/>
            <pc:sldMk cId="4140607600" sldId="2434"/>
            <ac:spMk id="36" creationId="{98F9BB32-4425-415D-F9EC-839FEF2655D1}"/>
          </ac:spMkLst>
        </pc:spChg>
      </pc:sldChg>
      <pc:sldChg chg="addSp delSp modSp add mod">
        <pc:chgData name="Aurelien Domont" userId="6da7715ce44349b3" providerId="LiveId" clId="{30A766B1-982E-4295-BCAD-093FA0E8E566}" dt="2023-01-18T05:33:07.832" v="14918"/>
        <pc:sldMkLst>
          <pc:docMk/>
          <pc:sldMk cId="3770245101" sldId="2435"/>
        </pc:sldMkLst>
        <pc:spChg chg="add mod">
          <ac:chgData name="Aurelien Domont" userId="6da7715ce44349b3" providerId="LiveId" clId="{30A766B1-982E-4295-BCAD-093FA0E8E566}" dt="2022-05-26T03:42:22.514" v="8046" actId="207"/>
          <ac:spMkLst>
            <pc:docMk/>
            <pc:sldMk cId="3770245101" sldId="2435"/>
            <ac:spMk id="2" creationId="{69A6D4AE-AC5D-1056-1148-B9FE469AB2BA}"/>
          </ac:spMkLst>
        </pc:spChg>
        <pc:spChg chg="mod">
          <ac:chgData name="Aurelien Domont" userId="6da7715ce44349b3" providerId="LiveId" clId="{30A766B1-982E-4295-BCAD-093FA0E8E566}" dt="2023-01-18T05:33:07.832" v="14918"/>
          <ac:spMkLst>
            <pc:docMk/>
            <pc:sldMk cId="3770245101" sldId="2435"/>
            <ac:spMk id="3" creationId="{CE2529A3-BA97-486F-9E02-8DFAAA7D8D38}"/>
          </ac:spMkLst>
        </pc:spChg>
        <pc:spChg chg="add mod">
          <ac:chgData name="Aurelien Domont" userId="6da7715ce44349b3" providerId="LiveId" clId="{30A766B1-982E-4295-BCAD-093FA0E8E566}" dt="2022-05-26T07:19:43.793" v="12307" actId="20577"/>
          <ac:spMkLst>
            <pc:docMk/>
            <pc:sldMk cId="3770245101" sldId="2435"/>
            <ac:spMk id="4" creationId="{A7B8125F-D873-DC71-5BBB-1D81821125B2}"/>
          </ac:spMkLst>
        </pc:spChg>
        <pc:spChg chg="mod">
          <ac:chgData name="Aurelien Domont" userId="6da7715ce44349b3" providerId="LiveId" clId="{30A766B1-982E-4295-BCAD-093FA0E8E566}" dt="2022-05-26T03:50:01.184" v="8139" actId="1035"/>
          <ac:spMkLst>
            <pc:docMk/>
            <pc:sldMk cId="3770245101" sldId="2435"/>
            <ac:spMk id="9" creationId="{0F4B39A0-2803-47D9-93AE-F99798C91F06}"/>
          </ac:spMkLst>
        </pc:spChg>
        <pc:spChg chg="mod">
          <ac:chgData name="Aurelien Domont" userId="6da7715ce44349b3" providerId="LiveId" clId="{30A766B1-982E-4295-BCAD-093FA0E8E566}" dt="2022-05-26T03:50:01.184" v="8139" actId="1035"/>
          <ac:spMkLst>
            <pc:docMk/>
            <pc:sldMk cId="3770245101" sldId="2435"/>
            <ac:spMk id="10" creationId="{52524284-CA7D-416E-ADDB-CAB7040B62C4}"/>
          </ac:spMkLst>
        </pc:spChg>
        <pc:spChg chg="mod">
          <ac:chgData name="Aurelien Domont" userId="6da7715ce44349b3" providerId="LiveId" clId="{30A766B1-982E-4295-BCAD-093FA0E8E566}" dt="2022-05-26T03:50:01.184" v="8139" actId="1035"/>
          <ac:spMkLst>
            <pc:docMk/>
            <pc:sldMk cId="3770245101" sldId="2435"/>
            <ac:spMk id="11" creationId="{DCA1B29F-4AB2-4DAE-B498-BC74026B1DDA}"/>
          </ac:spMkLst>
        </pc:spChg>
        <pc:spChg chg="mod">
          <ac:chgData name="Aurelien Domont" userId="6da7715ce44349b3" providerId="LiveId" clId="{30A766B1-982E-4295-BCAD-093FA0E8E566}" dt="2022-05-26T03:50:01.184" v="8139" actId="1035"/>
          <ac:spMkLst>
            <pc:docMk/>
            <pc:sldMk cId="3770245101" sldId="2435"/>
            <ac:spMk id="12" creationId="{B9BBA604-AEF4-4807-AD42-75399F0043F4}"/>
          </ac:spMkLst>
        </pc:spChg>
        <pc:spChg chg="mod">
          <ac:chgData name="Aurelien Domont" userId="6da7715ce44349b3" providerId="LiveId" clId="{30A766B1-982E-4295-BCAD-093FA0E8E566}" dt="2023-01-18T05:33:07.832" v="14918"/>
          <ac:spMkLst>
            <pc:docMk/>
            <pc:sldMk cId="3770245101" sldId="2435"/>
            <ac:spMk id="16" creationId="{6C2BB713-9637-4B9B-938F-E9768876782A}"/>
          </ac:spMkLst>
        </pc:spChg>
        <pc:spChg chg="mod">
          <ac:chgData name="Aurelien Domont" userId="6da7715ce44349b3" providerId="LiveId" clId="{30A766B1-982E-4295-BCAD-093FA0E8E566}" dt="2022-05-26T03:50:01.184" v="8139" actId="1035"/>
          <ac:spMkLst>
            <pc:docMk/>
            <pc:sldMk cId="3770245101" sldId="2435"/>
            <ac:spMk id="22" creationId="{8664D20B-2002-4C9F-A94C-AB6D33819DF8}"/>
          </ac:spMkLst>
        </pc:spChg>
        <pc:spChg chg="del">
          <ac:chgData name="Aurelien Domont" userId="6da7715ce44349b3" providerId="LiveId" clId="{30A766B1-982E-4295-BCAD-093FA0E8E566}" dt="2022-05-25T07:14:38.465" v="7950" actId="478"/>
          <ac:spMkLst>
            <pc:docMk/>
            <pc:sldMk cId="3770245101" sldId="2435"/>
            <ac:spMk id="27" creationId="{54BC1734-C961-49B3-BBCE-81BBEF3EFD1B}"/>
          </ac:spMkLst>
        </pc:spChg>
        <pc:spChg chg="mod">
          <ac:chgData name="Aurelien Domont" userId="6da7715ce44349b3" providerId="LiveId" clId="{30A766B1-982E-4295-BCAD-093FA0E8E566}" dt="2022-05-26T03:50:01.184" v="8139" actId="1035"/>
          <ac:spMkLst>
            <pc:docMk/>
            <pc:sldMk cId="3770245101" sldId="2435"/>
            <ac:spMk id="28" creationId="{4A40CCF3-55AD-4BA5-B3E8-AE7B563E3E35}"/>
          </ac:spMkLst>
        </pc:spChg>
        <pc:spChg chg="del">
          <ac:chgData name="Aurelien Domont" userId="6da7715ce44349b3" providerId="LiveId" clId="{30A766B1-982E-4295-BCAD-093FA0E8E566}" dt="2022-05-25T07:14:38.465" v="7950" actId="478"/>
          <ac:spMkLst>
            <pc:docMk/>
            <pc:sldMk cId="3770245101" sldId="2435"/>
            <ac:spMk id="31" creationId="{1C1B78F5-CE09-4A06-8F1D-30227B5D6E15}"/>
          </ac:spMkLst>
        </pc:spChg>
        <pc:spChg chg="del">
          <ac:chgData name="Aurelien Domont" userId="6da7715ce44349b3" providerId="LiveId" clId="{30A766B1-982E-4295-BCAD-093FA0E8E566}" dt="2022-05-25T07:14:38.465" v="7950" actId="478"/>
          <ac:spMkLst>
            <pc:docMk/>
            <pc:sldMk cId="3770245101" sldId="2435"/>
            <ac:spMk id="32" creationId="{3BEF6079-F38C-4B82-B044-53A13155F334}"/>
          </ac:spMkLst>
        </pc:spChg>
        <pc:spChg chg="del">
          <ac:chgData name="Aurelien Domont" userId="6da7715ce44349b3" providerId="LiveId" clId="{30A766B1-982E-4295-BCAD-093FA0E8E566}" dt="2022-05-25T07:14:38.465" v="7950" actId="478"/>
          <ac:spMkLst>
            <pc:docMk/>
            <pc:sldMk cId="3770245101" sldId="2435"/>
            <ac:spMk id="33" creationId="{8260BE05-FEA7-4631-88CD-752AC5C966BA}"/>
          </ac:spMkLst>
        </pc:spChg>
        <pc:spChg chg="del">
          <ac:chgData name="Aurelien Domont" userId="6da7715ce44349b3" providerId="LiveId" clId="{30A766B1-982E-4295-BCAD-093FA0E8E566}" dt="2022-05-25T07:14:38.465" v="7950" actId="478"/>
          <ac:spMkLst>
            <pc:docMk/>
            <pc:sldMk cId="3770245101" sldId="2435"/>
            <ac:spMk id="34" creationId="{473B4042-51F1-41BD-8EDF-E03E66716A5A}"/>
          </ac:spMkLst>
        </pc:spChg>
        <pc:spChg chg="del">
          <ac:chgData name="Aurelien Domont" userId="6da7715ce44349b3" providerId="LiveId" clId="{30A766B1-982E-4295-BCAD-093FA0E8E566}" dt="2022-05-25T07:14:38.465" v="7950" actId="478"/>
          <ac:spMkLst>
            <pc:docMk/>
            <pc:sldMk cId="3770245101" sldId="2435"/>
            <ac:spMk id="35" creationId="{64C38490-8643-4DBA-8D8B-54C587ECA10D}"/>
          </ac:spMkLst>
        </pc:spChg>
        <pc:spChg chg="mod">
          <ac:chgData name="Aurelien Domont" userId="6da7715ce44349b3" providerId="LiveId" clId="{30A766B1-982E-4295-BCAD-093FA0E8E566}" dt="2022-05-26T03:50:01.184" v="8139" actId="1035"/>
          <ac:spMkLst>
            <pc:docMk/>
            <pc:sldMk cId="3770245101" sldId="2435"/>
            <ac:spMk id="37" creationId="{31FE688D-FF20-4223-A037-1233B17CB62E}"/>
          </ac:spMkLst>
        </pc:spChg>
        <pc:spChg chg="mod">
          <ac:chgData name="Aurelien Domont" userId="6da7715ce44349b3" providerId="LiveId" clId="{30A766B1-982E-4295-BCAD-093FA0E8E566}" dt="2022-05-26T03:50:01.184" v="8139" actId="1035"/>
          <ac:spMkLst>
            <pc:docMk/>
            <pc:sldMk cId="3770245101" sldId="2435"/>
            <ac:spMk id="38" creationId="{9D01B2F0-F734-4933-A904-035A8BF40F3D}"/>
          </ac:spMkLst>
        </pc:spChg>
        <pc:picChg chg="add del mod">
          <ac:chgData name="Aurelien Domont" userId="6da7715ce44349b3" providerId="LiveId" clId="{30A766B1-982E-4295-BCAD-093FA0E8E566}" dt="2022-05-25T07:11:39.873" v="7927" actId="478"/>
          <ac:picMkLst>
            <pc:docMk/>
            <pc:sldMk cId="3770245101" sldId="2435"/>
            <ac:picMk id="4" creationId="{E5C897EC-0EDA-7AE8-4AEC-C465F85EECB0}"/>
          </ac:picMkLst>
        </pc:picChg>
        <pc:picChg chg="mod">
          <ac:chgData name="Aurelien Domont" userId="6da7715ce44349b3" providerId="LiveId" clId="{30A766B1-982E-4295-BCAD-093FA0E8E566}" dt="2022-05-26T03:50:01.184" v="8139" actId="1035"/>
          <ac:picMkLst>
            <pc:docMk/>
            <pc:sldMk cId="3770245101" sldId="2435"/>
            <ac:picMk id="5" creationId="{B591932E-445E-4FC6-BA49-B391B8DCAC7A}"/>
          </ac:picMkLst>
        </pc:picChg>
        <pc:picChg chg="mod">
          <ac:chgData name="Aurelien Domont" userId="6da7715ce44349b3" providerId="LiveId" clId="{30A766B1-982E-4295-BCAD-093FA0E8E566}" dt="2022-05-26T03:50:01.184" v="8139" actId="1035"/>
          <ac:picMkLst>
            <pc:docMk/>
            <pc:sldMk cId="3770245101" sldId="2435"/>
            <ac:picMk id="7" creationId="{F8BDF65F-C179-4D90-9DAF-9A04B8C11C0C}"/>
          </ac:picMkLst>
        </pc:picChg>
        <pc:picChg chg="mod">
          <ac:chgData name="Aurelien Domont" userId="6da7715ce44349b3" providerId="LiveId" clId="{30A766B1-982E-4295-BCAD-093FA0E8E566}" dt="2022-05-26T03:50:01.184" v="8139" actId="1035"/>
          <ac:picMkLst>
            <pc:docMk/>
            <pc:sldMk cId="3770245101" sldId="2435"/>
            <ac:picMk id="24" creationId="{D2DB75A5-E17D-431C-A54A-40A06ADDBEF3}"/>
          </ac:picMkLst>
        </pc:picChg>
        <pc:picChg chg="mod">
          <ac:chgData name="Aurelien Domont" userId="6da7715ce44349b3" providerId="LiveId" clId="{30A766B1-982E-4295-BCAD-093FA0E8E566}" dt="2022-05-26T03:50:01.184" v="8139" actId="1035"/>
          <ac:picMkLst>
            <pc:docMk/>
            <pc:sldMk cId="3770245101" sldId="2435"/>
            <ac:picMk id="25" creationId="{86024EC3-117C-470E-8D6A-4C9B8B7C4E90}"/>
          </ac:picMkLst>
        </pc:picChg>
        <pc:picChg chg="mod">
          <ac:chgData name="Aurelien Domont" userId="6da7715ce44349b3" providerId="LiveId" clId="{30A766B1-982E-4295-BCAD-093FA0E8E566}" dt="2022-05-26T03:50:01.184" v="8139" actId="1035"/>
          <ac:picMkLst>
            <pc:docMk/>
            <pc:sldMk cId="3770245101" sldId="2435"/>
            <ac:picMk id="30" creationId="{39260E92-FADF-4076-9052-5C1B0040ACAE}"/>
          </ac:picMkLst>
        </pc:picChg>
        <pc:cxnChg chg="del">
          <ac:chgData name="Aurelien Domont" userId="6da7715ce44349b3" providerId="LiveId" clId="{30A766B1-982E-4295-BCAD-093FA0E8E566}" dt="2022-05-25T07:14:38.465" v="7950" actId="478"/>
          <ac:cxnSpMkLst>
            <pc:docMk/>
            <pc:sldMk cId="3770245101" sldId="2435"/>
            <ac:cxnSpMk id="19" creationId="{19DA62D3-92ED-4E24-A47E-4114E3BAC740}"/>
          </ac:cxnSpMkLst>
        </pc:cxnChg>
      </pc:sldChg>
      <pc:sldChg chg="modSp add">
        <pc:chgData name="Aurelien Domont" userId="6da7715ce44349b3" providerId="LiveId" clId="{30A766B1-982E-4295-BCAD-093FA0E8E566}" dt="2023-01-18T05:33:07.832" v="14918"/>
        <pc:sldMkLst>
          <pc:docMk/>
          <pc:sldMk cId="2940611894" sldId="2436"/>
        </pc:sldMkLst>
        <pc:spChg chg="mod">
          <ac:chgData name="Aurelien Domont" userId="6da7715ce44349b3" providerId="LiveId" clId="{30A766B1-982E-4295-BCAD-093FA0E8E566}" dt="2023-01-18T05:33:07.832" v="14918"/>
          <ac:spMkLst>
            <pc:docMk/>
            <pc:sldMk cId="2940611894" sldId="2436"/>
            <ac:spMk id="3" creationId="{CE2529A3-BA97-486F-9E02-8DFAAA7D8D38}"/>
          </ac:spMkLst>
        </pc:spChg>
        <pc:spChg chg="mod">
          <ac:chgData name="Aurelien Domont" userId="6da7715ce44349b3" providerId="LiveId" clId="{30A766B1-982E-4295-BCAD-093FA0E8E566}" dt="2023-01-18T05:33:07.832" v="14918"/>
          <ac:spMkLst>
            <pc:docMk/>
            <pc:sldMk cId="2940611894" sldId="2436"/>
            <ac:spMk id="16" creationId="{6C2BB713-9637-4B9B-938F-E9768876782A}"/>
          </ac:spMkLst>
        </pc:spChg>
      </pc:sldChg>
      <pc:sldChg chg="delSp modSp add del mod">
        <pc:chgData name="Aurelien Domont" userId="6da7715ce44349b3" providerId="LiveId" clId="{30A766B1-982E-4295-BCAD-093FA0E8E566}" dt="2022-05-26T03:50:12.565" v="8140" actId="2696"/>
        <pc:sldMkLst>
          <pc:docMk/>
          <pc:sldMk cId="75760282" sldId="2437"/>
        </pc:sldMkLst>
        <pc:spChg chg="del">
          <ac:chgData name="Aurelien Domont" userId="6da7715ce44349b3" providerId="LiveId" clId="{30A766B1-982E-4295-BCAD-093FA0E8E566}" dt="2022-05-25T07:11:42.783" v="7928" actId="478"/>
          <ac:spMkLst>
            <pc:docMk/>
            <pc:sldMk cId="75760282" sldId="2437"/>
            <ac:spMk id="9" creationId="{0F4B39A0-2803-47D9-93AE-F99798C91F06}"/>
          </ac:spMkLst>
        </pc:spChg>
        <pc:spChg chg="del">
          <ac:chgData name="Aurelien Domont" userId="6da7715ce44349b3" providerId="LiveId" clId="{30A766B1-982E-4295-BCAD-093FA0E8E566}" dt="2022-05-25T07:11:42.783" v="7928" actId="478"/>
          <ac:spMkLst>
            <pc:docMk/>
            <pc:sldMk cId="75760282" sldId="2437"/>
            <ac:spMk id="10" creationId="{52524284-CA7D-416E-ADDB-CAB7040B62C4}"/>
          </ac:spMkLst>
        </pc:spChg>
        <pc:spChg chg="del">
          <ac:chgData name="Aurelien Domont" userId="6da7715ce44349b3" providerId="LiveId" clId="{30A766B1-982E-4295-BCAD-093FA0E8E566}" dt="2022-05-25T07:11:42.783" v="7928" actId="478"/>
          <ac:spMkLst>
            <pc:docMk/>
            <pc:sldMk cId="75760282" sldId="2437"/>
            <ac:spMk id="11" creationId="{DCA1B29F-4AB2-4DAE-B498-BC74026B1DDA}"/>
          </ac:spMkLst>
        </pc:spChg>
        <pc:spChg chg="del">
          <ac:chgData name="Aurelien Domont" userId="6da7715ce44349b3" providerId="LiveId" clId="{30A766B1-982E-4295-BCAD-093FA0E8E566}" dt="2022-05-25T07:11:42.783" v="7928" actId="478"/>
          <ac:spMkLst>
            <pc:docMk/>
            <pc:sldMk cId="75760282" sldId="2437"/>
            <ac:spMk id="12" creationId="{B9BBA604-AEF4-4807-AD42-75399F0043F4}"/>
          </ac:spMkLst>
        </pc:spChg>
        <pc:spChg chg="del">
          <ac:chgData name="Aurelien Domont" userId="6da7715ce44349b3" providerId="LiveId" clId="{30A766B1-982E-4295-BCAD-093FA0E8E566}" dt="2022-05-25T07:11:42.783" v="7928" actId="478"/>
          <ac:spMkLst>
            <pc:docMk/>
            <pc:sldMk cId="75760282" sldId="2437"/>
            <ac:spMk id="22" creationId="{8664D20B-2002-4C9F-A94C-AB6D33819DF8}"/>
          </ac:spMkLst>
        </pc:spChg>
        <pc:spChg chg="del">
          <ac:chgData name="Aurelien Domont" userId="6da7715ce44349b3" providerId="LiveId" clId="{30A766B1-982E-4295-BCAD-093FA0E8E566}" dt="2022-05-25T07:11:42.783" v="7928" actId="478"/>
          <ac:spMkLst>
            <pc:docMk/>
            <pc:sldMk cId="75760282" sldId="2437"/>
            <ac:spMk id="27" creationId="{54BC1734-C961-49B3-BBCE-81BBEF3EFD1B}"/>
          </ac:spMkLst>
        </pc:spChg>
        <pc:spChg chg="del">
          <ac:chgData name="Aurelien Domont" userId="6da7715ce44349b3" providerId="LiveId" clId="{30A766B1-982E-4295-BCAD-093FA0E8E566}" dt="2022-05-25T07:11:42.783" v="7928" actId="478"/>
          <ac:spMkLst>
            <pc:docMk/>
            <pc:sldMk cId="75760282" sldId="2437"/>
            <ac:spMk id="28" creationId="{4A40CCF3-55AD-4BA5-B3E8-AE7B563E3E35}"/>
          </ac:spMkLst>
        </pc:spChg>
        <pc:spChg chg="del">
          <ac:chgData name="Aurelien Domont" userId="6da7715ce44349b3" providerId="LiveId" clId="{30A766B1-982E-4295-BCAD-093FA0E8E566}" dt="2022-05-25T07:11:42.783" v="7928" actId="478"/>
          <ac:spMkLst>
            <pc:docMk/>
            <pc:sldMk cId="75760282" sldId="2437"/>
            <ac:spMk id="31" creationId="{1C1B78F5-CE09-4A06-8F1D-30227B5D6E15}"/>
          </ac:spMkLst>
        </pc:spChg>
        <pc:spChg chg="del">
          <ac:chgData name="Aurelien Domont" userId="6da7715ce44349b3" providerId="LiveId" clId="{30A766B1-982E-4295-BCAD-093FA0E8E566}" dt="2022-05-25T07:11:42.783" v="7928" actId="478"/>
          <ac:spMkLst>
            <pc:docMk/>
            <pc:sldMk cId="75760282" sldId="2437"/>
            <ac:spMk id="32" creationId="{3BEF6079-F38C-4B82-B044-53A13155F334}"/>
          </ac:spMkLst>
        </pc:spChg>
        <pc:spChg chg="del">
          <ac:chgData name="Aurelien Domont" userId="6da7715ce44349b3" providerId="LiveId" clId="{30A766B1-982E-4295-BCAD-093FA0E8E566}" dt="2022-05-25T07:11:42.783" v="7928" actId="478"/>
          <ac:spMkLst>
            <pc:docMk/>
            <pc:sldMk cId="75760282" sldId="2437"/>
            <ac:spMk id="33" creationId="{8260BE05-FEA7-4631-88CD-752AC5C966BA}"/>
          </ac:spMkLst>
        </pc:spChg>
        <pc:spChg chg="del">
          <ac:chgData name="Aurelien Domont" userId="6da7715ce44349b3" providerId="LiveId" clId="{30A766B1-982E-4295-BCAD-093FA0E8E566}" dt="2022-05-25T07:11:42.783" v="7928" actId="478"/>
          <ac:spMkLst>
            <pc:docMk/>
            <pc:sldMk cId="75760282" sldId="2437"/>
            <ac:spMk id="34" creationId="{473B4042-51F1-41BD-8EDF-E03E66716A5A}"/>
          </ac:spMkLst>
        </pc:spChg>
        <pc:spChg chg="del">
          <ac:chgData name="Aurelien Domont" userId="6da7715ce44349b3" providerId="LiveId" clId="{30A766B1-982E-4295-BCAD-093FA0E8E566}" dt="2022-05-25T07:11:42.783" v="7928" actId="478"/>
          <ac:spMkLst>
            <pc:docMk/>
            <pc:sldMk cId="75760282" sldId="2437"/>
            <ac:spMk id="35" creationId="{64C38490-8643-4DBA-8D8B-54C587ECA10D}"/>
          </ac:spMkLst>
        </pc:spChg>
        <pc:spChg chg="del">
          <ac:chgData name="Aurelien Domont" userId="6da7715ce44349b3" providerId="LiveId" clId="{30A766B1-982E-4295-BCAD-093FA0E8E566}" dt="2022-05-25T07:11:42.783" v="7928" actId="478"/>
          <ac:spMkLst>
            <pc:docMk/>
            <pc:sldMk cId="75760282" sldId="2437"/>
            <ac:spMk id="37" creationId="{31FE688D-FF20-4223-A037-1233B17CB62E}"/>
          </ac:spMkLst>
        </pc:spChg>
        <pc:spChg chg="del">
          <ac:chgData name="Aurelien Domont" userId="6da7715ce44349b3" providerId="LiveId" clId="{30A766B1-982E-4295-BCAD-093FA0E8E566}" dt="2022-05-25T07:11:42.783" v="7928" actId="478"/>
          <ac:spMkLst>
            <pc:docMk/>
            <pc:sldMk cId="75760282" sldId="2437"/>
            <ac:spMk id="38" creationId="{9D01B2F0-F734-4933-A904-035A8BF40F3D}"/>
          </ac:spMkLst>
        </pc:spChg>
        <pc:picChg chg="mod">
          <ac:chgData name="Aurelien Domont" userId="6da7715ce44349b3" providerId="LiveId" clId="{30A766B1-982E-4295-BCAD-093FA0E8E566}" dt="2022-05-25T07:11:47.647" v="7930" actId="1076"/>
          <ac:picMkLst>
            <pc:docMk/>
            <pc:sldMk cId="75760282" sldId="2437"/>
            <ac:picMk id="4" creationId="{E5C897EC-0EDA-7AE8-4AEC-C465F85EECB0}"/>
          </ac:picMkLst>
        </pc:picChg>
        <pc:picChg chg="del">
          <ac:chgData name="Aurelien Domont" userId="6da7715ce44349b3" providerId="LiveId" clId="{30A766B1-982E-4295-BCAD-093FA0E8E566}" dt="2022-05-25T07:11:42.783" v="7928" actId="478"/>
          <ac:picMkLst>
            <pc:docMk/>
            <pc:sldMk cId="75760282" sldId="2437"/>
            <ac:picMk id="5" creationId="{B591932E-445E-4FC6-BA49-B391B8DCAC7A}"/>
          </ac:picMkLst>
        </pc:picChg>
        <pc:picChg chg="del">
          <ac:chgData name="Aurelien Domont" userId="6da7715ce44349b3" providerId="LiveId" clId="{30A766B1-982E-4295-BCAD-093FA0E8E566}" dt="2022-05-25T07:11:42.783" v="7928" actId="478"/>
          <ac:picMkLst>
            <pc:docMk/>
            <pc:sldMk cId="75760282" sldId="2437"/>
            <ac:picMk id="7" creationId="{F8BDF65F-C179-4D90-9DAF-9A04B8C11C0C}"/>
          </ac:picMkLst>
        </pc:picChg>
        <pc:picChg chg="del">
          <ac:chgData name="Aurelien Domont" userId="6da7715ce44349b3" providerId="LiveId" clId="{30A766B1-982E-4295-BCAD-093FA0E8E566}" dt="2022-05-25T07:11:42.783" v="7928" actId="478"/>
          <ac:picMkLst>
            <pc:docMk/>
            <pc:sldMk cId="75760282" sldId="2437"/>
            <ac:picMk id="24" creationId="{D2DB75A5-E17D-431C-A54A-40A06ADDBEF3}"/>
          </ac:picMkLst>
        </pc:picChg>
        <pc:picChg chg="del">
          <ac:chgData name="Aurelien Domont" userId="6da7715ce44349b3" providerId="LiveId" clId="{30A766B1-982E-4295-BCAD-093FA0E8E566}" dt="2022-05-25T07:11:42.783" v="7928" actId="478"/>
          <ac:picMkLst>
            <pc:docMk/>
            <pc:sldMk cId="75760282" sldId="2437"/>
            <ac:picMk id="25" creationId="{86024EC3-117C-470E-8D6A-4C9B8B7C4E90}"/>
          </ac:picMkLst>
        </pc:picChg>
        <pc:picChg chg="del">
          <ac:chgData name="Aurelien Domont" userId="6da7715ce44349b3" providerId="LiveId" clId="{30A766B1-982E-4295-BCAD-093FA0E8E566}" dt="2022-05-25T07:11:42.783" v="7928" actId="478"/>
          <ac:picMkLst>
            <pc:docMk/>
            <pc:sldMk cId="75760282" sldId="2437"/>
            <ac:picMk id="30" creationId="{39260E92-FADF-4076-9052-5C1B0040ACAE}"/>
          </ac:picMkLst>
        </pc:picChg>
        <pc:cxnChg chg="del">
          <ac:chgData name="Aurelien Domont" userId="6da7715ce44349b3" providerId="LiveId" clId="{30A766B1-982E-4295-BCAD-093FA0E8E566}" dt="2022-05-25T07:11:42.783" v="7928" actId="478"/>
          <ac:cxnSpMkLst>
            <pc:docMk/>
            <pc:sldMk cId="75760282" sldId="2437"/>
            <ac:cxnSpMk id="19" creationId="{19DA62D3-92ED-4E24-A47E-4114E3BAC740}"/>
          </ac:cxnSpMkLst>
        </pc:cxnChg>
      </pc:sldChg>
      <pc:sldChg chg="modSp add">
        <pc:chgData name="Aurelien Domont" userId="6da7715ce44349b3" providerId="LiveId" clId="{30A766B1-982E-4295-BCAD-093FA0E8E566}" dt="2023-01-18T05:33:07.832" v="14918"/>
        <pc:sldMkLst>
          <pc:docMk/>
          <pc:sldMk cId="1092377165" sldId="2437"/>
        </pc:sldMkLst>
        <pc:spChg chg="mod">
          <ac:chgData name="Aurelien Domont" userId="6da7715ce44349b3" providerId="LiveId" clId="{30A766B1-982E-4295-BCAD-093FA0E8E566}" dt="2023-01-18T05:33:07.832" v="14918"/>
          <ac:spMkLst>
            <pc:docMk/>
            <pc:sldMk cId="1092377165" sldId="2437"/>
            <ac:spMk id="3" creationId="{CE2529A3-BA97-486F-9E02-8DFAAA7D8D38}"/>
          </ac:spMkLst>
        </pc:spChg>
        <pc:spChg chg="mod">
          <ac:chgData name="Aurelien Domont" userId="6da7715ce44349b3" providerId="LiveId" clId="{30A766B1-982E-4295-BCAD-093FA0E8E566}" dt="2023-01-18T05:33:07.832" v="14918"/>
          <ac:spMkLst>
            <pc:docMk/>
            <pc:sldMk cId="1092377165" sldId="2437"/>
            <ac:spMk id="16" creationId="{6C2BB713-9637-4B9B-938F-E9768876782A}"/>
          </ac:spMkLst>
        </pc:spChg>
      </pc:sldChg>
      <pc:sldChg chg="addSp delSp modSp add mod">
        <pc:chgData name="Aurelien Domont" userId="6da7715ce44349b3" providerId="LiveId" clId="{30A766B1-982E-4295-BCAD-093FA0E8E566}" dt="2023-01-18T05:33:07.832" v="14918"/>
        <pc:sldMkLst>
          <pc:docMk/>
          <pc:sldMk cId="1100601998" sldId="2438"/>
        </pc:sldMkLst>
        <pc:spChg chg="mod">
          <ac:chgData name="Aurelien Domont" userId="6da7715ce44349b3" providerId="LiveId" clId="{30A766B1-982E-4295-BCAD-093FA0E8E566}" dt="2023-01-18T05:33:07.832" v="14918"/>
          <ac:spMkLst>
            <pc:docMk/>
            <pc:sldMk cId="1100601998" sldId="2438"/>
            <ac:spMk id="3" creationId="{CE2529A3-BA97-486F-9E02-8DFAAA7D8D38}"/>
          </ac:spMkLst>
        </pc:spChg>
        <pc:spChg chg="del">
          <ac:chgData name="Aurelien Domont" userId="6da7715ce44349b3" providerId="LiveId" clId="{30A766B1-982E-4295-BCAD-093FA0E8E566}" dt="2022-05-26T03:52:27.790" v="8146" actId="478"/>
          <ac:spMkLst>
            <pc:docMk/>
            <pc:sldMk cId="1100601998" sldId="2438"/>
            <ac:spMk id="9" creationId="{39CD6C22-1598-4603-AA8E-414A430815B6}"/>
          </ac:spMkLst>
        </pc:spChg>
        <pc:spChg chg="del">
          <ac:chgData name="Aurelien Domont" userId="6da7715ce44349b3" providerId="LiveId" clId="{30A766B1-982E-4295-BCAD-093FA0E8E566}" dt="2022-05-26T03:58:00.015" v="8220" actId="478"/>
          <ac:spMkLst>
            <pc:docMk/>
            <pc:sldMk cId="1100601998" sldId="2438"/>
            <ac:spMk id="10" creationId="{D82240EC-F511-4279-92F4-4B6136F03FFD}"/>
          </ac:spMkLst>
        </pc:spChg>
        <pc:spChg chg="add mod">
          <ac:chgData name="Aurelien Domont" userId="6da7715ce44349b3" providerId="LiveId" clId="{30A766B1-982E-4295-BCAD-093FA0E8E566}" dt="2022-05-26T03:56:04.842" v="8175" actId="20577"/>
          <ac:spMkLst>
            <pc:docMk/>
            <pc:sldMk cId="1100601998" sldId="2438"/>
            <ac:spMk id="11" creationId="{253D5220-FD43-D330-C445-E353084D304F}"/>
          </ac:spMkLst>
        </pc:spChg>
        <pc:spChg chg="mod">
          <ac:chgData name="Aurelien Domont" userId="6da7715ce44349b3" providerId="LiveId" clId="{30A766B1-982E-4295-BCAD-093FA0E8E566}" dt="2023-01-18T05:33:07.832" v="14918"/>
          <ac:spMkLst>
            <pc:docMk/>
            <pc:sldMk cId="1100601998" sldId="2438"/>
            <ac:spMk id="16" creationId="{6C2BB713-9637-4B9B-938F-E9768876782A}"/>
          </ac:spMkLst>
        </pc:spChg>
        <pc:graphicFrameChg chg="del">
          <ac:chgData name="Aurelien Domont" userId="6da7715ce44349b3" providerId="LiveId" clId="{30A766B1-982E-4295-BCAD-093FA0E8E566}" dt="2022-05-26T03:52:25.221" v="8145" actId="478"/>
          <ac:graphicFrameMkLst>
            <pc:docMk/>
            <pc:sldMk cId="1100601998" sldId="2438"/>
            <ac:graphicFrameMk id="8" creationId="{EB6C2805-C70E-4DB1-9300-41E9F185933F}"/>
          </ac:graphicFrameMkLst>
        </pc:graphicFrameChg>
        <pc:cxnChg chg="del">
          <ac:chgData name="Aurelien Domont" userId="6da7715ce44349b3" providerId="LiveId" clId="{30A766B1-982E-4295-BCAD-093FA0E8E566}" dt="2022-05-26T03:52:27.790" v="8146" actId="478"/>
          <ac:cxnSpMkLst>
            <pc:docMk/>
            <pc:sldMk cId="1100601998" sldId="2438"/>
            <ac:cxnSpMk id="7" creationId="{41B5E34F-6CDE-47A4-84B1-75AF7AEA3FC4}"/>
          </ac:cxnSpMkLst>
        </pc:cxnChg>
      </pc:sldChg>
      <pc:sldChg chg="add del">
        <pc:chgData name="Aurelien Domont" userId="6da7715ce44349b3" providerId="LiveId" clId="{30A766B1-982E-4295-BCAD-093FA0E8E566}" dt="2022-05-25T07:14:33.456" v="7949" actId="47"/>
        <pc:sldMkLst>
          <pc:docMk/>
          <pc:sldMk cId="3705560564" sldId="2438"/>
        </pc:sldMkLst>
      </pc:sldChg>
      <pc:sldChg chg="addSp delSp modSp add mod">
        <pc:chgData name="Aurelien Domont" userId="6da7715ce44349b3" providerId="LiveId" clId="{30A766B1-982E-4295-BCAD-093FA0E8E566}" dt="2023-01-18T05:33:07.832" v="14918"/>
        <pc:sldMkLst>
          <pc:docMk/>
          <pc:sldMk cId="501870413" sldId="2439"/>
        </pc:sldMkLst>
        <pc:spChg chg="add mod">
          <ac:chgData name="Aurelien Domont" userId="6da7715ce44349b3" providerId="LiveId" clId="{30A766B1-982E-4295-BCAD-093FA0E8E566}" dt="2022-05-26T04:41:04.830" v="9130" actId="20577"/>
          <ac:spMkLst>
            <pc:docMk/>
            <pc:sldMk cId="501870413" sldId="2439"/>
            <ac:spMk id="2" creationId="{7ED5873D-0FCB-923F-35BB-30BD60FA82E5}"/>
          </ac:spMkLst>
        </pc:spChg>
        <pc:spChg chg="mod">
          <ac:chgData name="Aurelien Domont" userId="6da7715ce44349b3" providerId="LiveId" clId="{30A766B1-982E-4295-BCAD-093FA0E8E566}" dt="2023-01-18T05:33:07.832" v="14918"/>
          <ac:spMkLst>
            <pc:docMk/>
            <pc:sldMk cId="501870413" sldId="2439"/>
            <ac:spMk id="3" creationId="{CE2529A3-BA97-486F-9E02-8DFAAA7D8D38}"/>
          </ac:spMkLst>
        </pc:spChg>
        <pc:spChg chg="add mod">
          <ac:chgData name="Aurelien Domont" userId="6da7715ce44349b3" providerId="LiveId" clId="{30A766B1-982E-4295-BCAD-093FA0E8E566}" dt="2022-05-26T04:02:19.361" v="8310" actId="20577"/>
          <ac:spMkLst>
            <pc:docMk/>
            <pc:sldMk cId="501870413" sldId="2439"/>
            <ac:spMk id="6" creationId="{2D0D0678-9552-4571-916E-DB6B4ED6CF2F}"/>
          </ac:spMkLst>
        </pc:spChg>
        <pc:spChg chg="add mod">
          <ac:chgData name="Aurelien Domont" userId="6da7715ce44349b3" providerId="LiveId" clId="{30A766B1-982E-4295-BCAD-093FA0E8E566}" dt="2022-05-26T04:06:34.013" v="8598"/>
          <ac:spMkLst>
            <pc:docMk/>
            <pc:sldMk cId="501870413" sldId="2439"/>
            <ac:spMk id="7" creationId="{B8D1C305-E751-7014-B8AF-432C871C29BC}"/>
          </ac:spMkLst>
        </pc:spChg>
        <pc:spChg chg="add mod">
          <ac:chgData name="Aurelien Domont" userId="6da7715ce44349b3" providerId="LiveId" clId="{30A766B1-982E-4295-BCAD-093FA0E8E566}" dt="2022-05-26T04:11:54.330" v="8611"/>
          <ac:spMkLst>
            <pc:docMk/>
            <pc:sldMk cId="501870413" sldId="2439"/>
            <ac:spMk id="8" creationId="{833E61D1-7220-5363-6C05-EB4A6881DE0D}"/>
          </ac:spMkLst>
        </pc:spChg>
        <pc:spChg chg="add mod">
          <ac:chgData name="Aurelien Domont" userId="6da7715ce44349b3" providerId="LiveId" clId="{30A766B1-982E-4295-BCAD-093FA0E8E566}" dt="2022-05-26T04:14:05.703" v="8646" actId="20577"/>
          <ac:spMkLst>
            <pc:docMk/>
            <pc:sldMk cId="501870413" sldId="2439"/>
            <ac:spMk id="9" creationId="{ED6264A3-4C44-6E89-C7DD-FD2404447050}"/>
          </ac:spMkLst>
        </pc:spChg>
        <pc:spChg chg="add mod">
          <ac:chgData name="Aurelien Domont" userId="6da7715ce44349b3" providerId="LiveId" clId="{30A766B1-982E-4295-BCAD-093FA0E8E566}" dt="2022-05-26T04:05:31.266" v="8597"/>
          <ac:spMkLst>
            <pc:docMk/>
            <pc:sldMk cId="501870413" sldId="2439"/>
            <ac:spMk id="10" creationId="{82492462-1A76-B8B5-CBA7-D882BF75ADDD}"/>
          </ac:spMkLst>
        </pc:spChg>
        <pc:spChg chg="del">
          <ac:chgData name="Aurelien Domont" userId="6da7715ce44349b3" providerId="LiveId" clId="{30A766B1-982E-4295-BCAD-093FA0E8E566}" dt="2022-05-26T03:59:16.139" v="8236" actId="478"/>
          <ac:spMkLst>
            <pc:docMk/>
            <pc:sldMk cId="501870413" sldId="2439"/>
            <ac:spMk id="11" creationId="{253D5220-FD43-D330-C445-E353084D304F}"/>
          </ac:spMkLst>
        </pc:spChg>
        <pc:spChg chg="add mod">
          <ac:chgData name="Aurelien Domont" userId="6da7715ce44349b3" providerId="LiveId" clId="{30A766B1-982E-4295-BCAD-093FA0E8E566}" dt="2022-05-26T04:07:29.898" v="8609" actId="20577"/>
          <ac:spMkLst>
            <pc:docMk/>
            <pc:sldMk cId="501870413" sldId="2439"/>
            <ac:spMk id="12" creationId="{3AADFD92-A277-005A-2466-0F5B519F676D}"/>
          </ac:spMkLst>
        </pc:spChg>
        <pc:spChg chg="add mod">
          <ac:chgData name="Aurelien Domont" userId="6da7715ce44349b3" providerId="LiveId" clId="{30A766B1-982E-4295-BCAD-093FA0E8E566}" dt="2022-05-26T04:12:01.798" v="8612"/>
          <ac:spMkLst>
            <pc:docMk/>
            <pc:sldMk cId="501870413" sldId="2439"/>
            <ac:spMk id="14" creationId="{44DB535B-9BF8-0DCD-1469-D7D113A0C4F7}"/>
          </ac:spMkLst>
        </pc:spChg>
        <pc:spChg chg="add mod">
          <ac:chgData name="Aurelien Domont" userId="6da7715ce44349b3" providerId="LiveId" clId="{30A766B1-982E-4295-BCAD-093FA0E8E566}" dt="2022-05-26T04:15:01.144" v="8649"/>
          <ac:spMkLst>
            <pc:docMk/>
            <pc:sldMk cId="501870413" sldId="2439"/>
            <ac:spMk id="15" creationId="{8FDB6158-19FE-40A5-0B9E-2BB00D721A99}"/>
          </ac:spMkLst>
        </pc:spChg>
        <pc:spChg chg="mod">
          <ac:chgData name="Aurelien Domont" userId="6da7715ce44349b3" providerId="LiveId" clId="{30A766B1-982E-4295-BCAD-093FA0E8E566}" dt="2023-01-18T05:33:07.832" v="14918"/>
          <ac:spMkLst>
            <pc:docMk/>
            <pc:sldMk cId="501870413" sldId="2439"/>
            <ac:spMk id="16" creationId="{6C2BB713-9637-4B9B-938F-E9768876782A}"/>
          </ac:spMkLst>
        </pc:spChg>
        <pc:spChg chg="add mod">
          <ac:chgData name="Aurelien Domont" userId="6da7715ce44349b3" providerId="LiveId" clId="{30A766B1-982E-4295-BCAD-093FA0E8E566}" dt="2022-05-26T04:16:32.570" v="8650"/>
          <ac:spMkLst>
            <pc:docMk/>
            <pc:sldMk cId="501870413" sldId="2439"/>
            <ac:spMk id="17" creationId="{97F65CA8-02BF-94FA-E3D7-D087A784929F}"/>
          </ac:spMkLst>
        </pc:spChg>
        <pc:spChg chg="add mod">
          <ac:chgData name="Aurelien Domont" userId="6da7715ce44349b3" providerId="LiveId" clId="{30A766B1-982E-4295-BCAD-093FA0E8E566}" dt="2022-05-26T04:17:23.899" v="8677"/>
          <ac:spMkLst>
            <pc:docMk/>
            <pc:sldMk cId="501870413" sldId="2439"/>
            <ac:spMk id="18" creationId="{0D8D6087-B68C-216B-B90E-BE2C72E3E7A2}"/>
          </ac:spMkLst>
        </pc:spChg>
      </pc:sldChg>
      <pc:sldChg chg="addSp modSp add mod">
        <pc:chgData name="Aurelien Domont" userId="6da7715ce44349b3" providerId="LiveId" clId="{30A766B1-982E-4295-BCAD-093FA0E8E566}" dt="2023-01-18T05:33:07.832" v="14918"/>
        <pc:sldMkLst>
          <pc:docMk/>
          <pc:sldMk cId="751865660" sldId="2440"/>
        </pc:sldMkLst>
        <pc:spChg chg="mod">
          <ac:chgData name="Aurelien Domont" userId="6da7715ce44349b3" providerId="LiveId" clId="{30A766B1-982E-4295-BCAD-093FA0E8E566}" dt="2023-01-18T05:33:07.832" v="14918"/>
          <ac:spMkLst>
            <pc:docMk/>
            <pc:sldMk cId="751865660" sldId="2440"/>
            <ac:spMk id="3" creationId="{CE2529A3-BA97-486F-9E02-8DFAAA7D8D38}"/>
          </ac:spMkLst>
        </pc:spChg>
        <pc:spChg chg="mod">
          <ac:chgData name="Aurelien Domont" userId="6da7715ce44349b3" providerId="LiveId" clId="{30A766B1-982E-4295-BCAD-093FA0E8E566}" dt="2022-05-26T04:24:35.397" v="8707"/>
          <ac:spMkLst>
            <pc:docMk/>
            <pc:sldMk cId="751865660" sldId="2440"/>
            <ac:spMk id="6" creationId="{2D0D0678-9552-4571-916E-DB6B4ED6CF2F}"/>
          </ac:spMkLst>
        </pc:spChg>
        <pc:spChg chg="mod">
          <ac:chgData name="Aurelien Domont" userId="6da7715ce44349b3" providerId="LiveId" clId="{30A766B1-982E-4295-BCAD-093FA0E8E566}" dt="2022-05-26T04:27:43.492" v="8853"/>
          <ac:spMkLst>
            <pc:docMk/>
            <pc:sldMk cId="751865660" sldId="2440"/>
            <ac:spMk id="7" creationId="{B8D1C305-E751-7014-B8AF-432C871C29BC}"/>
          </ac:spMkLst>
        </pc:spChg>
        <pc:spChg chg="mod">
          <ac:chgData name="Aurelien Domont" userId="6da7715ce44349b3" providerId="LiveId" clId="{30A766B1-982E-4295-BCAD-093FA0E8E566}" dt="2022-05-26T04:29:19.023" v="8855"/>
          <ac:spMkLst>
            <pc:docMk/>
            <pc:sldMk cId="751865660" sldId="2440"/>
            <ac:spMk id="8" creationId="{833E61D1-7220-5363-6C05-EB4A6881DE0D}"/>
          </ac:spMkLst>
        </pc:spChg>
        <pc:spChg chg="mod">
          <ac:chgData name="Aurelien Domont" userId="6da7715ce44349b3" providerId="LiveId" clId="{30A766B1-982E-4295-BCAD-093FA0E8E566}" dt="2022-05-26T04:32:35.629" v="8917" actId="20577"/>
          <ac:spMkLst>
            <pc:docMk/>
            <pc:sldMk cId="751865660" sldId="2440"/>
            <ac:spMk id="9" creationId="{ED6264A3-4C44-6E89-C7DD-FD2404447050}"/>
          </ac:spMkLst>
        </pc:spChg>
        <pc:spChg chg="mod">
          <ac:chgData name="Aurelien Domont" userId="6da7715ce44349b3" providerId="LiveId" clId="{30A766B1-982E-4295-BCAD-093FA0E8E566}" dt="2022-05-26T04:27:18.058" v="8852" actId="20577"/>
          <ac:spMkLst>
            <pc:docMk/>
            <pc:sldMk cId="751865660" sldId="2440"/>
            <ac:spMk id="10" creationId="{82492462-1A76-B8B5-CBA7-D882BF75ADDD}"/>
          </ac:spMkLst>
        </pc:spChg>
        <pc:spChg chg="mod">
          <ac:chgData name="Aurelien Domont" userId="6da7715ce44349b3" providerId="LiveId" clId="{30A766B1-982E-4295-BCAD-093FA0E8E566}" dt="2022-05-26T04:28:46.567" v="8854"/>
          <ac:spMkLst>
            <pc:docMk/>
            <pc:sldMk cId="751865660" sldId="2440"/>
            <ac:spMk id="12" creationId="{3AADFD92-A277-005A-2466-0F5B519F676D}"/>
          </ac:spMkLst>
        </pc:spChg>
        <pc:spChg chg="mod">
          <ac:chgData name="Aurelien Domont" userId="6da7715ce44349b3" providerId="LiveId" clId="{30A766B1-982E-4295-BCAD-093FA0E8E566}" dt="2022-05-26T04:30:38.742" v="8863" actId="20577"/>
          <ac:spMkLst>
            <pc:docMk/>
            <pc:sldMk cId="751865660" sldId="2440"/>
            <ac:spMk id="14" creationId="{44DB535B-9BF8-0DCD-1469-D7D113A0C4F7}"/>
          </ac:spMkLst>
        </pc:spChg>
        <pc:spChg chg="mod">
          <ac:chgData name="Aurelien Domont" userId="6da7715ce44349b3" providerId="LiveId" clId="{30A766B1-982E-4295-BCAD-093FA0E8E566}" dt="2022-05-26T04:33:21.444" v="8920"/>
          <ac:spMkLst>
            <pc:docMk/>
            <pc:sldMk cId="751865660" sldId="2440"/>
            <ac:spMk id="15" creationId="{8FDB6158-19FE-40A5-0B9E-2BB00D721A99}"/>
          </ac:spMkLst>
        </pc:spChg>
        <pc:spChg chg="mod">
          <ac:chgData name="Aurelien Domont" userId="6da7715ce44349b3" providerId="LiveId" clId="{30A766B1-982E-4295-BCAD-093FA0E8E566}" dt="2023-01-18T05:33:07.832" v="14918"/>
          <ac:spMkLst>
            <pc:docMk/>
            <pc:sldMk cId="751865660" sldId="2440"/>
            <ac:spMk id="16" creationId="{6C2BB713-9637-4B9B-938F-E9768876782A}"/>
          </ac:spMkLst>
        </pc:spChg>
        <pc:spChg chg="mod">
          <ac:chgData name="Aurelien Domont" userId="6da7715ce44349b3" providerId="LiveId" clId="{30A766B1-982E-4295-BCAD-093FA0E8E566}" dt="2022-05-26T04:35:26.960" v="8921"/>
          <ac:spMkLst>
            <pc:docMk/>
            <pc:sldMk cId="751865660" sldId="2440"/>
            <ac:spMk id="17" creationId="{97F65CA8-02BF-94FA-E3D7-D087A784929F}"/>
          </ac:spMkLst>
        </pc:spChg>
        <pc:spChg chg="mod">
          <ac:chgData name="Aurelien Domont" userId="6da7715ce44349b3" providerId="LiveId" clId="{30A766B1-982E-4295-BCAD-093FA0E8E566}" dt="2022-05-26T04:36:10.195" v="8988" actId="20577"/>
          <ac:spMkLst>
            <pc:docMk/>
            <pc:sldMk cId="751865660" sldId="2440"/>
            <ac:spMk id="18" creationId="{0D8D6087-B68C-216B-B90E-BE2C72E3E7A2}"/>
          </ac:spMkLst>
        </pc:spChg>
        <pc:spChg chg="add mod">
          <ac:chgData name="Aurelien Domont" userId="6da7715ce44349b3" providerId="LiveId" clId="{30A766B1-982E-4295-BCAD-093FA0E8E566}" dt="2022-05-26T04:41:13.393" v="9131"/>
          <ac:spMkLst>
            <pc:docMk/>
            <pc:sldMk cId="751865660" sldId="2440"/>
            <ac:spMk id="19" creationId="{D28D2FF6-9058-BC0D-5950-3DC38C4822A4}"/>
          </ac:spMkLst>
        </pc:spChg>
      </pc:sldChg>
      <pc:sldChg chg="addSp delSp modSp add del mod">
        <pc:chgData name="Aurelien Domont" userId="6da7715ce44349b3" providerId="LiveId" clId="{30A766B1-982E-4295-BCAD-093FA0E8E566}" dt="2022-05-26T05:31:31.244" v="9981" actId="47"/>
        <pc:sldMkLst>
          <pc:docMk/>
          <pc:sldMk cId="4197855075" sldId="2441"/>
        </pc:sldMkLst>
        <pc:spChg chg="del">
          <ac:chgData name="Aurelien Domont" userId="6da7715ce44349b3" providerId="LiveId" clId="{30A766B1-982E-4295-BCAD-093FA0E8E566}" dt="2022-05-26T04:41:26.315" v="9142" actId="478"/>
          <ac:spMkLst>
            <pc:docMk/>
            <pc:sldMk cId="4197855075" sldId="2441"/>
            <ac:spMk id="6" creationId="{2D0D0678-9552-4571-916E-DB6B4ED6CF2F}"/>
          </ac:spMkLst>
        </pc:spChg>
        <pc:spChg chg="del">
          <ac:chgData name="Aurelien Domont" userId="6da7715ce44349b3" providerId="LiveId" clId="{30A766B1-982E-4295-BCAD-093FA0E8E566}" dt="2022-05-26T04:41:26.315" v="9142" actId="478"/>
          <ac:spMkLst>
            <pc:docMk/>
            <pc:sldMk cId="4197855075" sldId="2441"/>
            <ac:spMk id="7" creationId="{B8D1C305-E751-7014-B8AF-432C871C29BC}"/>
          </ac:spMkLst>
        </pc:spChg>
        <pc:spChg chg="del">
          <ac:chgData name="Aurelien Domont" userId="6da7715ce44349b3" providerId="LiveId" clId="{30A766B1-982E-4295-BCAD-093FA0E8E566}" dt="2022-05-26T04:41:26.315" v="9142" actId="478"/>
          <ac:spMkLst>
            <pc:docMk/>
            <pc:sldMk cId="4197855075" sldId="2441"/>
            <ac:spMk id="8" creationId="{833E61D1-7220-5363-6C05-EB4A6881DE0D}"/>
          </ac:spMkLst>
        </pc:spChg>
        <pc:spChg chg="del">
          <ac:chgData name="Aurelien Domont" userId="6da7715ce44349b3" providerId="LiveId" clId="{30A766B1-982E-4295-BCAD-093FA0E8E566}" dt="2022-05-26T04:41:26.315" v="9142" actId="478"/>
          <ac:spMkLst>
            <pc:docMk/>
            <pc:sldMk cId="4197855075" sldId="2441"/>
            <ac:spMk id="9" creationId="{ED6264A3-4C44-6E89-C7DD-FD2404447050}"/>
          </ac:spMkLst>
        </pc:spChg>
        <pc:spChg chg="del">
          <ac:chgData name="Aurelien Domont" userId="6da7715ce44349b3" providerId="LiveId" clId="{30A766B1-982E-4295-BCAD-093FA0E8E566}" dt="2022-05-26T04:41:26.315" v="9142" actId="478"/>
          <ac:spMkLst>
            <pc:docMk/>
            <pc:sldMk cId="4197855075" sldId="2441"/>
            <ac:spMk id="10" creationId="{82492462-1A76-B8B5-CBA7-D882BF75ADDD}"/>
          </ac:spMkLst>
        </pc:spChg>
        <pc:spChg chg="del">
          <ac:chgData name="Aurelien Domont" userId="6da7715ce44349b3" providerId="LiveId" clId="{30A766B1-982E-4295-BCAD-093FA0E8E566}" dt="2022-05-26T04:41:26.315" v="9142" actId="478"/>
          <ac:spMkLst>
            <pc:docMk/>
            <pc:sldMk cId="4197855075" sldId="2441"/>
            <ac:spMk id="12" creationId="{3AADFD92-A277-005A-2466-0F5B519F676D}"/>
          </ac:spMkLst>
        </pc:spChg>
        <pc:spChg chg="del">
          <ac:chgData name="Aurelien Domont" userId="6da7715ce44349b3" providerId="LiveId" clId="{30A766B1-982E-4295-BCAD-093FA0E8E566}" dt="2022-05-26T04:41:26.315" v="9142" actId="478"/>
          <ac:spMkLst>
            <pc:docMk/>
            <pc:sldMk cId="4197855075" sldId="2441"/>
            <ac:spMk id="14" creationId="{44DB535B-9BF8-0DCD-1469-D7D113A0C4F7}"/>
          </ac:spMkLst>
        </pc:spChg>
        <pc:spChg chg="del">
          <ac:chgData name="Aurelien Domont" userId="6da7715ce44349b3" providerId="LiveId" clId="{30A766B1-982E-4295-BCAD-093FA0E8E566}" dt="2022-05-26T04:41:26.315" v="9142" actId="478"/>
          <ac:spMkLst>
            <pc:docMk/>
            <pc:sldMk cId="4197855075" sldId="2441"/>
            <ac:spMk id="15" creationId="{8FDB6158-19FE-40A5-0B9E-2BB00D721A99}"/>
          </ac:spMkLst>
        </pc:spChg>
        <pc:spChg chg="mod">
          <ac:chgData name="Aurelien Domont" userId="6da7715ce44349b3" providerId="LiveId" clId="{30A766B1-982E-4295-BCAD-093FA0E8E566}" dt="2022-05-26T04:42:50.848" v="9250" actId="20577"/>
          <ac:spMkLst>
            <pc:docMk/>
            <pc:sldMk cId="4197855075" sldId="2441"/>
            <ac:spMk id="16" creationId="{6C2BB713-9637-4B9B-938F-E9768876782A}"/>
          </ac:spMkLst>
        </pc:spChg>
        <pc:spChg chg="del">
          <ac:chgData name="Aurelien Domont" userId="6da7715ce44349b3" providerId="LiveId" clId="{30A766B1-982E-4295-BCAD-093FA0E8E566}" dt="2022-05-26T04:41:29.357" v="9143" actId="478"/>
          <ac:spMkLst>
            <pc:docMk/>
            <pc:sldMk cId="4197855075" sldId="2441"/>
            <ac:spMk id="17" creationId="{97F65CA8-02BF-94FA-E3D7-D087A784929F}"/>
          </ac:spMkLst>
        </pc:spChg>
        <pc:spChg chg="del">
          <ac:chgData name="Aurelien Domont" userId="6da7715ce44349b3" providerId="LiveId" clId="{30A766B1-982E-4295-BCAD-093FA0E8E566}" dt="2022-05-26T04:41:29.357" v="9143" actId="478"/>
          <ac:spMkLst>
            <pc:docMk/>
            <pc:sldMk cId="4197855075" sldId="2441"/>
            <ac:spMk id="18" creationId="{0D8D6087-B68C-216B-B90E-BE2C72E3E7A2}"/>
          </ac:spMkLst>
        </pc:spChg>
        <pc:spChg chg="del">
          <ac:chgData name="Aurelien Domont" userId="6da7715ce44349b3" providerId="LiveId" clId="{30A766B1-982E-4295-BCAD-093FA0E8E566}" dt="2022-05-26T04:42:42.711" v="9241" actId="478"/>
          <ac:spMkLst>
            <pc:docMk/>
            <pc:sldMk cId="4197855075" sldId="2441"/>
            <ac:spMk id="19" creationId="{D28D2FF6-9058-BC0D-5950-3DC38C4822A4}"/>
          </ac:spMkLst>
        </pc:spChg>
        <pc:spChg chg="add del mod">
          <ac:chgData name="Aurelien Domont" userId="6da7715ce44349b3" providerId="LiveId" clId="{30A766B1-982E-4295-BCAD-093FA0E8E566}" dt="2022-05-26T05:04:56.835" v="9262" actId="478"/>
          <ac:spMkLst>
            <pc:docMk/>
            <pc:sldMk cId="4197855075" sldId="2441"/>
            <ac:spMk id="20" creationId="{396E4EE8-E6C5-F915-0EF6-9708DEF23E53}"/>
          </ac:spMkLst>
        </pc:spChg>
        <pc:spChg chg="add mod">
          <ac:chgData name="Aurelien Domont" userId="6da7715ce44349b3" providerId="LiveId" clId="{30A766B1-982E-4295-BCAD-093FA0E8E566}" dt="2022-05-26T05:09:05.212" v="9343" actId="1035"/>
          <ac:spMkLst>
            <pc:docMk/>
            <pc:sldMk cId="4197855075" sldId="2441"/>
            <ac:spMk id="21" creationId="{0C9D3003-BC88-EF09-E5EC-032C09736BF3}"/>
          </ac:spMkLst>
        </pc:spChg>
        <pc:spChg chg="add del mod">
          <ac:chgData name="Aurelien Domont" userId="6da7715ce44349b3" providerId="LiveId" clId="{30A766B1-982E-4295-BCAD-093FA0E8E566}" dt="2022-05-26T05:08:37.884" v="9327" actId="478"/>
          <ac:spMkLst>
            <pc:docMk/>
            <pc:sldMk cId="4197855075" sldId="2441"/>
            <ac:spMk id="22" creationId="{D54F5807-4D8F-EA3A-EAC3-5F10E6785FE5}"/>
          </ac:spMkLst>
        </pc:spChg>
        <pc:spChg chg="add mod">
          <ac:chgData name="Aurelien Domont" userId="6da7715ce44349b3" providerId="LiveId" clId="{30A766B1-982E-4295-BCAD-093FA0E8E566}" dt="2022-05-26T05:09:34.600" v="9368" actId="1036"/>
          <ac:spMkLst>
            <pc:docMk/>
            <pc:sldMk cId="4197855075" sldId="2441"/>
            <ac:spMk id="23" creationId="{98A42DEA-FB1C-A9B3-7B74-645EBF65DBC6}"/>
          </ac:spMkLst>
        </pc:spChg>
        <pc:spChg chg="add mod">
          <ac:chgData name="Aurelien Domont" userId="6da7715ce44349b3" providerId="LiveId" clId="{30A766B1-982E-4295-BCAD-093FA0E8E566}" dt="2022-05-26T05:09:37.084" v="9379" actId="1036"/>
          <ac:spMkLst>
            <pc:docMk/>
            <pc:sldMk cId="4197855075" sldId="2441"/>
            <ac:spMk id="24" creationId="{65A5A472-1950-69C5-92F7-C6498479F5CD}"/>
          </ac:spMkLst>
        </pc:spChg>
        <pc:spChg chg="add del mod">
          <ac:chgData name="Aurelien Domont" userId="6da7715ce44349b3" providerId="LiveId" clId="{30A766B1-982E-4295-BCAD-093FA0E8E566}" dt="2022-05-26T05:05:44.644" v="9264" actId="478"/>
          <ac:spMkLst>
            <pc:docMk/>
            <pc:sldMk cId="4197855075" sldId="2441"/>
            <ac:spMk id="27" creationId="{C13CF30B-65F2-2E02-DFD1-28080D3BC5D2}"/>
          </ac:spMkLst>
        </pc:spChg>
        <pc:spChg chg="add mod">
          <ac:chgData name="Aurelien Domont" userId="6da7715ce44349b3" providerId="LiveId" clId="{30A766B1-982E-4295-BCAD-093FA0E8E566}" dt="2022-05-26T05:10:11.216" v="9394"/>
          <ac:spMkLst>
            <pc:docMk/>
            <pc:sldMk cId="4197855075" sldId="2441"/>
            <ac:spMk id="28" creationId="{6A79932B-32F8-CBF1-7312-708BF608E3F6}"/>
          </ac:spMkLst>
        </pc:spChg>
        <pc:picChg chg="add del mod">
          <ac:chgData name="Aurelien Domont" userId="6da7715ce44349b3" providerId="LiveId" clId="{30A766B1-982E-4295-BCAD-093FA0E8E566}" dt="2022-05-26T05:07:06.941" v="9326" actId="478"/>
          <ac:picMkLst>
            <pc:docMk/>
            <pc:sldMk cId="4197855075" sldId="2441"/>
            <ac:picMk id="25" creationId="{69DFECB9-E750-67DD-F7FA-4B06BE66AC37}"/>
          </ac:picMkLst>
        </pc:picChg>
        <pc:picChg chg="add del mod">
          <ac:chgData name="Aurelien Domont" userId="6da7715ce44349b3" providerId="LiveId" clId="{30A766B1-982E-4295-BCAD-093FA0E8E566}" dt="2022-05-26T05:07:06.941" v="9326" actId="478"/>
          <ac:picMkLst>
            <pc:docMk/>
            <pc:sldMk cId="4197855075" sldId="2441"/>
            <ac:picMk id="26" creationId="{A0601037-82D5-9355-F463-3A57A66985E6}"/>
          </ac:picMkLst>
        </pc:picChg>
      </pc:sldChg>
      <pc:sldChg chg="modSp add del mod">
        <pc:chgData name="Aurelien Domont" userId="6da7715ce44349b3" providerId="LiveId" clId="{30A766B1-982E-4295-BCAD-093FA0E8E566}" dt="2022-05-26T05:10:21.130" v="9396" actId="47"/>
        <pc:sldMkLst>
          <pc:docMk/>
          <pc:sldMk cId="860267541" sldId="2442"/>
        </pc:sldMkLst>
        <pc:spChg chg="mod">
          <ac:chgData name="Aurelien Domont" userId="6da7715ce44349b3" providerId="LiveId" clId="{30A766B1-982E-4295-BCAD-093FA0E8E566}" dt="2022-05-26T04:43:38.644" v="9258" actId="20577"/>
          <ac:spMkLst>
            <pc:docMk/>
            <pc:sldMk cId="860267541" sldId="2442"/>
            <ac:spMk id="16" creationId="{6C2BB713-9637-4B9B-938F-E9768876782A}"/>
          </ac:spMkLst>
        </pc:spChg>
        <pc:spChg chg="mod">
          <ac:chgData name="Aurelien Domont" userId="6da7715ce44349b3" providerId="LiveId" clId="{30A766B1-982E-4295-BCAD-093FA0E8E566}" dt="2022-05-26T04:43:45.759" v="9261" actId="20577"/>
          <ac:spMkLst>
            <pc:docMk/>
            <pc:sldMk cId="860267541" sldId="2442"/>
            <ac:spMk id="20" creationId="{396E4EE8-E6C5-F915-0EF6-9708DEF23E53}"/>
          </ac:spMkLst>
        </pc:spChg>
      </pc:sldChg>
      <pc:sldChg chg="modSp add del mod">
        <pc:chgData name="Aurelien Domont" userId="6da7715ce44349b3" providerId="LiveId" clId="{30A766B1-982E-4295-BCAD-093FA0E8E566}" dt="2022-05-26T05:31:31.244" v="9981" actId="47"/>
        <pc:sldMkLst>
          <pc:docMk/>
          <pc:sldMk cId="3400293458" sldId="2443"/>
        </pc:sldMkLst>
        <pc:spChg chg="mod">
          <ac:chgData name="Aurelien Domont" userId="6da7715ce44349b3" providerId="LiveId" clId="{30A766B1-982E-4295-BCAD-093FA0E8E566}" dt="2022-05-26T05:10:25.465" v="9403" actId="20577"/>
          <ac:spMkLst>
            <pc:docMk/>
            <pc:sldMk cId="3400293458" sldId="2443"/>
            <ac:spMk id="16" creationId="{6C2BB713-9637-4B9B-938F-E9768876782A}"/>
          </ac:spMkLst>
        </pc:spChg>
        <pc:spChg chg="mod">
          <ac:chgData name="Aurelien Domont" userId="6da7715ce44349b3" providerId="LiveId" clId="{30A766B1-982E-4295-BCAD-093FA0E8E566}" dt="2022-05-26T05:11:42.936" v="9507" actId="20577"/>
          <ac:spMkLst>
            <pc:docMk/>
            <pc:sldMk cId="3400293458" sldId="2443"/>
            <ac:spMk id="21" creationId="{0C9D3003-BC88-EF09-E5EC-032C09736BF3}"/>
          </ac:spMkLst>
        </pc:spChg>
      </pc:sldChg>
      <pc:sldChg chg="addSp delSp modSp add mod">
        <pc:chgData name="Aurelien Domont" userId="6da7715ce44349b3" providerId="LiveId" clId="{30A766B1-982E-4295-BCAD-093FA0E8E566}" dt="2023-01-18T05:33:07.832" v="14918"/>
        <pc:sldMkLst>
          <pc:docMk/>
          <pc:sldMk cId="258368985" sldId="2444"/>
        </pc:sldMkLst>
        <pc:spChg chg="mod">
          <ac:chgData name="Aurelien Domont" userId="6da7715ce44349b3" providerId="LiveId" clId="{30A766B1-982E-4295-BCAD-093FA0E8E566}" dt="2023-01-18T05:33:07.832" v="14918"/>
          <ac:spMkLst>
            <pc:docMk/>
            <pc:sldMk cId="258368985" sldId="2444"/>
            <ac:spMk id="3" creationId="{CE2529A3-BA97-486F-9E02-8DFAAA7D8D38}"/>
          </ac:spMkLst>
        </pc:spChg>
        <pc:spChg chg="add mod">
          <ac:chgData name="Aurelien Domont" userId="6da7715ce44349b3" providerId="LiveId" clId="{30A766B1-982E-4295-BCAD-093FA0E8E566}" dt="2022-05-26T05:23:51.398" v="9710" actId="1036"/>
          <ac:spMkLst>
            <pc:docMk/>
            <pc:sldMk cId="258368985" sldId="2444"/>
            <ac:spMk id="9" creationId="{D8FC5BE3-84FB-BA9C-569A-42E95A8E097C}"/>
          </ac:spMkLst>
        </pc:spChg>
        <pc:spChg chg="add mod">
          <ac:chgData name="Aurelien Domont" userId="6da7715ce44349b3" providerId="LiveId" clId="{30A766B1-982E-4295-BCAD-093FA0E8E566}" dt="2022-05-26T05:23:44.196" v="9707" actId="14100"/>
          <ac:spMkLst>
            <pc:docMk/>
            <pc:sldMk cId="258368985" sldId="2444"/>
            <ac:spMk id="10" creationId="{6F60536E-3284-9F23-9294-5CD92885BD1C}"/>
          </ac:spMkLst>
        </pc:spChg>
        <pc:spChg chg="add mod">
          <ac:chgData name="Aurelien Domont" userId="6da7715ce44349b3" providerId="LiveId" clId="{30A766B1-982E-4295-BCAD-093FA0E8E566}" dt="2022-05-26T05:23:37.654" v="9706" actId="1036"/>
          <ac:spMkLst>
            <pc:docMk/>
            <pc:sldMk cId="258368985" sldId="2444"/>
            <ac:spMk id="11" creationId="{58F5A66E-00FA-DFD6-2A6E-8ABBA93FDE01}"/>
          </ac:spMkLst>
        </pc:spChg>
        <pc:spChg chg="add mod">
          <ac:chgData name="Aurelien Domont" userId="6da7715ce44349b3" providerId="LiveId" clId="{30A766B1-982E-4295-BCAD-093FA0E8E566}" dt="2022-05-26T05:31:59.949" v="10025"/>
          <ac:spMkLst>
            <pc:docMk/>
            <pc:sldMk cId="258368985" sldId="2444"/>
            <ac:spMk id="12" creationId="{E9269130-D11D-30F1-52A3-5B560039688A}"/>
          </ac:spMkLst>
        </pc:spChg>
        <pc:spChg chg="add mod">
          <ac:chgData name="Aurelien Domont" userId="6da7715ce44349b3" providerId="LiveId" clId="{30A766B1-982E-4295-BCAD-093FA0E8E566}" dt="2022-05-26T05:32:15.836" v="10039"/>
          <ac:spMkLst>
            <pc:docMk/>
            <pc:sldMk cId="258368985" sldId="2444"/>
            <ac:spMk id="14" creationId="{1A47267F-4F74-A846-CA0F-CE81A998F702}"/>
          </ac:spMkLst>
        </pc:spChg>
        <pc:spChg chg="add mod">
          <ac:chgData name="Aurelien Domont" userId="6da7715ce44349b3" providerId="LiveId" clId="{30A766B1-982E-4295-BCAD-093FA0E8E566}" dt="2022-05-26T05:32:22.077" v="10040"/>
          <ac:spMkLst>
            <pc:docMk/>
            <pc:sldMk cId="258368985" sldId="2444"/>
            <ac:spMk id="15" creationId="{2E1D4A29-F0E1-2F71-4363-0E9B3072E10F}"/>
          </ac:spMkLst>
        </pc:spChg>
        <pc:spChg chg="mod">
          <ac:chgData name="Aurelien Domont" userId="6da7715ce44349b3" providerId="LiveId" clId="{30A766B1-982E-4295-BCAD-093FA0E8E566}" dt="2023-01-18T05:33:07.832" v="14918"/>
          <ac:spMkLst>
            <pc:docMk/>
            <pc:sldMk cId="258368985" sldId="2444"/>
            <ac:spMk id="16" creationId="{6C2BB713-9637-4B9B-938F-E9768876782A}"/>
          </ac:spMkLst>
        </pc:spChg>
        <pc:spChg chg="add mod">
          <ac:chgData name="Aurelien Domont" userId="6da7715ce44349b3" providerId="LiveId" clId="{30A766B1-982E-4295-BCAD-093FA0E8E566}" dt="2022-05-26T05:15:19.357" v="9515"/>
          <ac:spMkLst>
            <pc:docMk/>
            <pc:sldMk cId="258368985" sldId="2444"/>
            <ac:spMk id="17" creationId="{A2237492-8943-EE7A-94EC-D37C3D8C7A06}"/>
          </ac:spMkLst>
        </pc:spChg>
        <pc:spChg chg="add mod">
          <ac:chgData name="Aurelien Domont" userId="6da7715ce44349b3" providerId="LiveId" clId="{30A766B1-982E-4295-BCAD-093FA0E8E566}" dt="2022-05-26T05:31:53.204" v="10024" actId="20577"/>
          <ac:spMkLst>
            <pc:docMk/>
            <pc:sldMk cId="258368985" sldId="2444"/>
            <ac:spMk id="18" creationId="{6CF691F5-8A64-58D2-F278-0CE266E4CE47}"/>
          </ac:spMkLst>
        </pc:spChg>
        <pc:spChg chg="del">
          <ac:chgData name="Aurelien Domont" userId="6da7715ce44349b3" providerId="LiveId" clId="{30A766B1-982E-4295-BCAD-093FA0E8E566}" dt="2022-05-26T05:14:40.026" v="9509" actId="478"/>
          <ac:spMkLst>
            <pc:docMk/>
            <pc:sldMk cId="258368985" sldId="2444"/>
            <ac:spMk id="21" creationId="{0C9D3003-BC88-EF09-E5EC-032C09736BF3}"/>
          </ac:spMkLst>
        </pc:spChg>
        <pc:spChg chg="del">
          <ac:chgData name="Aurelien Domont" userId="6da7715ce44349b3" providerId="LiveId" clId="{30A766B1-982E-4295-BCAD-093FA0E8E566}" dt="2022-05-26T05:14:40.026" v="9509" actId="478"/>
          <ac:spMkLst>
            <pc:docMk/>
            <pc:sldMk cId="258368985" sldId="2444"/>
            <ac:spMk id="23" creationId="{98A42DEA-FB1C-A9B3-7B74-645EBF65DBC6}"/>
          </ac:spMkLst>
        </pc:spChg>
        <pc:spChg chg="del">
          <ac:chgData name="Aurelien Domont" userId="6da7715ce44349b3" providerId="LiveId" clId="{30A766B1-982E-4295-BCAD-093FA0E8E566}" dt="2022-05-26T05:14:40.026" v="9509" actId="478"/>
          <ac:spMkLst>
            <pc:docMk/>
            <pc:sldMk cId="258368985" sldId="2444"/>
            <ac:spMk id="24" creationId="{65A5A472-1950-69C5-92F7-C6498479F5CD}"/>
          </ac:spMkLst>
        </pc:spChg>
        <pc:spChg chg="del">
          <ac:chgData name="Aurelien Domont" userId="6da7715ce44349b3" providerId="LiveId" clId="{30A766B1-982E-4295-BCAD-093FA0E8E566}" dt="2022-05-26T05:14:40.026" v="9509" actId="478"/>
          <ac:spMkLst>
            <pc:docMk/>
            <pc:sldMk cId="258368985" sldId="2444"/>
            <ac:spMk id="28" creationId="{6A79932B-32F8-CBF1-7312-708BF608E3F6}"/>
          </ac:spMkLst>
        </pc:spChg>
      </pc:sldChg>
      <pc:sldChg chg="modSp add mod">
        <pc:chgData name="Aurelien Domont" userId="6da7715ce44349b3" providerId="LiveId" clId="{30A766B1-982E-4295-BCAD-093FA0E8E566}" dt="2023-01-18T05:33:07.832" v="14918"/>
        <pc:sldMkLst>
          <pc:docMk/>
          <pc:sldMk cId="1297274787" sldId="2445"/>
        </pc:sldMkLst>
        <pc:spChg chg="mod">
          <ac:chgData name="Aurelien Domont" userId="6da7715ce44349b3" providerId="LiveId" clId="{30A766B1-982E-4295-BCAD-093FA0E8E566}" dt="2023-01-18T05:33:07.832" v="14918"/>
          <ac:spMkLst>
            <pc:docMk/>
            <pc:sldMk cId="1297274787" sldId="2445"/>
            <ac:spMk id="3" creationId="{CE2529A3-BA97-486F-9E02-8DFAAA7D8D38}"/>
          </ac:spMkLst>
        </pc:spChg>
        <pc:spChg chg="mod">
          <ac:chgData name="Aurelien Domont" userId="6da7715ce44349b3" providerId="LiveId" clId="{30A766B1-982E-4295-BCAD-093FA0E8E566}" dt="2022-05-26T05:39:41.081" v="10069"/>
          <ac:spMkLst>
            <pc:docMk/>
            <pc:sldMk cId="1297274787" sldId="2445"/>
            <ac:spMk id="14" creationId="{1A47267F-4F74-A846-CA0F-CE81A998F702}"/>
          </ac:spMkLst>
        </pc:spChg>
        <pc:spChg chg="mod">
          <ac:chgData name="Aurelien Domont" userId="6da7715ce44349b3" providerId="LiveId" clId="{30A766B1-982E-4295-BCAD-093FA0E8E566}" dt="2023-01-18T05:33:07.832" v="14918"/>
          <ac:spMkLst>
            <pc:docMk/>
            <pc:sldMk cId="1297274787" sldId="2445"/>
            <ac:spMk id="16" creationId="{6C2BB713-9637-4B9B-938F-E9768876782A}"/>
          </ac:spMkLst>
        </pc:spChg>
      </pc:sldChg>
      <pc:sldChg chg="delSp modSp add mod">
        <pc:chgData name="Aurelien Domont" userId="6da7715ce44349b3" providerId="LiveId" clId="{30A766B1-982E-4295-BCAD-093FA0E8E566}" dt="2023-01-18T05:33:07.832" v="14918"/>
        <pc:sldMkLst>
          <pc:docMk/>
          <pc:sldMk cId="1506314797" sldId="2446"/>
        </pc:sldMkLst>
        <pc:spChg chg="del">
          <ac:chgData name="Aurelien Domont" userId="6da7715ce44349b3" providerId="LiveId" clId="{30A766B1-982E-4295-BCAD-093FA0E8E566}" dt="2022-05-26T05:33:50.001" v="10043" actId="478"/>
          <ac:spMkLst>
            <pc:docMk/>
            <pc:sldMk cId="1506314797" sldId="2446"/>
            <ac:spMk id="2" creationId="{69A6D4AE-AC5D-1056-1148-B9FE469AB2BA}"/>
          </ac:spMkLst>
        </pc:spChg>
        <pc:spChg chg="mod">
          <ac:chgData name="Aurelien Domont" userId="6da7715ce44349b3" providerId="LiveId" clId="{30A766B1-982E-4295-BCAD-093FA0E8E566}" dt="2023-01-18T05:33:07.832" v="14918"/>
          <ac:spMkLst>
            <pc:docMk/>
            <pc:sldMk cId="1506314797" sldId="2446"/>
            <ac:spMk id="3" creationId="{CE2529A3-BA97-486F-9E02-8DFAAA7D8D38}"/>
          </ac:spMkLst>
        </pc:spChg>
        <pc:spChg chg="mod">
          <ac:chgData name="Aurelien Domont" userId="6da7715ce44349b3" providerId="LiveId" clId="{30A766B1-982E-4295-BCAD-093FA0E8E566}" dt="2023-01-18T05:33:07.832" v="14918"/>
          <ac:spMkLst>
            <pc:docMk/>
            <pc:sldMk cId="1506314797" sldId="2446"/>
            <ac:spMk id="16" creationId="{6C2BB713-9637-4B9B-938F-E9768876782A}"/>
          </ac:spMkLst>
        </pc:spChg>
      </pc:sldChg>
      <pc:sldChg chg="addSp delSp modSp add del mod">
        <pc:chgData name="Aurelien Domont" userId="6da7715ce44349b3" providerId="LiveId" clId="{30A766B1-982E-4295-BCAD-093FA0E8E566}" dt="2022-05-26T05:37:44.527" v="10063" actId="47"/>
        <pc:sldMkLst>
          <pc:docMk/>
          <pc:sldMk cId="18652503" sldId="2447"/>
        </pc:sldMkLst>
        <pc:spChg chg="add del mod">
          <ac:chgData name="Aurelien Domont" userId="6da7715ce44349b3" providerId="LiveId" clId="{30A766B1-982E-4295-BCAD-093FA0E8E566}" dt="2022-05-26T05:37:41.660" v="10062" actId="478"/>
          <ac:spMkLst>
            <pc:docMk/>
            <pc:sldMk cId="18652503" sldId="2447"/>
            <ac:spMk id="15" creationId="{E11D893A-F3AD-623A-B029-FC3F4906F7B9}"/>
          </ac:spMkLst>
        </pc:spChg>
      </pc:sldChg>
      <pc:sldChg chg="modSp add">
        <pc:chgData name="Aurelien Domont" userId="6da7715ce44349b3" providerId="LiveId" clId="{30A766B1-982E-4295-BCAD-093FA0E8E566}" dt="2023-01-18T05:33:07.832" v="14918"/>
        <pc:sldMkLst>
          <pc:docMk/>
          <pc:sldMk cId="286161067" sldId="2447"/>
        </pc:sldMkLst>
        <pc:spChg chg="mod">
          <ac:chgData name="Aurelien Domont" userId="6da7715ce44349b3" providerId="LiveId" clId="{30A766B1-982E-4295-BCAD-093FA0E8E566}" dt="2023-01-18T05:33:07.832" v="14918"/>
          <ac:spMkLst>
            <pc:docMk/>
            <pc:sldMk cId="286161067" sldId="2447"/>
            <ac:spMk id="3" creationId="{CE2529A3-BA97-486F-9E02-8DFAAA7D8D38}"/>
          </ac:spMkLst>
        </pc:spChg>
        <pc:spChg chg="mod">
          <ac:chgData name="Aurelien Domont" userId="6da7715ce44349b3" providerId="LiveId" clId="{30A766B1-982E-4295-BCAD-093FA0E8E566}" dt="2023-01-18T05:33:07.832" v="14918"/>
          <ac:spMkLst>
            <pc:docMk/>
            <pc:sldMk cId="286161067" sldId="2447"/>
            <ac:spMk id="16" creationId="{6C2BB713-9637-4B9B-938F-E9768876782A}"/>
          </ac:spMkLst>
        </pc:spChg>
      </pc:sldChg>
      <pc:sldChg chg="modSp add del mod">
        <pc:chgData name="Aurelien Domont" userId="6da7715ce44349b3" providerId="LiveId" clId="{30A766B1-982E-4295-BCAD-093FA0E8E566}" dt="2022-05-26T05:37:21.186" v="10059" actId="47"/>
        <pc:sldMkLst>
          <pc:docMk/>
          <pc:sldMk cId="2228944956" sldId="2447"/>
        </pc:sldMkLst>
        <pc:spChg chg="mod">
          <ac:chgData name="Aurelien Domont" userId="6da7715ce44349b3" providerId="LiveId" clId="{30A766B1-982E-4295-BCAD-093FA0E8E566}" dt="2022-05-26T05:34:19.481" v="10046"/>
          <ac:spMkLst>
            <pc:docMk/>
            <pc:sldMk cId="2228944956" sldId="2447"/>
            <ac:spMk id="11" creationId="{253D5220-FD43-D330-C445-E353084D304F}"/>
          </ac:spMkLst>
        </pc:spChg>
        <pc:spChg chg="mod">
          <ac:chgData name="Aurelien Domont" userId="6da7715ce44349b3" providerId="LiveId" clId="{30A766B1-982E-4295-BCAD-093FA0E8E566}" dt="2022-05-26T05:35:05.342" v="10058" actId="20577"/>
          <ac:spMkLst>
            <pc:docMk/>
            <pc:sldMk cId="2228944956" sldId="2447"/>
            <ac:spMk id="16" creationId="{6C2BB713-9637-4B9B-938F-E9768876782A}"/>
          </ac:spMkLst>
        </pc:spChg>
      </pc:sldChg>
      <pc:sldChg chg="modSp add mod">
        <pc:chgData name="Aurelien Domont" userId="6da7715ce44349b3" providerId="LiveId" clId="{30A766B1-982E-4295-BCAD-093FA0E8E566}" dt="2023-01-18T05:33:07.832" v="14918"/>
        <pc:sldMkLst>
          <pc:docMk/>
          <pc:sldMk cId="2807467851" sldId="2448"/>
        </pc:sldMkLst>
        <pc:spChg chg="mod">
          <ac:chgData name="Aurelien Domont" userId="6da7715ce44349b3" providerId="LiveId" clId="{30A766B1-982E-4295-BCAD-093FA0E8E566}" dt="2023-01-18T05:33:07.832" v="14918"/>
          <ac:spMkLst>
            <pc:docMk/>
            <pc:sldMk cId="2807467851" sldId="2448"/>
            <ac:spMk id="3" creationId="{CE2529A3-BA97-486F-9E02-8DFAAA7D8D38}"/>
          </ac:spMkLst>
        </pc:spChg>
        <pc:spChg chg="mod">
          <ac:chgData name="Aurelien Domont" userId="6da7715ce44349b3" providerId="LiveId" clId="{30A766B1-982E-4295-BCAD-093FA0E8E566}" dt="2022-05-26T05:55:15.600" v="10340" actId="20577"/>
          <ac:spMkLst>
            <pc:docMk/>
            <pc:sldMk cId="2807467851" sldId="2448"/>
            <ac:spMk id="6" creationId="{925DDD0A-01CE-7FB4-14EA-5618B9C4E995}"/>
          </ac:spMkLst>
        </pc:spChg>
        <pc:spChg chg="mod">
          <ac:chgData name="Aurelien Domont" userId="6da7715ce44349b3" providerId="LiveId" clId="{30A766B1-982E-4295-BCAD-093FA0E8E566}" dt="2023-01-18T05:33:07.832" v="14918"/>
          <ac:spMkLst>
            <pc:docMk/>
            <pc:sldMk cId="2807467851" sldId="2448"/>
            <ac:spMk id="16" creationId="{6C2BB713-9637-4B9B-938F-E9768876782A}"/>
          </ac:spMkLst>
        </pc:spChg>
      </pc:sldChg>
      <pc:sldChg chg="addSp delSp modSp add mod">
        <pc:chgData name="Aurelien Domont" userId="6da7715ce44349b3" providerId="LiveId" clId="{30A766B1-982E-4295-BCAD-093FA0E8E566}" dt="2023-01-18T05:33:07.832" v="14918"/>
        <pc:sldMkLst>
          <pc:docMk/>
          <pc:sldMk cId="73846722" sldId="2449"/>
        </pc:sldMkLst>
        <pc:spChg chg="del">
          <ac:chgData name="Aurelien Domont" userId="6da7715ce44349b3" providerId="LiveId" clId="{30A766B1-982E-4295-BCAD-093FA0E8E566}" dt="2022-05-26T05:57:43.076" v="10359" actId="478"/>
          <ac:spMkLst>
            <pc:docMk/>
            <pc:sldMk cId="73846722" sldId="2449"/>
            <ac:spMk id="2" creationId="{7801488D-B37C-407E-9007-31C23DCB2033}"/>
          </ac:spMkLst>
        </pc:spChg>
        <pc:spChg chg="mod">
          <ac:chgData name="Aurelien Domont" userId="6da7715ce44349b3" providerId="LiveId" clId="{30A766B1-982E-4295-BCAD-093FA0E8E566}" dt="2023-01-18T05:33:07.832" v="14918"/>
          <ac:spMkLst>
            <pc:docMk/>
            <pc:sldMk cId="73846722" sldId="2449"/>
            <ac:spMk id="3" creationId="{CE2529A3-BA97-486F-9E02-8DFAAA7D8D38}"/>
          </ac:spMkLst>
        </pc:spChg>
        <pc:spChg chg="mod">
          <ac:chgData name="Aurelien Domont" userId="6da7715ce44349b3" providerId="LiveId" clId="{30A766B1-982E-4295-BCAD-093FA0E8E566}" dt="2023-01-18T05:33:07.832" v="14918"/>
          <ac:spMkLst>
            <pc:docMk/>
            <pc:sldMk cId="73846722" sldId="2449"/>
            <ac:spMk id="16" creationId="{6C2BB713-9637-4B9B-938F-E9768876782A}"/>
          </ac:spMkLst>
        </pc:spChg>
        <pc:spChg chg="del">
          <ac:chgData name="Aurelien Domont" userId="6da7715ce44349b3" providerId="LiveId" clId="{30A766B1-982E-4295-BCAD-093FA0E8E566}" dt="2022-05-26T05:57:41.044" v="10358" actId="478"/>
          <ac:spMkLst>
            <pc:docMk/>
            <pc:sldMk cId="73846722" sldId="2449"/>
            <ac:spMk id="24" creationId="{476E214A-0309-4764-9D8B-8F0A8890090C}"/>
          </ac:spMkLst>
        </pc:spChg>
        <pc:spChg chg="del">
          <ac:chgData name="Aurelien Domont" userId="6da7715ce44349b3" providerId="LiveId" clId="{30A766B1-982E-4295-BCAD-093FA0E8E566}" dt="2022-05-26T05:57:43.076" v="10359" actId="478"/>
          <ac:spMkLst>
            <pc:docMk/>
            <pc:sldMk cId="73846722" sldId="2449"/>
            <ac:spMk id="26" creationId="{6EDED422-89D7-4395-BABA-B841ED8D7BD4}"/>
          </ac:spMkLst>
        </pc:spChg>
        <pc:spChg chg="del">
          <ac:chgData name="Aurelien Domont" userId="6da7715ce44349b3" providerId="LiveId" clId="{30A766B1-982E-4295-BCAD-093FA0E8E566}" dt="2022-05-26T05:57:43.076" v="10359" actId="478"/>
          <ac:spMkLst>
            <pc:docMk/>
            <pc:sldMk cId="73846722" sldId="2449"/>
            <ac:spMk id="27" creationId="{F432BD65-D95A-4622-814B-DD2615DF86DD}"/>
          </ac:spMkLst>
        </pc:spChg>
        <pc:spChg chg="del">
          <ac:chgData name="Aurelien Domont" userId="6da7715ce44349b3" providerId="LiveId" clId="{30A766B1-982E-4295-BCAD-093FA0E8E566}" dt="2022-05-26T05:57:43.076" v="10359" actId="478"/>
          <ac:spMkLst>
            <pc:docMk/>
            <pc:sldMk cId="73846722" sldId="2449"/>
            <ac:spMk id="28" creationId="{FA40499B-398B-46E6-957F-2629A423C26C}"/>
          </ac:spMkLst>
        </pc:spChg>
        <pc:spChg chg="del">
          <ac:chgData name="Aurelien Domont" userId="6da7715ce44349b3" providerId="LiveId" clId="{30A766B1-982E-4295-BCAD-093FA0E8E566}" dt="2022-05-26T05:57:43.076" v="10359" actId="478"/>
          <ac:spMkLst>
            <pc:docMk/>
            <pc:sldMk cId="73846722" sldId="2449"/>
            <ac:spMk id="29" creationId="{62392068-F03F-445E-BCAE-2E864A90E1EE}"/>
          </ac:spMkLst>
        </pc:spChg>
        <pc:spChg chg="del">
          <ac:chgData name="Aurelien Domont" userId="6da7715ce44349b3" providerId="LiveId" clId="{30A766B1-982E-4295-BCAD-093FA0E8E566}" dt="2022-05-26T05:57:43.076" v="10359" actId="478"/>
          <ac:spMkLst>
            <pc:docMk/>
            <pc:sldMk cId="73846722" sldId="2449"/>
            <ac:spMk id="30" creationId="{09C0A18A-A045-41DE-B693-548C768EBA34}"/>
          </ac:spMkLst>
        </pc:spChg>
        <pc:spChg chg="del">
          <ac:chgData name="Aurelien Domont" userId="6da7715ce44349b3" providerId="LiveId" clId="{30A766B1-982E-4295-BCAD-093FA0E8E566}" dt="2022-05-26T05:57:43.076" v="10359" actId="478"/>
          <ac:spMkLst>
            <pc:docMk/>
            <pc:sldMk cId="73846722" sldId="2449"/>
            <ac:spMk id="31" creationId="{CDCB9516-94C8-488A-931D-B95F8334C154}"/>
          </ac:spMkLst>
        </pc:spChg>
        <pc:spChg chg="del">
          <ac:chgData name="Aurelien Domont" userId="6da7715ce44349b3" providerId="LiveId" clId="{30A766B1-982E-4295-BCAD-093FA0E8E566}" dt="2022-05-26T05:57:43.076" v="10359" actId="478"/>
          <ac:spMkLst>
            <pc:docMk/>
            <pc:sldMk cId="73846722" sldId="2449"/>
            <ac:spMk id="32" creationId="{8E0C78AE-920F-4853-A51F-EDE1E455B5EA}"/>
          </ac:spMkLst>
        </pc:spChg>
        <pc:spChg chg="del">
          <ac:chgData name="Aurelien Domont" userId="6da7715ce44349b3" providerId="LiveId" clId="{30A766B1-982E-4295-BCAD-093FA0E8E566}" dt="2022-05-26T05:57:43.076" v="10359" actId="478"/>
          <ac:spMkLst>
            <pc:docMk/>
            <pc:sldMk cId="73846722" sldId="2449"/>
            <ac:spMk id="33" creationId="{D6F65A2D-D9F9-4CF4-A2D1-F6EC7DA87405}"/>
          </ac:spMkLst>
        </pc:spChg>
        <pc:spChg chg="del">
          <ac:chgData name="Aurelien Domont" userId="6da7715ce44349b3" providerId="LiveId" clId="{30A766B1-982E-4295-BCAD-093FA0E8E566}" dt="2022-05-26T05:57:43.076" v="10359" actId="478"/>
          <ac:spMkLst>
            <pc:docMk/>
            <pc:sldMk cId="73846722" sldId="2449"/>
            <ac:spMk id="34" creationId="{697A44CC-491D-4D6F-BB8B-9942343A7C1A}"/>
          </ac:spMkLst>
        </pc:spChg>
        <pc:spChg chg="del">
          <ac:chgData name="Aurelien Domont" userId="6da7715ce44349b3" providerId="LiveId" clId="{30A766B1-982E-4295-BCAD-093FA0E8E566}" dt="2022-05-26T05:57:43.076" v="10359" actId="478"/>
          <ac:spMkLst>
            <pc:docMk/>
            <pc:sldMk cId="73846722" sldId="2449"/>
            <ac:spMk id="35" creationId="{34F315BC-EAD0-4D66-A0C9-4E941C65E3E1}"/>
          </ac:spMkLst>
        </pc:spChg>
        <pc:spChg chg="del">
          <ac:chgData name="Aurelien Domont" userId="6da7715ce44349b3" providerId="LiveId" clId="{30A766B1-982E-4295-BCAD-093FA0E8E566}" dt="2022-05-26T05:57:43.076" v="10359" actId="478"/>
          <ac:spMkLst>
            <pc:docMk/>
            <pc:sldMk cId="73846722" sldId="2449"/>
            <ac:spMk id="36" creationId="{F1E7B33E-8109-4F7D-8E79-3A8280A4B32B}"/>
          </ac:spMkLst>
        </pc:spChg>
        <pc:spChg chg="del">
          <ac:chgData name="Aurelien Domont" userId="6da7715ce44349b3" providerId="LiveId" clId="{30A766B1-982E-4295-BCAD-093FA0E8E566}" dt="2022-05-26T05:57:43.076" v="10359" actId="478"/>
          <ac:spMkLst>
            <pc:docMk/>
            <pc:sldMk cId="73846722" sldId="2449"/>
            <ac:spMk id="37" creationId="{E02D6935-E27B-4651-BA44-E3884E8AD9EB}"/>
          </ac:spMkLst>
        </pc:spChg>
        <pc:spChg chg="del">
          <ac:chgData name="Aurelien Domont" userId="6da7715ce44349b3" providerId="LiveId" clId="{30A766B1-982E-4295-BCAD-093FA0E8E566}" dt="2022-05-26T05:57:43.076" v="10359" actId="478"/>
          <ac:spMkLst>
            <pc:docMk/>
            <pc:sldMk cId="73846722" sldId="2449"/>
            <ac:spMk id="38" creationId="{F2118399-0778-4DE9-811F-24FD867B60E9}"/>
          </ac:spMkLst>
        </pc:spChg>
        <pc:spChg chg="del">
          <ac:chgData name="Aurelien Domont" userId="6da7715ce44349b3" providerId="LiveId" clId="{30A766B1-982E-4295-BCAD-093FA0E8E566}" dt="2022-05-26T05:57:43.076" v="10359" actId="478"/>
          <ac:spMkLst>
            <pc:docMk/>
            <pc:sldMk cId="73846722" sldId="2449"/>
            <ac:spMk id="39" creationId="{FB616301-0EF4-49C8-AAD9-9AE046A9A291}"/>
          </ac:spMkLst>
        </pc:spChg>
        <pc:spChg chg="del">
          <ac:chgData name="Aurelien Domont" userId="6da7715ce44349b3" providerId="LiveId" clId="{30A766B1-982E-4295-BCAD-093FA0E8E566}" dt="2022-05-26T05:57:43.076" v="10359" actId="478"/>
          <ac:spMkLst>
            <pc:docMk/>
            <pc:sldMk cId="73846722" sldId="2449"/>
            <ac:spMk id="40" creationId="{C0C45F1C-71C7-4E21-B51E-E8979C4C5F6C}"/>
          </ac:spMkLst>
        </pc:spChg>
        <pc:spChg chg="del">
          <ac:chgData name="Aurelien Domont" userId="6da7715ce44349b3" providerId="LiveId" clId="{30A766B1-982E-4295-BCAD-093FA0E8E566}" dt="2022-05-26T05:57:43.076" v="10359" actId="478"/>
          <ac:spMkLst>
            <pc:docMk/>
            <pc:sldMk cId="73846722" sldId="2449"/>
            <ac:spMk id="41" creationId="{66D153C2-20D6-4CB0-B844-1F216BE80544}"/>
          </ac:spMkLst>
        </pc:spChg>
        <pc:spChg chg="del">
          <ac:chgData name="Aurelien Domont" userId="6da7715ce44349b3" providerId="LiveId" clId="{30A766B1-982E-4295-BCAD-093FA0E8E566}" dt="2022-05-26T05:57:43.076" v="10359" actId="478"/>
          <ac:spMkLst>
            <pc:docMk/>
            <pc:sldMk cId="73846722" sldId="2449"/>
            <ac:spMk id="42" creationId="{32A0EF88-3B67-4DAD-8715-564E04849431}"/>
          </ac:spMkLst>
        </pc:spChg>
        <pc:spChg chg="del">
          <ac:chgData name="Aurelien Domont" userId="6da7715ce44349b3" providerId="LiveId" clId="{30A766B1-982E-4295-BCAD-093FA0E8E566}" dt="2022-05-26T05:57:41.044" v="10358" actId="478"/>
          <ac:spMkLst>
            <pc:docMk/>
            <pc:sldMk cId="73846722" sldId="2449"/>
            <ac:spMk id="43" creationId="{A58727D5-5AC8-4249-86B6-6E5B35B7B683}"/>
          </ac:spMkLst>
        </pc:spChg>
        <pc:spChg chg="del">
          <ac:chgData name="Aurelien Domont" userId="6da7715ce44349b3" providerId="LiveId" clId="{30A766B1-982E-4295-BCAD-093FA0E8E566}" dt="2022-05-26T05:57:41.044" v="10358" actId="478"/>
          <ac:spMkLst>
            <pc:docMk/>
            <pc:sldMk cId="73846722" sldId="2449"/>
            <ac:spMk id="44" creationId="{CB25CF17-7E5E-4C40-95EF-AD1DC74E3056}"/>
          </ac:spMkLst>
        </pc:spChg>
        <pc:spChg chg="del">
          <ac:chgData name="Aurelien Domont" userId="6da7715ce44349b3" providerId="LiveId" clId="{30A766B1-982E-4295-BCAD-093FA0E8E566}" dt="2022-05-26T05:57:41.044" v="10358" actId="478"/>
          <ac:spMkLst>
            <pc:docMk/>
            <pc:sldMk cId="73846722" sldId="2449"/>
            <ac:spMk id="45" creationId="{ADD15F0A-C92C-4687-BA2E-E00098AFCC19}"/>
          </ac:spMkLst>
        </pc:spChg>
        <pc:spChg chg="add del mod">
          <ac:chgData name="Aurelien Domont" userId="6da7715ce44349b3" providerId="LiveId" clId="{30A766B1-982E-4295-BCAD-093FA0E8E566}" dt="2022-05-26T05:58:26.831" v="10418"/>
          <ac:spMkLst>
            <pc:docMk/>
            <pc:sldMk cId="73846722" sldId="2449"/>
            <ac:spMk id="46" creationId="{14652D45-55B9-963E-EDA8-B76B26CB11EC}"/>
          </ac:spMkLst>
        </pc:spChg>
        <pc:spChg chg="add del mod">
          <ac:chgData name="Aurelien Domont" userId="6da7715ce44349b3" providerId="LiveId" clId="{30A766B1-982E-4295-BCAD-093FA0E8E566}" dt="2022-05-26T05:58:26.831" v="10418"/>
          <ac:spMkLst>
            <pc:docMk/>
            <pc:sldMk cId="73846722" sldId="2449"/>
            <ac:spMk id="47" creationId="{AF5B01CB-6C65-2B1D-9279-98333767492A}"/>
          </ac:spMkLst>
        </pc:spChg>
        <pc:spChg chg="add del mod">
          <ac:chgData name="Aurelien Domont" userId="6da7715ce44349b3" providerId="LiveId" clId="{30A766B1-982E-4295-BCAD-093FA0E8E566}" dt="2022-05-26T05:58:57.969" v="10421" actId="478"/>
          <ac:spMkLst>
            <pc:docMk/>
            <pc:sldMk cId="73846722" sldId="2449"/>
            <ac:spMk id="48" creationId="{AF0FE42A-41E8-33C2-C21C-B76C6F204EAA}"/>
          </ac:spMkLst>
        </pc:spChg>
        <pc:spChg chg="mod">
          <ac:chgData name="Aurelien Domont" userId="6da7715ce44349b3" providerId="LiveId" clId="{30A766B1-982E-4295-BCAD-093FA0E8E566}" dt="2022-05-26T05:58:32.183" v="10419"/>
          <ac:spMkLst>
            <pc:docMk/>
            <pc:sldMk cId="73846722" sldId="2449"/>
            <ac:spMk id="50" creationId="{E3BAFA00-82BB-D11B-3AC2-17FE0B92A5B0}"/>
          </ac:spMkLst>
        </pc:spChg>
        <pc:spChg chg="mod">
          <ac:chgData name="Aurelien Domont" userId="6da7715ce44349b3" providerId="LiveId" clId="{30A766B1-982E-4295-BCAD-093FA0E8E566}" dt="2022-05-26T05:58:32.183" v="10419"/>
          <ac:spMkLst>
            <pc:docMk/>
            <pc:sldMk cId="73846722" sldId="2449"/>
            <ac:spMk id="51" creationId="{9EBA3CBD-776F-6FE1-5642-BC3C75DCDF94}"/>
          </ac:spMkLst>
        </pc:spChg>
        <pc:spChg chg="add del mod">
          <ac:chgData name="Aurelien Domont" userId="6da7715ce44349b3" providerId="LiveId" clId="{30A766B1-982E-4295-BCAD-093FA0E8E566}" dt="2022-05-26T05:58:57.969" v="10421" actId="478"/>
          <ac:spMkLst>
            <pc:docMk/>
            <pc:sldMk cId="73846722" sldId="2449"/>
            <ac:spMk id="52" creationId="{E82467D4-DDED-0881-1493-B22C05CB06FB}"/>
          </ac:spMkLst>
        </pc:spChg>
        <pc:spChg chg="add mod">
          <ac:chgData name="Aurelien Domont" userId="6da7715ce44349b3" providerId="LiveId" clId="{30A766B1-982E-4295-BCAD-093FA0E8E566}" dt="2022-05-26T06:56:11.310" v="11899" actId="20577"/>
          <ac:spMkLst>
            <pc:docMk/>
            <pc:sldMk cId="73846722" sldId="2449"/>
            <ac:spMk id="53" creationId="{F1A8F946-F497-C9D3-1A8F-91DDF8DB0BF2}"/>
          </ac:spMkLst>
        </pc:spChg>
        <pc:spChg chg="add del mod">
          <ac:chgData name="Aurelien Domont" userId="6da7715ce44349b3" providerId="LiveId" clId="{30A766B1-982E-4295-BCAD-093FA0E8E566}" dt="2022-05-26T05:59:24.042" v="10430" actId="478"/>
          <ac:spMkLst>
            <pc:docMk/>
            <pc:sldMk cId="73846722" sldId="2449"/>
            <ac:spMk id="54" creationId="{A647C8DE-84CE-4129-E675-DF286930A91A}"/>
          </ac:spMkLst>
        </pc:spChg>
        <pc:spChg chg="del">
          <ac:chgData name="Aurelien Domont" userId="6da7715ce44349b3" providerId="LiveId" clId="{30A766B1-982E-4295-BCAD-093FA0E8E566}" dt="2022-05-26T05:57:43.076" v="10359" actId="478"/>
          <ac:spMkLst>
            <pc:docMk/>
            <pc:sldMk cId="73846722" sldId="2449"/>
            <ac:spMk id="89" creationId="{F54E783C-428C-4ACB-9CCA-0F131DFBCD93}"/>
          </ac:spMkLst>
        </pc:spChg>
        <pc:spChg chg="del">
          <ac:chgData name="Aurelien Domont" userId="6da7715ce44349b3" providerId="LiveId" clId="{30A766B1-982E-4295-BCAD-093FA0E8E566}" dt="2022-05-26T05:57:43.076" v="10359" actId="478"/>
          <ac:spMkLst>
            <pc:docMk/>
            <pc:sldMk cId="73846722" sldId="2449"/>
            <ac:spMk id="91" creationId="{54D58893-7FD7-4B48-A7C1-C595BE4567CB}"/>
          </ac:spMkLst>
        </pc:spChg>
        <pc:spChg chg="del">
          <ac:chgData name="Aurelien Domont" userId="6da7715ce44349b3" providerId="LiveId" clId="{30A766B1-982E-4295-BCAD-093FA0E8E566}" dt="2022-05-26T05:57:43.076" v="10359" actId="478"/>
          <ac:spMkLst>
            <pc:docMk/>
            <pc:sldMk cId="73846722" sldId="2449"/>
            <ac:spMk id="93" creationId="{1A4ECCBD-515E-4F51-BCA3-54EA0A8EDE51}"/>
          </ac:spMkLst>
        </pc:spChg>
        <pc:spChg chg="del">
          <ac:chgData name="Aurelien Domont" userId="6da7715ce44349b3" providerId="LiveId" clId="{30A766B1-982E-4295-BCAD-093FA0E8E566}" dt="2022-05-26T05:57:43.076" v="10359" actId="478"/>
          <ac:spMkLst>
            <pc:docMk/>
            <pc:sldMk cId="73846722" sldId="2449"/>
            <ac:spMk id="95" creationId="{2E62BF26-0BD5-4C16-B50A-E8AB06F59149}"/>
          </ac:spMkLst>
        </pc:spChg>
        <pc:spChg chg="del">
          <ac:chgData name="Aurelien Domont" userId="6da7715ce44349b3" providerId="LiveId" clId="{30A766B1-982E-4295-BCAD-093FA0E8E566}" dt="2022-05-26T05:57:43.076" v="10359" actId="478"/>
          <ac:spMkLst>
            <pc:docMk/>
            <pc:sldMk cId="73846722" sldId="2449"/>
            <ac:spMk id="97" creationId="{E9A1FE48-7DED-42D8-9EEA-66D13AF51B14}"/>
          </ac:spMkLst>
        </pc:spChg>
        <pc:spChg chg="del">
          <ac:chgData name="Aurelien Domont" userId="6da7715ce44349b3" providerId="LiveId" clId="{30A766B1-982E-4295-BCAD-093FA0E8E566}" dt="2022-05-26T05:57:43.076" v="10359" actId="478"/>
          <ac:spMkLst>
            <pc:docMk/>
            <pc:sldMk cId="73846722" sldId="2449"/>
            <ac:spMk id="99" creationId="{57879DAA-2D93-4C41-90CB-9990152B7F4B}"/>
          </ac:spMkLst>
        </pc:spChg>
        <pc:grpChg chg="add del mod">
          <ac:chgData name="Aurelien Domont" userId="6da7715ce44349b3" providerId="LiveId" clId="{30A766B1-982E-4295-BCAD-093FA0E8E566}" dt="2022-05-26T05:58:57.969" v="10421" actId="478"/>
          <ac:grpSpMkLst>
            <pc:docMk/>
            <pc:sldMk cId="73846722" sldId="2449"/>
            <ac:grpSpMk id="49" creationId="{3B557F6F-5179-9890-611F-53FF0B063B2C}"/>
          </ac:grpSpMkLst>
        </pc:grpChg>
        <pc:grpChg chg="del">
          <ac:chgData name="Aurelien Domont" userId="6da7715ce44349b3" providerId="LiveId" clId="{30A766B1-982E-4295-BCAD-093FA0E8E566}" dt="2022-05-26T05:57:43.076" v="10359" actId="478"/>
          <ac:grpSpMkLst>
            <pc:docMk/>
            <pc:sldMk cId="73846722" sldId="2449"/>
            <ac:grpSpMk id="101" creationId="{9F7B51F1-EED4-4C9A-94F8-AA781FBA6414}"/>
          </ac:grpSpMkLst>
        </pc:grpChg>
      </pc:sldChg>
      <pc:sldChg chg="addSp delSp modSp add mod">
        <pc:chgData name="Aurelien Domont" userId="6da7715ce44349b3" providerId="LiveId" clId="{30A766B1-982E-4295-BCAD-093FA0E8E566}" dt="2023-01-18T05:33:07.832" v="14918"/>
        <pc:sldMkLst>
          <pc:docMk/>
          <pc:sldMk cId="3669307821" sldId="2450"/>
        </pc:sldMkLst>
        <pc:spChg chg="add del mod">
          <ac:chgData name="Aurelien Domont" userId="6da7715ce44349b3" providerId="LiveId" clId="{30A766B1-982E-4295-BCAD-093FA0E8E566}" dt="2023-01-18T05:33:07.832" v="14918"/>
          <ac:spMkLst>
            <pc:docMk/>
            <pc:sldMk cId="3669307821" sldId="2450"/>
            <ac:spMk id="3" creationId="{CE2529A3-BA97-486F-9E02-8DFAAA7D8D38}"/>
          </ac:spMkLst>
        </pc:spChg>
        <pc:spChg chg="add del mod topLvl">
          <ac:chgData name="Aurelien Domont" userId="6da7715ce44349b3" providerId="LiveId" clId="{30A766B1-982E-4295-BCAD-093FA0E8E566}" dt="2022-05-26T06:42:42.581" v="11491" actId="478"/>
          <ac:spMkLst>
            <pc:docMk/>
            <pc:sldMk cId="3669307821" sldId="2450"/>
            <ac:spMk id="7" creationId="{28BEB5D6-4C9C-9369-E763-A1765D0517D5}"/>
          </ac:spMkLst>
        </pc:spChg>
        <pc:spChg chg="del">
          <ac:chgData name="Aurelien Domont" userId="6da7715ce44349b3" providerId="LiveId" clId="{30A766B1-982E-4295-BCAD-093FA0E8E566}" dt="2022-05-26T06:42:21.468" v="11487" actId="478"/>
          <ac:spMkLst>
            <pc:docMk/>
            <pc:sldMk cId="3669307821" sldId="2450"/>
            <ac:spMk id="8" creationId="{A59D9EB3-E9B5-436C-B84C-64290C638E46}"/>
          </ac:spMkLst>
        </pc:spChg>
        <pc:spChg chg="add del mod topLvl">
          <ac:chgData name="Aurelien Domont" userId="6da7715ce44349b3" providerId="LiveId" clId="{30A766B1-982E-4295-BCAD-093FA0E8E566}" dt="2022-05-26T06:37:09.614" v="11363" actId="478"/>
          <ac:spMkLst>
            <pc:docMk/>
            <pc:sldMk cId="3669307821" sldId="2450"/>
            <ac:spMk id="9" creationId="{87425BAD-B4D0-58E8-4D9C-818A1918B1A1}"/>
          </ac:spMkLst>
        </pc:spChg>
        <pc:spChg chg="add del mod topLvl">
          <ac:chgData name="Aurelien Domont" userId="6da7715ce44349b3" providerId="LiveId" clId="{30A766B1-982E-4295-BCAD-093FA0E8E566}" dt="2022-05-26T06:37:09.614" v="11363" actId="478"/>
          <ac:spMkLst>
            <pc:docMk/>
            <pc:sldMk cId="3669307821" sldId="2450"/>
            <ac:spMk id="10" creationId="{01FBC28A-B5D6-1067-DEF3-2940EB4BE12C}"/>
          </ac:spMkLst>
        </pc:spChg>
        <pc:spChg chg="add del mod topLvl">
          <ac:chgData name="Aurelien Domont" userId="6da7715ce44349b3" providerId="LiveId" clId="{30A766B1-982E-4295-BCAD-093FA0E8E566}" dt="2022-05-26T06:37:09.614" v="11363" actId="478"/>
          <ac:spMkLst>
            <pc:docMk/>
            <pc:sldMk cId="3669307821" sldId="2450"/>
            <ac:spMk id="11" creationId="{8B6791AB-8A40-5BB2-9F91-06FCFC8365B4}"/>
          </ac:spMkLst>
        </pc:spChg>
        <pc:spChg chg="add del mod topLvl">
          <ac:chgData name="Aurelien Domont" userId="6da7715ce44349b3" providerId="LiveId" clId="{30A766B1-982E-4295-BCAD-093FA0E8E566}" dt="2022-05-26T06:37:09.614" v="11363" actId="478"/>
          <ac:spMkLst>
            <pc:docMk/>
            <pc:sldMk cId="3669307821" sldId="2450"/>
            <ac:spMk id="12" creationId="{45D3446E-4B31-2A73-28AA-49C74F9DAA5A}"/>
          </ac:spMkLst>
        </pc:spChg>
        <pc:spChg chg="add del mod topLvl">
          <ac:chgData name="Aurelien Domont" userId="6da7715ce44349b3" providerId="LiveId" clId="{30A766B1-982E-4295-BCAD-093FA0E8E566}" dt="2022-05-26T06:40:11.170" v="11444" actId="478"/>
          <ac:spMkLst>
            <pc:docMk/>
            <pc:sldMk cId="3669307821" sldId="2450"/>
            <ac:spMk id="14" creationId="{05D64CB8-12D9-C7F7-6C48-FC4DEF17EF63}"/>
          </ac:spMkLst>
        </pc:spChg>
        <pc:spChg chg="add del mod topLvl">
          <ac:chgData name="Aurelien Domont" userId="6da7715ce44349b3" providerId="LiveId" clId="{30A766B1-982E-4295-BCAD-093FA0E8E566}" dt="2022-05-26T06:40:11.170" v="11444" actId="478"/>
          <ac:spMkLst>
            <pc:docMk/>
            <pc:sldMk cId="3669307821" sldId="2450"/>
            <ac:spMk id="15" creationId="{41788580-0A79-CE42-D76B-AA2EEACCAB99}"/>
          </ac:spMkLst>
        </pc:spChg>
        <pc:spChg chg="mod">
          <ac:chgData name="Aurelien Domont" userId="6da7715ce44349b3" providerId="LiveId" clId="{30A766B1-982E-4295-BCAD-093FA0E8E566}" dt="2023-01-18T05:33:07.832" v="14918"/>
          <ac:spMkLst>
            <pc:docMk/>
            <pc:sldMk cId="3669307821" sldId="2450"/>
            <ac:spMk id="16" creationId="{6C2BB713-9637-4B9B-938F-E9768876782A}"/>
          </ac:spMkLst>
        </pc:spChg>
        <pc:spChg chg="add del mod topLvl">
          <ac:chgData name="Aurelien Domont" userId="6da7715ce44349b3" providerId="LiveId" clId="{30A766B1-982E-4295-BCAD-093FA0E8E566}" dt="2022-05-26T06:40:11.170" v="11444" actId="478"/>
          <ac:spMkLst>
            <pc:docMk/>
            <pc:sldMk cId="3669307821" sldId="2450"/>
            <ac:spMk id="17" creationId="{839281AD-C030-4318-A040-2B271A914635}"/>
          </ac:spMkLst>
        </pc:spChg>
        <pc:spChg chg="add del mod topLvl">
          <ac:chgData name="Aurelien Domont" userId="6da7715ce44349b3" providerId="LiveId" clId="{30A766B1-982E-4295-BCAD-093FA0E8E566}" dt="2022-05-26T06:40:11.170" v="11444" actId="478"/>
          <ac:spMkLst>
            <pc:docMk/>
            <pc:sldMk cId="3669307821" sldId="2450"/>
            <ac:spMk id="18" creationId="{B56001D3-5E1A-A961-DB82-7DD028EB0CC2}"/>
          </ac:spMkLst>
        </pc:spChg>
        <pc:spChg chg="add del mod topLvl">
          <ac:chgData name="Aurelien Domont" userId="6da7715ce44349b3" providerId="LiveId" clId="{30A766B1-982E-4295-BCAD-093FA0E8E566}" dt="2022-05-26T06:40:11.170" v="11444" actId="478"/>
          <ac:spMkLst>
            <pc:docMk/>
            <pc:sldMk cId="3669307821" sldId="2450"/>
            <ac:spMk id="19" creationId="{7A68FF5F-97F0-E606-A6AA-87BC2B559BB4}"/>
          </ac:spMkLst>
        </pc:spChg>
        <pc:spChg chg="add del mod">
          <ac:chgData name="Aurelien Domont" userId="6da7715ce44349b3" providerId="LiveId" clId="{30A766B1-982E-4295-BCAD-093FA0E8E566}" dt="2022-05-26T06:42:42.581" v="11491" actId="478"/>
          <ac:spMkLst>
            <pc:docMk/>
            <pc:sldMk cId="3669307821" sldId="2450"/>
            <ac:spMk id="20" creationId="{52C741F4-5B5E-59F5-BD5D-864EFFBE5B1E}"/>
          </ac:spMkLst>
        </pc:spChg>
        <pc:spChg chg="add del mod">
          <ac:chgData name="Aurelien Domont" userId="6da7715ce44349b3" providerId="LiveId" clId="{30A766B1-982E-4295-BCAD-093FA0E8E566}" dt="2022-05-26T06:42:42.581" v="11491" actId="478"/>
          <ac:spMkLst>
            <pc:docMk/>
            <pc:sldMk cId="3669307821" sldId="2450"/>
            <ac:spMk id="21" creationId="{6BA65FAC-861E-74FF-E98A-A38EE03AD44E}"/>
          </ac:spMkLst>
        </pc:spChg>
        <pc:spChg chg="add del mod">
          <ac:chgData name="Aurelien Domont" userId="6da7715ce44349b3" providerId="LiveId" clId="{30A766B1-982E-4295-BCAD-093FA0E8E566}" dt="2022-05-26T06:42:42.581" v="11491" actId="478"/>
          <ac:spMkLst>
            <pc:docMk/>
            <pc:sldMk cId="3669307821" sldId="2450"/>
            <ac:spMk id="22" creationId="{1D998435-7321-0E85-A78C-0E8872E4BB8C}"/>
          </ac:spMkLst>
        </pc:spChg>
        <pc:spChg chg="add del mod">
          <ac:chgData name="Aurelien Domont" userId="6da7715ce44349b3" providerId="LiveId" clId="{30A766B1-982E-4295-BCAD-093FA0E8E566}" dt="2022-05-26T06:42:42.581" v="11491" actId="478"/>
          <ac:spMkLst>
            <pc:docMk/>
            <pc:sldMk cId="3669307821" sldId="2450"/>
            <ac:spMk id="23" creationId="{ECB67890-C912-1429-153C-D54FFC16A3BC}"/>
          </ac:spMkLst>
        </pc:spChg>
        <pc:spChg chg="add mod">
          <ac:chgData name="Aurelien Domont" userId="6da7715ce44349b3" providerId="LiveId" clId="{30A766B1-982E-4295-BCAD-093FA0E8E566}" dt="2022-05-26T07:00:47.386" v="12030" actId="20577"/>
          <ac:spMkLst>
            <pc:docMk/>
            <pc:sldMk cId="3669307821" sldId="2450"/>
            <ac:spMk id="24" creationId="{F30BE278-F0C1-1BC1-14C7-4AD90B4543F5}"/>
          </ac:spMkLst>
        </pc:spChg>
        <pc:spChg chg="add mod">
          <ac:chgData name="Aurelien Domont" userId="6da7715ce44349b3" providerId="LiveId" clId="{30A766B1-982E-4295-BCAD-093FA0E8E566}" dt="2022-05-26T07:00:52.326" v="12032"/>
          <ac:spMkLst>
            <pc:docMk/>
            <pc:sldMk cId="3669307821" sldId="2450"/>
            <ac:spMk id="25" creationId="{6A65A956-2629-72CB-F483-141802275E65}"/>
          </ac:spMkLst>
        </pc:spChg>
        <pc:spChg chg="add mod">
          <ac:chgData name="Aurelien Domont" userId="6da7715ce44349b3" providerId="LiveId" clId="{30A766B1-982E-4295-BCAD-093FA0E8E566}" dt="2022-05-26T07:00:53.457" v="12033"/>
          <ac:spMkLst>
            <pc:docMk/>
            <pc:sldMk cId="3669307821" sldId="2450"/>
            <ac:spMk id="26" creationId="{7B5DCAD3-C8F8-CBB0-E49C-1409C6BF87BA}"/>
          </ac:spMkLst>
        </pc:spChg>
        <pc:spChg chg="add mod">
          <ac:chgData name="Aurelien Domont" userId="6da7715ce44349b3" providerId="LiveId" clId="{30A766B1-982E-4295-BCAD-093FA0E8E566}" dt="2022-05-26T07:00:50.807" v="12031"/>
          <ac:spMkLst>
            <pc:docMk/>
            <pc:sldMk cId="3669307821" sldId="2450"/>
            <ac:spMk id="27" creationId="{464E42AB-4501-107E-1846-4329ABA290C6}"/>
          </ac:spMkLst>
        </pc:spChg>
        <pc:spChg chg="add mod">
          <ac:chgData name="Aurelien Domont" userId="6da7715ce44349b3" providerId="LiveId" clId="{30A766B1-982E-4295-BCAD-093FA0E8E566}" dt="2022-05-26T07:00:54.777" v="12034"/>
          <ac:spMkLst>
            <pc:docMk/>
            <pc:sldMk cId="3669307821" sldId="2450"/>
            <ac:spMk id="28" creationId="{2B7862BC-7421-4BD1-1815-0C34C996B3A3}"/>
          </ac:spMkLst>
        </pc:spChg>
        <pc:spChg chg="add mod">
          <ac:chgData name="Aurelien Domont" userId="6da7715ce44349b3" providerId="LiveId" clId="{30A766B1-982E-4295-BCAD-093FA0E8E566}" dt="2022-05-26T06:52:13.949" v="11749" actId="14100"/>
          <ac:spMkLst>
            <pc:docMk/>
            <pc:sldMk cId="3669307821" sldId="2450"/>
            <ac:spMk id="33" creationId="{8C9885A6-10E1-C93C-2088-F1FF7B2A8B6F}"/>
          </ac:spMkLst>
        </pc:spChg>
        <pc:spChg chg="add mod">
          <ac:chgData name="Aurelien Domont" userId="6da7715ce44349b3" providerId="LiveId" clId="{30A766B1-982E-4295-BCAD-093FA0E8E566}" dt="2022-05-26T06:57:10.572" v="11936" actId="20577"/>
          <ac:spMkLst>
            <pc:docMk/>
            <pc:sldMk cId="3669307821" sldId="2450"/>
            <ac:spMk id="34" creationId="{1E432A5D-BD8B-DD84-75B4-ABB23B884E1B}"/>
          </ac:spMkLst>
        </pc:spChg>
        <pc:spChg chg="add del mod">
          <ac:chgData name="Aurelien Domont" userId="6da7715ce44349b3" providerId="LiveId" clId="{30A766B1-982E-4295-BCAD-093FA0E8E566}" dt="2022-05-26T06:42:45.395" v="11493" actId="478"/>
          <ac:spMkLst>
            <pc:docMk/>
            <pc:sldMk cId="3669307821" sldId="2450"/>
            <ac:spMk id="35" creationId="{E17242B9-0FC5-3DCE-127F-4B1D47BCBE06}"/>
          </ac:spMkLst>
        </pc:spChg>
        <pc:spChg chg="add mod">
          <ac:chgData name="Aurelien Domont" userId="6da7715ce44349b3" providerId="LiveId" clId="{30A766B1-982E-4295-BCAD-093FA0E8E566}" dt="2022-05-26T06:52:13.949" v="11749" actId="14100"/>
          <ac:spMkLst>
            <pc:docMk/>
            <pc:sldMk cId="3669307821" sldId="2450"/>
            <ac:spMk id="36" creationId="{D4A09123-213C-5B45-B1BA-0816486B625F}"/>
          </ac:spMkLst>
        </pc:spChg>
        <pc:spChg chg="add mod">
          <ac:chgData name="Aurelien Domont" userId="6da7715ce44349b3" providerId="LiveId" clId="{30A766B1-982E-4295-BCAD-093FA0E8E566}" dt="2022-05-26T06:52:13.949" v="11749" actId="14100"/>
          <ac:spMkLst>
            <pc:docMk/>
            <pc:sldMk cId="3669307821" sldId="2450"/>
            <ac:spMk id="37" creationId="{26CD4FA1-7108-3C3E-2356-1529F9FBF853}"/>
          </ac:spMkLst>
        </pc:spChg>
        <pc:spChg chg="add mod">
          <ac:chgData name="Aurelien Domont" userId="6da7715ce44349b3" providerId="LiveId" clId="{30A766B1-982E-4295-BCAD-093FA0E8E566}" dt="2022-05-26T06:52:36.222" v="11762" actId="20577"/>
          <ac:spMkLst>
            <pc:docMk/>
            <pc:sldMk cId="3669307821" sldId="2450"/>
            <ac:spMk id="38" creationId="{2E7A35CD-EDA8-91DB-7085-B272156E150D}"/>
          </ac:spMkLst>
        </pc:spChg>
        <pc:spChg chg="add mod">
          <ac:chgData name="Aurelien Domont" userId="6da7715ce44349b3" providerId="LiveId" clId="{30A766B1-982E-4295-BCAD-093FA0E8E566}" dt="2022-05-26T06:52:13.949" v="11749" actId="14100"/>
          <ac:spMkLst>
            <pc:docMk/>
            <pc:sldMk cId="3669307821" sldId="2450"/>
            <ac:spMk id="39" creationId="{B92C9EDF-800C-EBE1-3F54-844D94CD8810}"/>
          </ac:spMkLst>
        </pc:spChg>
        <pc:spChg chg="add del mod">
          <ac:chgData name="Aurelien Domont" userId="6da7715ce44349b3" providerId="LiveId" clId="{30A766B1-982E-4295-BCAD-093FA0E8E566}" dt="2022-05-26T06:52:30.755" v="11751" actId="478"/>
          <ac:spMkLst>
            <pc:docMk/>
            <pc:sldMk cId="3669307821" sldId="2450"/>
            <ac:spMk id="40" creationId="{67B65731-D880-4622-89FB-D1CEAFF3B6C5}"/>
          </ac:spMkLst>
        </pc:spChg>
        <pc:spChg chg="add mod">
          <ac:chgData name="Aurelien Domont" userId="6da7715ce44349b3" providerId="LiveId" clId="{30A766B1-982E-4295-BCAD-093FA0E8E566}" dt="2022-05-26T06:57:27.178" v="11940" actId="1038"/>
          <ac:spMkLst>
            <pc:docMk/>
            <pc:sldMk cId="3669307821" sldId="2450"/>
            <ac:spMk id="41" creationId="{597944F9-D3A0-2C84-C169-678044A13D34}"/>
          </ac:spMkLst>
        </pc:spChg>
        <pc:spChg chg="add mod">
          <ac:chgData name="Aurelien Domont" userId="6da7715ce44349b3" providerId="LiveId" clId="{30A766B1-982E-4295-BCAD-093FA0E8E566}" dt="2022-05-26T06:57:32.822" v="11943" actId="1038"/>
          <ac:spMkLst>
            <pc:docMk/>
            <pc:sldMk cId="3669307821" sldId="2450"/>
            <ac:spMk id="42" creationId="{9D1CA43A-938B-1CE1-8F09-F3056E2C08CC}"/>
          </ac:spMkLst>
        </pc:spChg>
        <pc:spChg chg="add mod">
          <ac:chgData name="Aurelien Domont" userId="6da7715ce44349b3" providerId="LiveId" clId="{30A766B1-982E-4295-BCAD-093FA0E8E566}" dt="2022-05-26T06:57:32.822" v="11943" actId="1038"/>
          <ac:spMkLst>
            <pc:docMk/>
            <pc:sldMk cId="3669307821" sldId="2450"/>
            <ac:spMk id="43" creationId="{FCD1E4CB-EA0B-7F46-81A2-931BADD7A0FC}"/>
          </ac:spMkLst>
        </pc:spChg>
        <pc:spChg chg="add mod">
          <ac:chgData name="Aurelien Domont" userId="6da7715ce44349b3" providerId="LiveId" clId="{30A766B1-982E-4295-BCAD-093FA0E8E566}" dt="2022-05-26T06:57:43.693" v="11949" actId="1037"/>
          <ac:spMkLst>
            <pc:docMk/>
            <pc:sldMk cId="3669307821" sldId="2450"/>
            <ac:spMk id="44" creationId="{BA224892-C7BA-1C14-B86E-B207DF9F6B24}"/>
          </ac:spMkLst>
        </pc:spChg>
        <pc:spChg chg="add mod">
          <ac:chgData name="Aurelien Domont" userId="6da7715ce44349b3" providerId="LiveId" clId="{30A766B1-982E-4295-BCAD-093FA0E8E566}" dt="2022-05-26T06:58:37.025" v="11957" actId="20577"/>
          <ac:spMkLst>
            <pc:docMk/>
            <pc:sldMk cId="3669307821" sldId="2450"/>
            <ac:spMk id="45" creationId="{B40BD1DC-56F4-9808-EE8B-E601139D3A9B}"/>
          </ac:spMkLst>
        </pc:spChg>
        <pc:spChg chg="add mod">
          <ac:chgData name="Aurelien Domont" userId="6da7715ce44349b3" providerId="LiveId" clId="{30A766B1-982E-4295-BCAD-093FA0E8E566}" dt="2022-05-26T06:58:40.644" v="11958"/>
          <ac:spMkLst>
            <pc:docMk/>
            <pc:sldMk cId="3669307821" sldId="2450"/>
            <ac:spMk id="46" creationId="{613AE124-91BC-CB2B-878D-AE55E70E5A52}"/>
          </ac:spMkLst>
        </pc:spChg>
        <pc:spChg chg="add mod">
          <ac:chgData name="Aurelien Domont" userId="6da7715ce44349b3" providerId="LiveId" clId="{30A766B1-982E-4295-BCAD-093FA0E8E566}" dt="2022-05-26T06:58:41.883" v="11959"/>
          <ac:spMkLst>
            <pc:docMk/>
            <pc:sldMk cId="3669307821" sldId="2450"/>
            <ac:spMk id="47" creationId="{EF366E04-9A45-EBC6-9966-2174C185A583}"/>
          </ac:spMkLst>
        </pc:spChg>
        <pc:spChg chg="add mod">
          <ac:chgData name="Aurelien Domont" userId="6da7715ce44349b3" providerId="LiveId" clId="{30A766B1-982E-4295-BCAD-093FA0E8E566}" dt="2022-05-26T06:58:43.096" v="11960"/>
          <ac:spMkLst>
            <pc:docMk/>
            <pc:sldMk cId="3669307821" sldId="2450"/>
            <ac:spMk id="48" creationId="{C95B1282-013E-0C5B-3E02-C61B020BE947}"/>
          </ac:spMkLst>
        </pc:spChg>
        <pc:spChg chg="add mod">
          <ac:chgData name="Aurelien Domont" userId="6da7715ce44349b3" providerId="LiveId" clId="{30A766B1-982E-4295-BCAD-093FA0E8E566}" dt="2022-05-26T06:58:44.510" v="11961"/>
          <ac:spMkLst>
            <pc:docMk/>
            <pc:sldMk cId="3669307821" sldId="2450"/>
            <ac:spMk id="49" creationId="{DBCCDCA2-0A86-F856-AF2D-126CE412EE59}"/>
          </ac:spMkLst>
        </pc:spChg>
        <pc:spChg chg="add mod">
          <ac:chgData name="Aurelien Domont" userId="6da7715ce44349b3" providerId="LiveId" clId="{30A766B1-982E-4295-BCAD-093FA0E8E566}" dt="2022-05-26T06:58:59.274" v="11962"/>
          <ac:spMkLst>
            <pc:docMk/>
            <pc:sldMk cId="3669307821" sldId="2450"/>
            <ac:spMk id="50" creationId="{70448E70-74F0-46B3-D32A-67645D52171E}"/>
          </ac:spMkLst>
        </pc:spChg>
        <pc:spChg chg="add mod">
          <ac:chgData name="Aurelien Domont" userId="6da7715ce44349b3" providerId="LiveId" clId="{30A766B1-982E-4295-BCAD-093FA0E8E566}" dt="2022-05-26T06:59:04.813" v="11963"/>
          <ac:spMkLst>
            <pc:docMk/>
            <pc:sldMk cId="3669307821" sldId="2450"/>
            <ac:spMk id="51" creationId="{B47C8AB8-B742-A548-CC7A-96DC5E74D15B}"/>
          </ac:spMkLst>
        </pc:spChg>
        <pc:spChg chg="add mod">
          <ac:chgData name="Aurelien Domont" userId="6da7715ce44349b3" providerId="LiveId" clId="{30A766B1-982E-4295-BCAD-093FA0E8E566}" dt="2022-05-26T06:59:06.002" v="11964"/>
          <ac:spMkLst>
            <pc:docMk/>
            <pc:sldMk cId="3669307821" sldId="2450"/>
            <ac:spMk id="52" creationId="{3B606B12-EA9F-6515-44CF-3BC1C9C612CA}"/>
          </ac:spMkLst>
        </pc:spChg>
        <pc:spChg chg="add mod">
          <ac:chgData name="Aurelien Domont" userId="6da7715ce44349b3" providerId="LiveId" clId="{30A766B1-982E-4295-BCAD-093FA0E8E566}" dt="2022-05-26T06:59:07.214" v="11965"/>
          <ac:spMkLst>
            <pc:docMk/>
            <pc:sldMk cId="3669307821" sldId="2450"/>
            <ac:spMk id="53" creationId="{830DF68B-6016-5317-92E5-3E8DFDE99324}"/>
          </ac:spMkLst>
        </pc:spChg>
        <pc:spChg chg="add mod">
          <ac:chgData name="Aurelien Domont" userId="6da7715ce44349b3" providerId="LiveId" clId="{30A766B1-982E-4295-BCAD-093FA0E8E566}" dt="2022-05-26T06:59:08.611" v="11966"/>
          <ac:spMkLst>
            <pc:docMk/>
            <pc:sldMk cId="3669307821" sldId="2450"/>
            <ac:spMk id="54" creationId="{C448AA85-B96C-F859-1A96-7924E81B8663}"/>
          </ac:spMkLst>
        </pc:spChg>
        <pc:spChg chg="add mod">
          <ac:chgData name="Aurelien Domont" userId="6da7715ce44349b3" providerId="LiveId" clId="{30A766B1-982E-4295-BCAD-093FA0E8E566}" dt="2022-05-26T06:58:02.848" v="11953" actId="571"/>
          <ac:spMkLst>
            <pc:docMk/>
            <pc:sldMk cId="3669307821" sldId="2450"/>
            <ac:spMk id="55" creationId="{ECDFAB94-73E5-3BD2-96D6-3A7AD90CF7E3}"/>
          </ac:spMkLst>
        </pc:spChg>
        <pc:spChg chg="add mod">
          <ac:chgData name="Aurelien Domont" userId="6da7715ce44349b3" providerId="LiveId" clId="{30A766B1-982E-4295-BCAD-093FA0E8E566}" dt="2022-05-26T06:58:02.848" v="11953" actId="571"/>
          <ac:spMkLst>
            <pc:docMk/>
            <pc:sldMk cId="3669307821" sldId="2450"/>
            <ac:spMk id="56" creationId="{2BA4A67F-76E4-3D7A-AB12-4EB1BBEEF454}"/>
          </ac:spMkLst>
        </pc:spChg>
        <pc:spChg chg="add mod">
          <ac:chgData name="Aurelien Domont" userId="6da7715ce44349b3" providerId="LiveId" clId="{30A766B1-982E-4295-BCAD-093FA0E8E566}" dt="2022-05-26T06:58:02.848" v="11953" actId="571"/>
          <ac:spMkLst>
            <pc:docMk/>
            <pc:sldMk cId="3669307821" sldId="2450"/>
            <ac:spMk id="57" creationId="{BC652E85-CE21-8F38-2826-10AFB452C23D}"/>
          </ac:spMkLst>
        </pc:spChg>
        <pc:spChg chg="add mod">
          <ac:chgData name="Aurelien Domont" userId="6da7715ce44349b3" providerId="LiveId" clId="{30A766B1-982E-4295-BCAD-093FA0E8E566}" dt="2022-05-26T06:58:02.848" v="11953" actId="571"/>
          <ac:spMkLst>
            <pc:docMk/>
            <pc:sldMk cId="3669307821" sldId="2450"/>
            <ac:spMk id="58" creationId="{F764E786-29FB-01AB-F892-AC531C210880}"/>
          </ac:spMkLst>
        </pc:spChg>
        <pc:spChg chg="add mod">
          <ac:chgData name="Aurelien Domont" userId="6da7715ce44349b3" providerId="LiveId" clId="{30A766B1-982E-4295-BCAD-093FA0E8E566}" dt="2022-05-26T06:58:02.848" v="11953" actId="571"/>
          <ac:spMkLst>
            <pc:docMk/>
            <pc:sldMk cId="3669307821" sldId="2450"/>
            <ac:spMk id="59" creationId="{58148C9A-74A9-DDC1-4864-B0B8435E6F9F}"/>
          </ac:spMkLst>
        </pc:spChg>
        <pc:spChg chg="add mod">
          <ac:chgData name="Aurelien Domont" userId="6da7715ce44349b3" providerId="LiveId" clId="{30A766B1-982E-4295-BCAD-093FA0E8E566}" dt="2022-05-26T06:59:21.502" v="11981" actId="20577"/>
          <ac:spMkLst>
            <pc:docMk/>
            <pc:sldMk cId="3669307821" sldId="2450"/>
            <ac:spMk id="60" creationId="{A8EEDBEB-BDDA-3F2E-95AF-E6C991794FC3}"/>
          </ac:spMkLst>
        </pc:spChg>
        <pc:spChg chg="add mod">
          <ac:chgData name="Aurelien Domont" userId="6da7715ce44349b3" providerId="LiveId" clId="{30A766B1-982E-4295-BCAD-093FA0E8E566}" dt="2022-05-26T06:59:24.692" v="11982"/>
          <ac:spMkLst>
            <pc:docMk/>
            <pc:sldMk cId="3669307821" sldId="2450"/>
            <ac:spMk id="61" creationId="{BAFD6B45-8DA4-1948-95C0-C614DE20CD09}"/>
          </ac:spMkLst>
        </pc:spChg>
        <pc:spChg chg="add mod">
          <ac:chgData name="Aurelien Domont" userId="6da7715ce44349b3" providerId="LiveId" clId="{30A766B1-982E-4295-BCAD-093FA0E8E566}" dt="2022-05-26T06:59:26.099" v="11983"/>
          <ac:spMkLst>
            <pc:docMk/>
            <pc:sldMk cId="3669307821" sldId="2450"/>
            <ac:spMk id="62" creationId="{7628D269-EB19-42C4-60D2-67A203C29544}"/>
          </ac:spMkLst>
        </pc:spChg>
        <pc:spChg chg="add mod">
          <ac:chgData name="Aurelien Domont" userId="6da7715ce44349b3" providerId="LiveId" clId="{30A766B1-982E-4295-BCAD-093FA0E8E566}" dt="2022-05-26T06:59:27.628" v="11984"/>
          <ac:spMkLst>
            <pc:docMk/>
            <pc:sldMk cId="3669307821" sldId="2450"/>
            <ac:spMk id="63" creationId="{71287EF7-716F-556C-1B3F-24424777BABF}"/>
          </ac:spMkLst>
        </pc:spChg>
        <pc:spChg chg="add mod">
          <ac:chgData name="Aurelien Domont" userId="6da7715ce44349b3" providerId="LiveId" clId="{30A766B1-982E-4295-BCAD-093FA0E8E566}" dt="2022-05-26T06:59:28.599" v="11985"/>
          <ac:spMkLst>
            <pc:docMk/>
            <pc:sldMk cId="3669307821" sldId="2450"/>
            <ac:spMk id="64" creationId="{05D749DD-F3E0-8A99-7769-6D468690C8ED}"/>
          </ac:spMkLst>
        </pc:spChg>
        <pc:spChg chg="add mod">
          <ac:chgData name="Aurelien Domont" userId="6da7715ce44349b3" providerId="LiveId" clId="{30A766B1-982E-4295-BCAD-093FA0E8E566}" dt="2022-05-26T06:59:49.056" v="11993" actId="20577"/>
          <ac:spMkLst>
            <pc:docMk/>
            <pc:sldMk cId="3669307821" sldId="2450"/>
            <ac:spMk id="65" creationId="{55665184-F8A9-4A81-F764-F56790D591B8}"/>
          </ac:spMkLst>
        </pc:spChg>
        <pc:spChg chg="add mod">
          <ac:chgData name="Aurelien Domont" userId="6da7715ce44349b3" providerId="LiveId" clId="{30A766B1-982E-4295-BCAD-093FA0E8E566}" dt="2022-05-26T06:59:53.608" v="11994"/>
          <ac:spMkLst>
            <pc:docMk/>
            <pc:sldMk cId="3669307821" sldId="2450"/>
            <ac:spMk id="66" creationId="{43462C67-6952-72FF-F38B-BE93A653D88F}"/>
          </ac:spMkLst>
        </pc:spChg>
        <pc:spChg chg="add mod">
          <ac:chgData name="Aurelien Domont" userId="6da7715ce44349b3" providerId="LiveId" clId="{30A766B1-982E-4295-BCAD-093FA0E8E566}" dt="2022-05-26T06:59:55.076" v="11995"/>
          <ac:spMkLst>
            <pc:docMk/>
            <pc:sldMk cId="3669307821" sldId="2450"/>
            <ac:spMk id="67" creationId="{8AD04D85-97E5-81F2-B7A3-38DEA1358593}"/>
          </ac:spMkLst>
        </pc:spChg>
        <pc:spChg chg="add mod">
          <ac:chgData name="Aurelien Domont" userId="6da7715ce44349b3" providerId="LiveId" clId="{30A766B1-982E-4295-BCAD-093FA0E8E566}" dt="2022-05-26T06:59:56.363" v="11996"/>
          <ac:spMkLst>
            <pc:docMk/>
            <pc:sldMk cId="3669307821" sldId="2450"/>
            <ac:spMk id="68" creationId="{523CD61F-B14F-FEB3-C7B5-A5E9BE3876CF}"/>
          </ac:spMkLst>
        </pc:spChg>
        <pc:spChg chg="add mod">
          <ac:chgData name="Aurelien Domont" userId="6da7715ce44349b3" providerId="LiveId" clId="{30A766B1-982E-4295-BCAD-093FA0E8E566}" dt="2022-05-26T06:59:57.602" v="11997"/>
          <ac:spMkLst>
            <pc:docMk/>
            <pc:sldMk cId="3669307821" sldId="2450"/>
            <ac:spMk id="69" creationId="{B3139FC9-4488-AD29-5EF3-3F83B4416AA3}"/>
          </ac:spMkLst>
        </pc:spChg>
        <pc:grpChg chg="add del mod">
          <ac:chgData name="Aurelien Domont" userId="6da7715ce44349b3" providerId="LiveId" clId="{30A766B1-982E-4295-BCAD-093FA0E8E566}" dt="2022-05-26T06:36:57.858" v="11360" actId="165"/>
          <ac:grpSpMkLst>
            <pc:docMk/>
            <pc:sldMk cId="3669307821" sldId="2450"/>
            <ac:grpSpMk id="4" creationId="{71799E7B-FA34-D764-8446-3942480ABDDE}"/>
          </ac:grpSpMkLst>
        </pc:grpChg>
        <pc:graphicFrameChg chg="add del mod modGraphic">
          <ac:chgData name="Aurelien Domont" userId="6da7715ce44349b3" providerId="LiveId" clId="{30A766B1-982E-4295-BCAD-093FA0E8E566}" dt="2022-05-26T06:33:25.296" v="11188" actId="478"/>
          <ac:graphicFrameMkLst>
            <pc:docMk/>
            <pc:sldMk cId="3669307821" sldId="2450"/>
            <ac:graphicFrameMk id="2" creationId="{CB981EFB-350E-CAA0-AC39-7DA6109813B1}"/>
          </ac:graphicFrameMkLst>
        </pc:graphicFrameChg>
        <pc:picChg chg="add del mod">
          <ac:chgData name="Aurelien Domont" userId="6da7715ce44349b3" providerId="LiveId" clId="{30A766B1-982E-4295-BCAD-093FA0E8E566}" dt="2022-05-26T06:42:27.563" v="11488" actId="478"/>
          <ac:picMkLst>
            <pc:docMk/>
            <pc:sldMk cId="3669307821" sldId="2450"/>
            <ac:picMk id="29" creationId="{BAAF69B9-ADE4-D0FD-A9CA-53B9C3EF8E09}"/>
          </ac:picMkLst>
        </pc:picChg>
        <pc:picChg chg="add del mod">
          <ac:chgData name="Aurelien Domont" userId="6da7715ce44349b3" providerId="LiveId" clId="{30A766B1-982E-4295-BCAD-093FA0E8E566}" dt="2022-05-26T06:42:27.563" v="11488" actId="478"/>
          <ac:picMkLst>
            <pc:docMk/>
            <pc:sldMk cId="3669307821" sldId="2450"/>
            <ac:picMk id="30" creationId="{C4352A5A-4D30-3DC0-F1E6-A1DCCDFE62E8}"/>
          </ac:picMkLst>
        </pc:picChg>
        <pc:picChg chg="add del mod">
          <ac:chgData name="Aurelien Domont" userId="6da7715ce44349b3" providerId="LiveId" clId="{30A766B1-982E-4295-BCAD-093FA0E8E566}" dt="2022-05-26T06:42:27.563" v="11488" actId="478"/>
          <ac:picMkLst>
            <pc:docMk/>
            <pc:sldMk cId="3669307821" sldId="2450"/>
            <ac:picMk id="31" creationId="{F1E9A28B-E0EC-D2EA-6D8C-1CCC62F5C03C}"/>
          </ac:picMkLst>
        </pc:picChg>
        <pc:picChg chg="add del mod">
          <ac:chgData name="Aurelien Domont" userId="6da7715ce44349b3" providerId="LiveId" clId="{30A766B1-982E-4295-BCAD-093FA0E8E566}" dt="2022-05-26T06:42:27.563" v="11488" actId="478"/>
          <ac:picMkLst>
            <pc:docMk/>
            <pc:sldMk cId="3669307821" sldId="2450"/>
            <ac:picMk id="32" creationId="{9C9C7C2C-9793-33F9-3CD8-F3FB67F48A7A}"/>
          </ac:picMkLst>
        </pc:picChg>
      </pc:sldChg>
      <pc:sldChg chg="add del">
        <pc:chgData name="Aurelien Domont" userId="6da7715ce44349b3" providerId="LiveId" clId="{30A766B1-982E-4295-BCAD-093FA0E8E566}" dt="2022-05-26T07:06:37.230" v="12238" actId="47"/>
        <pc:sldMkLst>
          <pc:docMk/>
          <pc:sldMk cId="2743744810" sldId="2451"/>
        </pc:sldMkLst>
      </pc:sldChg>
      <pc:sldChg chg="add del">
        <pc:chgData name="Aurelien Domont" userId="6da7715ce44349b3" providerId="LiveId" clId="{30A766B1-982E-4295-BCAD-093FA0E8E566}" dt="2022-05-26T06:33:27.534" v="11190"/>
        <pc:sldMkLst>
          <pc:docMk/>
          <pc:sldMk cId="339402007" sldId="2452"/>
        </pc:sldMkLst>
      </pc:sldChg>
      <pc:sldChg chg="addSp delSp modSp add mod">
        <pc:chgData name="Aurelien Domont" userId="6da7715ce44349b3" providerId="LiveId" clId="{30A766B1-982E-4295-BCAD-093FA0E8E566}" dt="2023-01-18T05:33:07.832" v="14918"/>
        <pc:sldMkLst>
          <pc:docMk/>
          <pc:sldMk cId="3397172010" sldId="2452"/>
        </pc:sldMkLst>
        <pc:spChg chg="mod">
          <ac:chgData name="Aurelien Domont" userId="6da7715ce44349b3" providerId="LiveId" clId="{30A766B1-982E-4295-BCAD-093FA0E8E566}" dt="2023-01-18T05:33:07.832" v="14918"/>
          <ac:spMkLst>
            <pc:docMk/>
            <pc:sldMk cId="3397172010" sldId="2452"/>
            <ac:spMk id="3" creationId="{CE2529A3-BA97-486F-9E02-8DFAAA7D8D38}"/>
          </ac:spMkLst>
        </pc:spChg>
        <pc:spChg chg="mod">
          <ac:chgData name="Aurelien Domont" userId="6da7715ce44349b3" providerId="LiveId" clId="{30A766B1-982E-4295-BCAD-093FA0E8E566}" dt="2023-01-18T05:33:07.832" v="14918"/>
          <ac:spMkLst>
            <pc:docMk/>
            <pc:sldMk cId="3397172010" sldId="2452"/>
            <ac:spMk id="16" creationId="{6C2BB713-9637-4B9B-938F-E9768876782A}"/>
          </ac:spMkLst>
        </pc:spChg>
        <pc:spChg chg="del">
          <ac:chgData name="Aurelien Domont" userId="6da7715ce44349b3" providerId="LiveId" clId="{30A766B1-982E-4295-BCAD-093FA0E8E566}" dt="2022-05-26T07:01:17.331" v="12035" actId="478"/>
          <ac:spMkLst>
            <pc:docMk/>
            <pc:sldMk cId="3397172010" sldId="2452"/>
            <ac:spMk id="34" creationId="{1E432A5D-BD8B-DD84-75B4-ABB23B884E1B}"/>
          </ac:spMkLst>
        </pc:spChg>
        <pc:spChg chg="mod">
          <ac:chgData name="Aurelien Domont" userId="6da7715ce44349b3" providerId="LiveId" clId="{30A766B1-982E-4295-BCAD-093FA0E8E566}" dt="2022-05-26T07:06:14.330" v="12237" actId="20577"/>
          <ac:spMkLst>
            <pc:docMk/>
            <pc:sldMk cId="3397172010" sldId="2452"/>
            <ac:spMk id="39" creationId="{B92C9EDF-800C-EBE1-3F54-844D94CD8810}"/>
          </ac:spMkLst>
        </pc:spChg>
        <pc:spChg chg="add mod">
          <ac:chgData name="Aurelien Domont" userId="6da7715ce44349b3" providerId="LiveId" clId="{30A766B1-982E-4295-BCAD-093FA0E8E566}" dt="2022-05-26T07:00:27.100" v="11999"/>
          <ac:spMkLst>
            <pc:docMk/>
            <pc:sldMk cId="3397172010" sldId="2452"/>
            <ac:spMk id="40" creationId="{102E37E7-2E67-2E92-09D7-DA63296EAB19}"/>
          </ac:spMkLst>
        </pc:spChg>
        <pc:spChg chg="del">
          <ac:chgData name="Aurelien Domont" userId="6da7715ce44349b3" providerId="LiveId" clId="{30A766B1-982E-4295-BCAD-093FA0E8E566}" dt="2022-05-26T07:01:17.331" v="12035" actId="478"/>
          <ac:spMkLst>
            <pc:docMk/>
            <pc:sldMk cId="3397172010" sldId="2452"/>
            <ac:spMk id="41" creationId="{597944F9-D3A0-2C84-C169-678044A13D34}"/>
          </ac:spMkLst>
        </pc:spChg>
        <pc:spChg chg="del">
          <ac:chgData name="Aurelien Domont" userId="6da7715ce44349b3" providerId="LiveId" clId="{30A766B1-982E-4295-BCAD-093FA0E8E566}" dt="2022-05-26T07:01:17.331" v="12035" actId="478"/>
          <ac:spMkLst>
            <pc:docMk/>
            <pc:sldMk cId="3397172010" sldId="2452"/>
            <ac:spMk id="42" creationId="{9D1CA43A-938B-1CE1-8F09-F3056E2C08CC}"/>
          </ac:spMkLst>
        </pc:spChg>
        <pc:spChg chg="del">
          <ac:chgData name="Aurelien Domont" userId="6da7715ce44349b3" providerId="LiveId" clId="{30A766B1-982E-4295-BCAD-093FA0E8E566}" dt="2022-05-26T07:01:17.331" v="12035" actId="478"/>
          <ac:spMkLst>
            <pc:docMk/>
            <pc:sldMk cId="3397172010" sldId="2452"/>
            <ac:spMk id="43" creationId="{FCD1E4CB-EA0B-7F46-81A2-931BADD7A0FC}"/>
          </ac:spMkLst>
        </pc:spChg>
        <pc:spChg chg="del">
          <ac:chgData name="Aurelien Domont" userId="6da7715ce44349b3" providerId="LiveId" clId="{30A766B1-982E-4295-BCAD-093FA0E8E566}" dt="2022-05-26T07:01:17.331" v="12035" actId="478"/>
          <ac:spMkLst>
            <pc:docMk/>
            <pc:sldMk cId="3397172010" sldId="2452"/>
            <ac:spMk id="44" creationId="{BA224892-C7BA-1C14-B86E-B207DF9F6B24}"/>
          </ac:spMkLst>
        </pc:spChg>
        <pc:spChg chg="add mod topLvl">
          <ac:chgData name="Aurelien Domont" userId="6da7715ce44349b3" providerId="LiveId" clId="{30A766B1-982E-4295-BCAD-093FA0E8E566}" dt="2022-05-26T07:03:12.049" v="12117" actId="1035"/>
          <ac:spMkLst>
            <pc:docMk/>
            <pc:sldMk cId="3397172010" sldId="2452"/>
            <ac:spMk id="55" creationId="{C9BBB454-B004-0E8B-582E-CD2BEFF85534}"/>
          </ac:spMkLst>
        </pc:spChg>
        <pc:spChg chg="add mod topLvl">
          <ac:chgData name="Aurelien Domont" userId="6da7715ce44349b3" providerId="LiveId" clId="{30A766B1-982E-4295-BCAD-093FA0E8E566}" dt="2022-05-26T07:05:17.566" v="12236" actId="207"/>
          <ac:spMkLst>
            <pc:docMk/>
            <pc:sldMk cId="3397172010" sldId="2452"/>
            <ac:spMk id="56" creationId="{D6096592-113E-01BA-1BBC-AE4AEF1AFC20}"/>
          </ac:spMkLst>
        </pc:spChg>
        <pc:spChg chg="add del mod topLvl">
          <ac:chgData name="Aurelien Domont" userId="6da7715ce44349b3" providerId="LiveId" clId="{30A766B1-982E-4295-BCAD-093FA0E8E566}" dt="2022-05-26T07:02:31.116" v="12065" actId="478"/>
          <ac:spMkLst>
            <pc:docMk/>
            <pc:sldMk cId="3397172010" sldId="2452"/>
            <ac:spMk id="58" creationId="{4E305785-7610-4561-BE08-7903A6108224}"/>
          </ac:spMkLst>
        </pc:spChg>
        <pc:spChg chg="add del mod topLvl">
          <ac:chgData name="Aurelien Domont" userId="6da7715ce44349b3" providerId="LiveId" clId="{30A766B1-982E-4295-BCAD-093FA0E8E566}" dt="2022-05-26T07:03:00.713" v="12101" actId="478"/>
          <ac:spMkLst>
            <pc:docMk/>
            <pc:sldMk cId="3397172010" sldId="2452"/>
            <ac:spMk id="59" creationId="{BF18FB26-C594-01ED-69BE-28772D9AFFB1}"/>
          </ac:spMkLst>
        </pc:spChg>
        <pc:spChg chg="add del mod topLvl">
          <ac:chgData name="Aurelien Domont" userId="6da7715ce44349b3" providerId="LiveId" clId="{30A766B1-982E-4295-BCAD-093FA0E8E566}" dt="2022-05-26T07:02:31.116" v="12065" actId="478"/>
          <ac:spMkLst>
            <pc:docMk/>
            <pc:sldMk cId="3397172010" sldId="2452"/>
            <ac:spMk id="71" creationId="{B5EE9C41-E16E-CB98-7F4A-906A1F59EDC2}"/>
          </ac:spMkLst>
        </pc:spChg>
        <pc:spChg chg="add mod topLvl">
          <ac:chgData name="Aurelien Domont" userId="6da7715ce44349b3" providerId="LiveId" clId="{30A766B1-982E-4295-BCAD-093FA0E8E566}" dt="2022-05-26T07:05:16.826" v="12234" actId="207"/>
          <ac:spMkLst>
            <pc:docMk/>
            <pc:sldMk cId="3397172010" sldId="2452"/>
            <ac:spMk id="72" creationId="{D2F59720-1C53-6E9B-33E3-4E3D8B96E64B}"/>
          </ac:spMkLst>
        </pc:spChg>
        <pc:spChg chg="add del mod topLvl">
          <ac:chgData name="Aurelien Domont" userId="6da7715ce44349b3" providerId="LiveId" clId="{30A766B1-982E-4295-BCAD-093FA0E8E566}" dt="2022-05-26T07:02:31.116" v="12065" actId="478"/>
          <ac:spMkLst>
            <pc:docMk/>
            <pc:sldMk cId="3397172010" sldId="2452"/>
            <ac:spMk id="74" creationId="{3FB2E729-6970-E797-89C1-E5BE72B173F0}"/>
          </ac:spMkLst>
        </pc:spChg>
        <pc:spChg chg="add mod topLvl">
          <ac:chgData name="Aurelien Domont" userId="6da7715ce44349b3" providerId="LiveId" clId="{30A766B1-982E-4295-BCAD-093FA0E8E566}" dt="2022-05-26T07:05:16.590" v="12233" actId="207"/>
          <ac:spMkLst>
            <pc:docMk/>
            <pc:sldMk cId="3397172010" sldId="2452"/>
            <ac:spMk id="75" creationId="{3CB98E19-D9CD-05E8-EB02-E42E858816FA}"/>
          </ac:spMkLst>
        </pc:spChg>
        <pc:spChg chg="add del mod topLvl">
          <ac:chgData name="Aurelien Domont" userId="6da7715ce44349b3" providerId="LiveId" clId="{30A766B1-982E-4295-BCAD-093FA0E8E566}" dt="2022-05-26T07:02:31.116" v="12065" actId="478"/>
          <ac:spMkLst>
            <pc:docMk/>
            <pc:sldMk cId="3397172010" sldId="2452"/>
            <ac:spMk id="77" creationId="{835A9665-ABC1-9C81-0020-FC124C845900}"/>
          </ac:spMkLst>
        </pc:spChg>
        <pc:spChg chg="add mod topLvl">
          <ac:chgData name="Aurelien Domont" userId="6da7715ce44349b3" providerId="LiveId" clId="{30A766B1-982E-4295-BCAD-093FA0E8E566}" dt="2022-05-26T07:05:16.282" v="12232" actId="207"/>
          <ac:spMkLst>
            <pc:docMk/>
            <pc:sldMk cId="3397172010" sldId="2452"/>
            <ac:spMk id="78" creationId="{E29EA711-0A07-FD25-CC96-8E720179B21F}"/>
          </ac:spMkLst>
        </pc:spChg>
        <pc:spChg chg="add del mod topLvl">
          <ac:chgData name="Aurelien Domont" userId="6da7715ce44349b3" providerId="LiveId" clId="{30A766B1-982E-4295-BCAD-093FA0E8E566}" dt="2022-05-26T07:02:31.116" v="12065" actId="478"/>
          <ac:spMkLst>
            <pc:docMk/>
            <pc:sldMk cId="3397172010" sldId="2452"/>
            <ac:spMk id="80" creationId="{E16812DB-57E5-80D0-C1FC-89D3B1C6F071}"/>
          </ac:spMkLst>
        </pc:spChg>
        <pc:spChg chg="add del mod topLvl">
          <ac:chgData name="Aurelien Domont" userId="6da7715ce44349b3" providerId="LiveId" clId="{30A766B1-982E-4295-BCAD-093FA0E8E566}" dt="2022-05-26T07:04:10.430" v="12155" actId="478"/>
          <ac:spMkLst>
            <pc:docMk/>
            <pc:sldMk cId="3397172010" sldId="2452"/>
            <ac:spMk id="81" creationId="{83C41345-1F6A-881B-41DD-D2C92E9BB616}"/>
          </ac:spMkLst>
        </pc:spChg>
        <pc:spChg chg="add del mod topLvl">
          <ac:chgData name="Aurelien Domont" userId="6da7715ce44349b3" providerId="LiveId" clId="{30A766B1-982E-4295-BCAD-093FA0E8E566}" dt="2022-05-26T07:02:31.116" v="12065" actId="478"/>
          <ac:spMkLst>
            <pc:docMk/>
            <pc:sldMk cId="3397172010" sldId="2452"/>
            <ac:spMk id="83" creationId="{F2AE5A56-727B-74A8-FF5C-44B7D6A3DD96}"/>
          </ac:spMkLst>
        </pc:spChg>
        <pc:spChg chg="add del mod topLvl">
          <ac:chgData name="Aurelien Domont" userId="6da7715ce44349b3" providerId="LiveId" clId="{30A766B1-982E-4295-BCAD-093FA0E8E566}" dt="2022-05-26T07:04:16.303" v="12157" actId="478"/>
          <ac:spMkLst>
            <pc:docMk/>
            <pc:sldMk cId="3397172010" sldId="2452"/>
            <ac:spMk id="84" creationId="{D1DB4FD0-BAB9-3BA8-DA40-2A0F1C2F37DC}"/>
          </ac:spMkLst>
        </pc:spChg>
        <pc:spChg chg="add del mod topLvl">
          <ac:chgData name="Aurelien Domont" userId="6da7715ce44349b3" providerId="LiveId" clId="{30A766B1-982E-4295-BCAD-093FA0E8E566}" dt="2022-05-26T07:02:31.116" v="12065" actId="478"/>
          <ac:spMkLst>
            <pc:docMk/>
            <pc:sldMk cId="3397172010" sldId="2452"/>
            <ac:spMk id="86" creationId="{C64B306F-8955-D3AE-8998-F6FEA9C1E5E7}"/>
          </ac:spMkLst>
        </pc:spChg>
        <pc:spChg chg="add mod topLvl">
          <ac:chgData name="Aurelien Domont" userId="6da7715ce44349b3" providerId="LiveId" clId="{30A766B1-982E-4295-BCAD-093FA0E8E566}" dt="2022-05-26T07:04:20.740" v="12178" actId="1038"/>
          <ac:spMkLst>
            <pc:docMk/>
            <pc:sldMk cId="3397172010" sldId="2452"/>
            <ac:spMk id="87" creationId="{1C9D91C5-ED99-AF80-32D7-4175E0AE0E91}"/>
          </ac:spMkLst>
        </pc:spChg>
        <pc:spChg chg="add del mod topLvl">
          <ac:chgData name="Aurelien Domont" userId="6da7715ce44349b3" providerId="LiveId" clId="{30A766B1-982E-4295-BCAD-093FA0E8E566}" dt="2022-05-26T07:02:31.116" v="12065" actId="478"/>
          <ac:spMkLst>
            <pc:docMk/>
            <pc:sldMk cId="3397172010" sldId="2452"/>
            <ac:spMk id="89" creationId="{957844C9-3473-A6CE-16D7-8F06E1AC1371}"/>
          </ac:spMkLst>
        </pc:spChg>
        <pc:spChg chg="add mod topLvl">
          <ac:chgData name="Aurelien Domont" userId="6da7715ce44349b3" providerId="LiveId" clId="{30A766B1-982E-4295-BCAD-093FA0E8E566}" dt="2022-05-26T07:04:18.998" v="12169" actId="1037"/>
          <ac:spMkLst>
            <pc:docMk/>
            <pc:sldMk cId="3397172010" sldId="2452"/>
            <ac:spMk id="90" creationId="{427EA143-CD20-C459-6F9D-9A70222484C3}"/>
          </ac:spMkLst>
        </pc:spChg>
        <pc:spChg chg="add del mod topLvl">
          <ac:chgData name="Aurelien Domont" userId="6da7715ce44349b3" providerId="LiveId" clId="{30A766B1-982E-4295-BCAD-093FA0E8E566}" dt="2022-05-26T07:02:34.520" v="12066" actId="478"/>
          <ac:spMkLst>
            <pc:docMk/>
            <pc:sldMk cId="3397172010" sldId="2452"/>
            <ac:spMk id="91" creationId="{79A81956-5427-EACA-7323-62354D19C060}"/>
          </ac:spMkLst>
        </pc:spChg>
        <pc:spChg chg="add mod topLvl">
          <ac:chgData name="Aurelien Domont" userId="6da7715ce44349b3" providerId="LiveId" clId="{30A766B1-982E-4295-BCAD-093FA0E8E566}" dt="2022-05-26T07:03:12.049" v="12117" actId="1035"/>
          <ac:spMkLst>
            <pc:docMk/>
            <pc:sldMk cId="3397172010" sldId="2452"/>
            <ac:spMk id="93" creationId="{63C9A310-33AB-D22B-56AA-EFAE0FF15E93}"/>
          </ac:spMkLst>
        </pc:spChg>
        <pc:spChg chg="add del mod topLvl">
          <ac:chgData name="Aurelien Domont" userId="6da7715ce44349b3" providerId="LiveId" clId="{30A766B1-982E-4295-BCAD-093FA0E8E566}" dt="2022-05-26T07:02:34.520" v="12066" actId="478"/>
          <ac:spMkLst>
            <pc:docMk/>
            <pc:sldMk cId="3397172010" sldId="2452"/>
            <ac:spMk id="94" creationId="{9F036D0F-DEBF-D1B5-5762-299139D17E0A}"/>
          </ac:spMkLst>
        </pc:spChg>
        <pc:spChg chg="add del mod topLvl">
          <ac:chgData name="Aurelien Domont" userId="6da7715ce44349b3" providerId="LiveId" clId="{30A766B1-982E-4295-BCAD-093FA0E8E566}" dt="2022-05-26T07:05:15.213" v="12231" actId="207"/>
          <ac:spMkLst>
            <pc:docMk/>
            <pc:sldMk cId="3397172010" sldId="2452"/>
            <ac:spMk id="96" creationId="{23317695-583D-29C0-E329-47FA51AC10F8}"/>
          </ac:spMkLst>
        </pc:spChg>
        <pc:spChg chg="add del mod topLvl">
          <ac:chgData name="Aurelien Domont" userId="6da7715ce44349b3" providerId="LiveId" clId="{30A766B1-982E-4295-BCAD-093FA0E8E566}" dt="2022-05-26T07:02:34.520" v="12066" actId="478"/>
          <ac:spMkLst>
            <pc:docMk/>
            <pc:sldMk cId="3397172010" sldId="2452"/>
            <ac:spMk id="97" creationId="{34C27AA9-32F6-8BE7-0E2B-1B3795CCA729}"/>
          </ac:spMkLst>
        </pc:spChg>
        <pc:spChg chg="add del mod topLvl">
          <ac:chgData name="Aurelien Domont" userId="6da7715ce44349b3" providerId="LiveId" clId="{30A766B1-982E-4295-BCAD-093FA0E8E566}" dt="2022-05-26T07:03:59.307" v="12152" actId="478"/>
          <ac:spMkLst>
            <pc:docMk/>
            <pc:sldMk cId="3397172010" sldId="2452"/>
            <ac:spMk id="99" creationId="{9CE85DBF-0D64-87CD-B2F8-0DF99649136F}"/>
          </ac:spMkLst>
        </pc:spChg>
        <pc:spChg chg="add del mod topLvl">
          <ac:chgData name="Aurelien Domont" userId="6da7715ce44349b3" providerId="LiveId" clId="{30A766B1-982E-4295-BCAD-093FA0E8E566}" dt="2022-05-26T07:02:34.520" v="12066" actId="478"/>
          <ac:spMkLst>
            <pc:docMk/>
            <pc:sldMk cId="3397172010" sldId="2452"/>
            <ac:spMk id="100" creationId="{9E47D32D-16D3-F5CC-1071-663EE0566279}"/>
          </ac:spMkLst>
        </pc:spChg>
        <pc:spChg chg="add del mod topLvl">
          <ac:chgData name="Aurelien Domont" userId="6da7715ce44349b3" providerId="LiveId" clId="{30A766B1-982E-4295-BCAD-093FA0E8E566}" dt="2022-05-26T07:03:06.460" v="12113" actId="478"/>
          <ac:spMkLst>
            <pc:docMk/>
            <pc:sldMk cId="3397172010" sldId="2452"/>
            <ac:spMk id="102" creationId="{58D25633-9A03-859A-813B-AF5960A42A5C}"/>
          </ac:spMkLst>
        </pc:spChg>
        <pc:spChg chg="add del mod topLvl">
          <ac:chgData name="Aurelien Domont" userId="6da7715ce44349b3" providerId="LiveId" clId="{30A766B1-982E-4295-BCAD-093FA0E8E566}" dt="2022-05-26T07:02:34.520" v="12066" actId="478"/>
          <ac:spMkLst>
            <pc:docMk/>
            <pc:sldMk cId="3397172010" sldId="2452"/>
            <ac:spMk id="103" creationId="{02D23665-1AE9-3DDB-A844-86AA036D4A56}"/>
          </ac:spMkLst>
        </pc:spChg>
        <pc:spChg chg="add del mod topLvl">
          <ac:chgData name="Aurelien Domont" userId="6da7715ce44349b3" providerId="LiveId" clId="{30A766B1-982E-4295-BCAD-093FA0E8E566}" dt="2022-05-26T07:03:01.701" v="12102" actId="478"/>
          <ac:spMkLst>
            <pc:docMk/>
            <pc:sldMk cId="3397172010" sldId="2452"/>
            <ac:spMk id="105" creationId="{FE3AC352-C542-B676-6D65-34648A67BA05}"/>
          </ac:spMkLst>
        </pc:spChg>
        <pc:spChg chg="add del mod topLvl">
          <ac:chgData name="Aurelien Domont" userId="6da7715ce44349b3" providerId="LiveId" clId="{30A766B1-982E-4295-BCAD-093FA0E8E566}" dt="2022-05-26T07:02:34.520" v="12066" actId="478"/>
          <ac:spMkLst>
            <pc:docMk/>
            <pc:sldMk cId="3397172010" sldId="2452"/>
            <ac:spMk id="106" creationId="{659474C1-5B39-9E65-1582-DF1658AE918D}"/>
          </ac:spMkLst>
        </pc:spChg>
        <pc:spChg chg="add mod topLvl">
          <ac:chgData name="Aurelien Domont" userId="6da7715ce44349b3" providerId="LiveId" clId="{30A766B1-982E-4295-BCAD-093FA0E8E566}" dt="2022-05-26T07:05:17.207" v="12235" actId="207"/>
          <ac:spMkLst>
            <pc:docMk/>
            <pc:sldMk cId="3397172010" sldId="2452"/>
            <ac:spMk id="108" creationId="{683FE1AB-24D6-D219-F684-CC52D4A89277}"/>
          </ac:spMkLst>
        </pc:spChg>
        <pc:spChg chg="add del mod topLvl">
          <ac:chgData name="Aurelien Domont" userId="6da7715ce44349b3" providerId="LiveId" clId="{30A766B1-982E-4295-BCAD-093FA0E8E566}" dt="2022-05-26T07:02:34.520" v="12066" actId="478"/>
          <ac:spMkLst>
            <pc:docMk/>
            <pc:sldMk cId="3397172010" sldId="2452"/>
            <ac:spMk id="109" creationId="{DE24E1B2-AD21-1A9E-CBAF-F7C3BE986E55}"/>
          </ac:spMkLst>
        </pc:spChg>
        <pc:spChg chg="add mod">
          <ac:chgData name="Aurelien Domont" userId="6da7715ce44349b3" providerId="LiveId" clId="{30A766B1-982E-4295-BCAD-093FA0E8E566}" dt="2022-05-26T07:03:42.919" v="12149" actId="1037"/>
          <ac:spMkLst>
            <pc:docMk/>
            <pc:sldMk cId="3397172010" sldId="2452"/>
            <ac:spMk id="111" creationId="{9D4B9109-BFAF-D3CC-4A6A-A88BAD65E7C8}"/>
          </ac:spMkLst>
        </pc:spChg>
        <pc:spChg chg="add mod">
          <ac:chgData name="Aurelien Domont" userId="6da7715ce44349b3" providerId="LiveId" clId="{30A766B1-982E-4295-BCAD-093FA0E8E566}" dt="2022-05-26T07:03:53.691" v="12150" actId="571"/>
          <ac:spMkLst>
            <pc:docMk/>
            <pc:sldMk cId="3397172010" sldId="2452"/>
            <ac:spMk id="112" creationId="{EE52BEE3-F179-0A9E-D6BF-0113595A0E56}"/>
          </ac:spMkLst>
        </pc:spChg>
        <pc:spChg chg="add mod">
          <ac:chgData name="Aurelien Domont" userId="6da7715ce44349b3" providerId="LiveId" clId="{30A766B1-982E-4295-BCAD-093FA0E8E566}" dt="2022-05-26T07:03:57.778" v="12151" actId="571"/>
          <ac:spMkLst>
            <pc:docMk/>
            <pc:sldMk cId="3397172010" sldId="2452"/>
            <ac:spMk id="113" creationId="{19FBACF2-3EEF-72CC-7379-90599EC5D924}"/>
          </ac:spMkLst>
        </pc:spChg>
        <pc:spChg chg="add mod">
          <ac:chgData name="Aurelien Domont" userId="6da7715ce44349b3" providerId="LiveId" clId="{30A766B1-982E-4295-BCAD-093FA0E8E566}" dt="2022-05-26T07:04:26.178" v="12186" actId="1038"/>
          <ac:spMkLst>
            <pc:docMk/>
            <pc:sldMk cId="3397172010" sldId="2452"/>
            <ac:spMk id="114" creationId="{09C56035-BA0C-8573-F299-A3000153761C}"/>
          </ac:spMkLst>
        </pc:spChg>
        <pc:spChg chg="add mod">
          <ac:chgData name="Aurelien Domont" userId="6da7715ce44349b3" providerId="LiveId" clId="{30A766B1-982E-4295-BCAD-093FA0E8E566}" dt="2022-05-26T07:04:29.754" v="12187" actId="571"/>
          <ac:spMkLst>
            <pc:docMk/>
            <pc:sldMk cId="3397172010" sldId="2452"/>
            <ac:spMk id="115" creationId="{B2F9FA90-5A92-47B1-A9D9-B935B560EAE2}"/>
          </ac:spMkLst>
        </pc:spChg>
        <pc:spChg chg="add mod">
          <ac:chgData name="Aurelien Domont" userId="6da7715ce44349b3" providerId="LiveId" clId="{30A766B1-982E-4295-BCAD-093FA0E8E566}" dt="2022-05-26T07:04:36.375" v="12217" actId="1038"/>
          <ac:spMkLst>
            <pc:docMk/>
            <pc:sldMk cId="3397172010" sldId="2452"/>
            <ac:spMk id="116" creationId="{5FBA689E-95A0-0F2E-95B9-1EB185BC456C}"/>
          </ac:spMkLst>
        </pc:spChg>
        <pc:spChg chg="add mod">
          <ac:chgData name="Aurelien Domont" userId="6da7715ce44349b3" providerId="LiveId" clId="{30A766B1-982E-4295-BCAD-093FA0E8E566}" dt="2022-05-26T07:04:39.062" v="12218" actId="571"/>
          <ac:spMkLst>
            <pc:docMk/>
            <pc:sldMk cId="3397172010" sldId="2452"/>
            <ac:spMk id="117" creationId="{4CF7DF6B-4BCC-A30B-E517-099B0E33127A}"/>
          </ac:spMkLst>
        </pc:spChg>
        <pc:spChg chg="add mod">
          <ac:chgData name="Aurelien Domont" userId="6da7715ce44349b3" providerId="LiveId" clId="{30A766B1-982E-4295-BCAD-093FA0E8E566}" dt="2022-05-26T07:04:41.322" v="12219" actId="571"/>
          <ac:spMkLst>
            <pc:docMk/>
            <pc:sldMk cId="3397172010" sldId="2452"/>
            <ac:spMk id="118" creationId="{FFE63914-3D89-769F-E3D8-893779050769}"/>
          </ac:spMkLst>
        </pc:spChg>
        <pc:spChg chg="add mod">
          <ac:chgData name="Aurelien Domont" userId="6da7715ce44349b3" providerId="LiveId" clId="{30A766B1-982E-4295-BCAD-093FA0E8E566}" dt="2022-05-26T07:04:44.229" v="12220" actId="571"/>
          <ac:spMkLst>
            <pc:docMk/>
            <pc:sldMk cId="3397172010" sldId="2452"/>
            <ac:spMk id="119" creationId="{4E76F3C1-A19B-FE7F-29A9-C98EE2C8B371}"/>
          </ac:spMkLst>
        </pc:spChg>
        <pc:grpChg chg="add del mod">
          <ac:chgData name="Aurelien Domont" userId="6da7715ce44349b3" providerId="LiveId" clId="{30A766B1-982E-4295-BCAD-093FA0E8E566}" dt="2022-05-26T07:02:08.926" v="12062" actId="165"/>
          <ac:grpSpMkLst>
            <pc:docMk/>
            <pc:sldMk cId="3397172010" sldId="2452"/>
            <ac:grpSpMk id="2" creationId="{C2E77986-03CF-246F-2BBA-92C7EEAAE40D}"/>
          </ac:grpSpMkLst>
        </pc:grpChg>
        <pc:cxnChg chg="add del mod topLvl">
          <ac:chgData name="Aurelien Domont" userId="6da7715ce44349b3" providerId="LiveId" clId="{30A766B1-982E-4295-BCAD-093FA0E8E566}" dt="2022-05-26T07:02:21.467" v="12064" actId="478"/>
          <ac:cxnSpMkLst>
            <pc:docMk/>
            <pc:sldMk cId="3397172010" sldId="2452"/>
            <ac:cxnSpMk id="57" creationId="{26710029-1DE1-06EA-AA8B-959A19080AF0}"/>
          </ac:cxnSpMkLst>
        </pc:cxnChg>
        <pc:cxnChg chg="add del mod topLvl">
          <ac:chgData name="Aurelien Domont" userId="6da7715ce44349b3" providerId="LiveId" clId="{30A766B1-982E-4295-BCAD-093FA0E8E566}" dt="2022-05-26T07:02:21.467" v="12064" actId="478"/>
          <ac:cxnSpMkLst>
            <pc:docMk/>
            <pc:sldMk cId="3397172010" sldId="2452"/>
            <ac:cxnSpMk id="70" creationId="{5DED5F7F-B9D1-7126-9E71-5BF46308A8A3}"/>
          </ac:cxnSpMkLst>
        </pc:cxnChg>
        <pc:cxnChg chg="add del mod topLvl">
          <ac:chgData name="Aurelien Domont" userId="6da7715ce44349b3" providerId="LiveId" clId="{30A766B1-982E-4295-BCAD-093FA0E8E566}" dt="2022-05-26T07:02:21.467" v="12064" actId="478"/>
          <ac:cxnSpMkLst>
            <pc:docMk/>
            <pc:sldMk cId="3397172010" sldId="2452"/>
            <ac:cxnSpMk id="73" creationId="{EDC3ED1B-B86B-0B89-274B-A223FA9174A4}"/>
          </ac:cxnSpMkLst>
        </pc:cxnChg>
        <pc:cxnChg chg="add del mod topLvl">
          <ac:chgData name="Aurelien Domont" userId="6da7715ce44349b3" providerId="LiveId" clId="{30A766B1-982E-4295-BCAD-093FA0E8E566}" dt="2022-05-26T07:02:21.467" v="12064" actId="478"/>
          <ac:cxnSpMkLst>
            <pc:docMk/>
            <pc:sldMk cId="3397172010" sldId="2452"/>
            <ac:cxnSpMk id="76" creationId="{73700D27-0D3F-2ECE-5B41-A2B22223A893}"/>
          </ac:cxnSpMkLst>
        </pc:cxnChg>
        <pc:cxnChg chg="add del mod topLvl">
          <ac:chgData name="Aurelien Domont" userId="6da7715ce44349b3" providerId="LiveId" clId="{30A766B1-982E-4295-BCAD-093FA0E8E566}" dt="2022-05-26T07:02:21.467" v="12064" actId="478"/>
          <ac:cxnSpMkLst>
            <pc:docMk/>
            <pc:sldMk cId="3397172010" sldId="2452"/>
            <ac:cxnSpMk id="79" creationId="{6126C9FF-3655-CAE3-B7F7-2108B2425B78}"/>
          </ac:cxnSpMkLst>
        </pc:cxnChg>
        <pc:cxnChg chg="add del mod topLvl">
          <ac:chgData name="Aurelien Domont" userId="6da7715ce44349b3" providerId="LiveId" clId="{30A766B1-982E-4295-BCAD-093FA0E8E566}" dt="2022-05-26T07:02:21.467" v="12064" actId="478"/>
          <ac:cxnSpMkLst>
            <pc:docMk/>
            <pc:sldMk cId="3397172010" sldId="2452"/>
            <ac:cxnSpMk id="82" creationId="{8B69614C-2C1F-7E10-5749-278E19D2432C}"/>
          </ac:cxnSpMkLst>
        </pc:cxnChg>
        <pc:cxnChg chg="add del mod topLvl">
          <ac:chgData name="Aurelien Domont" userId="6da7715ce44349b3" providerId="LiveId" clId="{30A766B1-982E-4295-BCAD-093FA0E8E566}" dt="2022-05-26T07:02:21.467" v="12064" actId="478"/>
          <ac:cxnSpMkLst>
            <pc:docMk/>
            <pc:sldMk cId="3397172010" sldId="2452"/>
            <ac:cxnSpMk id="85" creationId="{CBDBE921-AEE2-320D-3D26-D060AC9565EC}"/>
          </ac:cxnSpMkLst>
        </pc:cxnChg>
        <pc:cxnChg chg="add del mod topLvl">
          <ac:chgData name="Aurelien Domont" userId="6da7715ce44349b3" providerId="LiveId" clId="{30A766B1-982E-4295-BCAD-093FA0E8E566}" dt="2022-05-26T07:02:11.891" v="12063" actId="478"/>
          <ac:cxnSpMkLst>
            <pc:docMk/>
            <pc:sldMk cId="3397172010" sldId="2452"/>
            <ac:cxnSpMk id="88" creationId="{11439055-BD09-AC6F-40C5-929EF268E478}"/>
          </ac:cxnSpMkLst>
        </pc:cxnChg>
        <pc:cxnChg chg="add del mod topLvl">
          <ac:chgData name="Aurelien Domont" userId="6da7715ce44349b3" providerId="LiveId" clId="{30A766B1-982E-4295-BCAD-093FA0E8E566}" dt="2022-05-26T07:02:34.520" v="12066" actId="478"/>
          <ac:cxnSpMkLst>
            <pc:docMk/>
            <pc:sldMk cId="3397172010" sldId="2452"/>
            <ac:cxnSpMk id="92" creationId="{80AC3949-4B6D-8215-2281-D2BB4E432A3E}"/>
          </ac:cxnSpMkLst>
        </pc:cxnChg>
        <pc:cxnChg chg="add del mod topLvl">
          <ac:chgData name="Aurelien Domont" userId="6da7715ce44349b3" providerId="LiveId" clId="{30A766B1-982E-4295-BCAD-093FA0E8E566}" dt="2022-05-26T07:02:34.520" v="12066" actId="478"/>
          <ac:cxnSpMkLst>
            <pc:docMk/>
            <pc:sldMk cId="3397172010" sldId="2452"/>
            <ac:cxnSpMk id="95" creationId="{ADB508AF-3E0D-81AA-47CE-789E02335969}"/>
          </ac:cxnSpMkLst>
        </pc:cxnChg>
        <pc:cxnChg chg="add del mod topLvl">
          <ac:chgData name="Aurelien Domont" userId="6da7715ce44349b3" providerId="LiveId" clId="{30A766B1-982E-4295-BCAD-093FA0E8E566}" dt="2022-05-26T07:02:34.520" v="12066" actId="478"/>
          <ac:cxnSpMkLst>
            <pc:docMk/>
            <pc:sldMk cId="3397172010" sldId="2452"/>
            <ac:cxnSpMk id="98" creationId="{09B91F2B-AB28-A28D-63A0-EF4F39F47960}"/>
          </ac:cxnSpMkLst>
        </pc:cxnChg>
        <pc:cxnChg chg="add del mod topLvl">
          <ac:chgData name="Aurelien Domont" userId="6da7715ce44349b3" providerId="LiveId" clId="{30A766B1-982E-4295-BCAD-093FA0E8E566}" dt="2022-05-26T07:02:34.520" v="12066" actId="478"/>
          <ac:cxnSpMkLst>
            <pc:docMk/>
            <pc:sldMk cId="3397172010" sldId="2452"/>
            <ac:cxnSpMk id="101" creationId="{3D61D7E8-F63D-40C1-C6CB-324BC1356B5E}"/>
          </ac:cxnSpMkLst>
        </pc:cxnChg>
        <pc:cxnChg chg="add del mod topLvl">
          <ac:chgData name="Aurelien Domont" userId="6da7715ce44349b3" providerId="LiveId" clId="{30A766B1-982E-4295-BCAD-093FA0E8E566}" dt="2022-05-26T07:02:34.520" v="12066" actId="478"/>
          <ac:cxnSpMkLst>
            <pc:docMk/>
            <pc:sldMk cId="3397172010" sldId="2452"/>
            <ac:cxnSpMk id="104" creationId="{08D3CD77-865A-4E58-FBCC-35CE8FF4F807}"/>
          </ac:cxnSpMkLst>
        </pc:cxnChg>
        <pc:cxnChg chg="add del mod topLvl">
          <ac:chgData name="Aurelien Domont" userId="6da7715ce44349b3" providerId="LiveId" clId="{30A766B1-982E-4295-BCAD-093FA0E8E566}" dt="2022-05-26T07:02:34.520" v="12066" actId="478"/>
          <ac:cxnSpMkLst>
            <pc:docMk/>
            <pc:sldMk cId="3397172010" sldId="2452"/>
            <ac:cxnSpMk id="107" creationId="{56BDF25F-A7AA-ACAB-5E28-0D5E84E6168B}"/>
          </ac:cxnSpMkLst>
        </pc:cxnChg>
        <pc:cxnChg chg="add del mod topLvl">
          <ac:chgData name="Aurelien Domont" userId="6da7715ce44349b3" providerId="LiveId" clId="{30A766B1-982E-4295-BCAD-093FA0E8E566}" dt="2022-05-26T07:02:34.520" v="12066" actId="478"/>
          <ac:cxnSpMkLst>
            <pc:docMk/>
            <pc:sldMk cId="3397172010" sldId="2452"/>
            <ac:cxnSpMk id="110" creationId="{169D5A20-5FA7-4919-B834-DAE7C659384B}"/>
          </ac:cxnSpMkLst>
        </pc:cxnChg>
      </pc:sldChg>
      <pc:sldChg chg="modSp add mod ord">
        <pc:chgData name="Aurelien Domont" userId="6da7715ce44349b3" providerId="LiveId" clId="{30A766B1-982E-4295-BCAD-093FA0E8E566}" dt="2023-01-18T05:33:07.832" v="14918"/>
        <pc:sldMkLst>
          <pc:docMk/>
          <pc:sldMk cId="2422934540" sldId="2453"/>
        </pc:sldMkLst>
        <pc:spChg chg="mod">
          <ac:chgData name="Aurelien Domont" userId="6da7715ce44349b3" providerId="LiveId" clId="{30A766B1-982E-4295-BCAD-093FA0E8E566}" dt="2023-01-18T05:33:07.832" v="14918"/>
          <ac:spMkLst>
            <pc:docMk/>
            <pc:sldMk cId="2422934540" sldId="2453"/>
            <ac:spMk id="3" creationId="{CE2529A3-BA97-486F-9E02-8DFAAA7D8D38}"/>
          </ac:spMkLst>
        </pc:spChg>
        <pc:spChg chg="mod">
          <ac:chgData name="Aurelien Domont" userId="6da7715ce44349b3" providerId="LiveId" clId="{30A766B1-982E-4295-BCAD-093FA0E8E566}" dt="2023-01-18T05:33:07.832" v="14918"/>
          <ac:spMkLst>
            <pc:docMk/>
            <pc:sldMk cId="2422934540" sldId="2453"/>
            <ac:spMk id="16" creationId="{6C2BB713-9637-4B9B-938F-E9768876782A}"/>
          </ac:spMkLst>
        </pc:spChg>
        <pc:spChg chg="mod">
          <ac:chgData name="Aurelien Domont" userId="6da7715ce44349b3" providerId="LiveId" clId="{30A766B1-982E-4295-BCAD-093FA0E8E566}" dt="2022-05-27T06:02:06.950" v="12812" actId="113"/>
          <ac:spMkLst>
            <pc:docMk/>
            <pc:sldMk cId="2422934540" sldId="2453"/>
            <ac:spMk id="20" creationId="{6F42B407-2666-69B3-72ED-6B9C33D14087}"/>
          </ac:spMkLst>
        </pc:spChg>
      </pc:sldChg>
      <pc:sldChg chg="modSp add mod">
        <pc:chgData name="Aurelien Domont" userId="6da7715ce44349b3" providerId="LiveId" clId="{30A766B1-982E-4295-BCAD-093FA0E8E566}" dt="2023-01-18T05:33:07.832" v="14918"/>
        <pc:sldMkLst>
          <pc:docMk/>
          <pc:sldMk cId="2642849843" sldId="2454"/>
        </pc:sldMkLst>
        <pc:spChg chg="mod">
          <ac:chgData name="Aurelien Domont" userId="6da7715ce44349b3" providerId="LiveId" clId="{30A766B1-982E-4295-BCAD-093FA0E8E566}" dt="2023-01-18T05:33:07.832" v="14918"/>
          <ac:spMkLst>
            <pc:docMk/>
            <pc:sldMk cId="2642849843" sldId="2454"/>
            <ac:spMk id="3" creationId="{CE2529A3-BA97-486F-9E02-8DFAAA7D8D38}"/>
          </ac:spMkLst>
        </pc:spChg>
        <pc:spChg chg="mod">
          <ac:chgData name="Aurelien Domont" userId="6da7715ce44349b3" providerId="LiveId" clId="{30A766B1-982E-4295-BCAD-093FA0E8E566}" dt="2022-05-27T06:01:08.641" v="12803" actId="113"/>
          <ac:spMkLst>
            <pc:docMk/>
            <pc:sldMk cId="2642849843" sldId="2454"/>
            <ac:spMk id="9" creationId="{BE08DE42-BC34-2CB5-B8D0-9A674610A298}"/>
          </ac:spMkLst>
        </pc:spChg>
        <pc:spChg chg="mod">
          <ac:chgData name="Aurelien Domont" userId="6da7715ce44349b3" providerId="LiveId" clId="{30A766B1-982E-4295-BCAD-093FA0E8E566}" dt="2023-01-18T05:33:07.832" v="14918"/>
          <ac:spMkLst>
            <pc:docMk/>
            <pc:sldMk cId="2642849843" sldId="2454"/>
            <ac:spMk id="16" creationId="{6C2BB713-9637-4B9B-938F-E9768876782A}"/>
          </ac:spMkLst>
        </pc:spChg>
      </pc:sldChg>
      <pc:sldChg chg="modSp add mod">
        <pc:chgData name="Aurelien Domont" userId="6da7715ce44349b3" providerId="LiveId" clId="{30A766B1-982E-4295-BCAD-093FA0E8E566}" dt="2023-01-18T05:33:07.832" v="14918"/>
        <pc:sldMkLst>
          <pc:docMk/>
          <pc:sldMk cId="2756543270" sldId="2455"/>
        </pc:sldMkLst>
        <pc:spChg chg="mod">
          <ac:chgData name="Aurelien Domont" userId="6da7715ce44349b3" providerId="LiveId" clId="{30A766B1-982E-4295-BCAD-093FA0E8E566}" dt="2023-01-18T05:33:07.832" v="14918"/>
          <ac:spMkLst>
            <pc:docMk/>
            <pc:sldMk cId="2756543270" sldId="2455"/>
            <ac:spMk id="3" creationId="{CE2529A3-BA97-486F-9E02-8DFAAA7D8D38}"/>
          </ac:spMkLst>
        </pc:spChg>
        <pc:spChg chg="mod">
          <ac:chgData name="Aurelien Domont" userId="6da7715ce44349b3" providerId="LiveId" clId="{30A766B1-982E-4295-BCAD-093FA0E8E566}" dt="2023-01-18T05:33:07.832" v="14918"/>
          <ac:spMkLst>
            <pc:docMk/>
            <pc:sldMk cId="2756543270" sldId="2455"/>
            <ac:spMk id="16" creationId="{6C2BB713-9637-4B9B-938F-E9768876782A}"/>
          </ac:spMkLst>
        </pc:spChg>
        <pc:spChg chg="mod">
          <ac:chgData name="Aurelien Domont" userId="6da7715ce44349b3" providerId="LiveId" clId="{30A766B1-982E-4295-BCAD-093FA0E8E566}" dt="2022-05-27T06:01:54.672" v="12810" actId="313"/>
          <ac:spMkLst>
            <pc:docMk/>
            <pc:sldMk cId="2756543270" sldId="2455"/>
            <ac:spMk id="20" creationId="{6F42B407-2666-69B3-72ED-6B9C33D14087}"/>
          </ac:spMkLst>
        </pc:spChg>
      </pc:sldChg>
      <pc:sldChg chg="addSp delSp modSp add mod">
        <pc:chgData name="Aurelien Domont" userId="6da7715ce44349b3" providerId="LiveId" clId="{30A766B1-982E-4295-BCAD-093FA0E8E566}" dt="2023-01-18T05:33:07.832" v="14918"/>
        <pc:sldMkLst>
          <pc:docMk/>
          <pc:sldMk cId="1872239028" sldId="2456"/>
        </pc:sldMkLst>
        <pc:spChg chg="add mod">
          <ac:chgData name="Aurelien Domont" userId="6da7715ce44349b3" providerId="LiveId" clId="{30A766B1-982E-4295-BCAD-093FA0E8E566}" dt="2023-01-16T04:15:33.277" v="13447" actId="20577"/>
          <ac:spMkLst>
            <pc:docMk/>
            <pc:sldMk cId="1872239028" sldId="2456"/>
            <ac:spMk id="2" creationId="{09F59EBD-6E90-D228-9C9F-BACD62114E84}"/>
          </ac:spMkLst>
        </pc:spChg>
        <pc:spChg chg="mod">
          <ac:chgData name="Aurelien Domont" userId="6da7715ce44349b3" providerId="LiveId" clId="{30A766B1-982E-4295-BCAD-093FA0E8E566}" dt="2023-01-18T05:33:07.832" v="14918"/>
          <ac:spMkLst>
            <pc:docMk/>
            <pc:sldMk cId="1872239028" sldId="2456"/>
            <ac:spMk id="3" creationId="{CE2529A3-BA97-486F-9E02-8DFAAA7D8D38}"/>
          </ac:spMkLst>
        </pc:spChg>
        <pc:spChg chg="add del mod">
          <ac:chgData name="Aurelien Domont" userId="6da7715ce44349b3" providerId="LiveId" clId="{30A766B1-982E-4295-BCAD-093FA0E8E566}" dt="2023-01-16T04:24:20.256" v="13499" actId="478"/>
          <ac:spMkLst>
            <pc:docMk/>
            <pc:sldMk cId="1872239028" sldId="2456"/>
            <ac:spMk id="4" creationId="{FF097FA5-83B2-7440-E64F-D26D949192E2}"/>
          </ac:spMkLst>
        </pc:spChg>
        <pc:spChg chg="mod">
          <ac:chgData name="Aurelien Domont" userId="6da7715ce44349b3" providerId="LiveId" clId="{30A766B1-982E-4295-BCAD-093FA0E8E566}" dt="2023-01-18T05:33:07.832" v="14918"/>
          <ac:spMkLst>
            <pc:docMk/>
            <pc:sldMk cId="1872239028" sldId="2456"/>
            <ac:spMk id="16" creationId="{6C2BB713-9637-4B9B-938F-E9768876782A}"/>
          </ac:spMkLst>
        </pc:spChg>
        <pc:spChg chg="mod">
          <ac:chgData name="Aurelien Domont" userId="6da7715ce44349b3" providerId="LiveId" clId="{30A766B1-982E-4295-BCAD-093FA0E8E566}" dt="2023-01-16T04:21:59.003" v="13497" actId="20577"/>
          <ac:spMkLst>
            <pc:docMk/>
            <pc:sldMk cId="1872239028" sldId="2456"/>
            <ac:spMk id="28" creationId="{4A40CCF3-55AD-4BA5-B3E8-AE7B563E3E35}"/>
          </ac:spMkLst>
        </pc:spChg>
      </pc:sldChg>
      <pc:sldChg chg="modSp add">
        <pc:chgData name="Aurelien Domont" userId="6da7715ce44349b3" providerId="LiveId" clId="{30A766B1-982E-4295-BCAD-093FA0E8E566}" dt="2023-01-18T05:33:07.832" v="14918"/>
        <pc:sldMkLst>
          <pc:docMk/>
          <pc:sldMk cId="3975579528" sldId="2475"/>
        </pc:sldMkLst>
        <pc:spChg chg="mod">
          <ac:chgData name="Aurelien Domont" userId="6da7715ce44349b3" providerId="LiveId" clId="{30A766B1-982E-4295-BCAD-093FA0E8E566}" dt="2023-01-18T05:33:07.832" v="14918"/>
          <ac:spMkLst>
            <pc:docMk/>
            <pc:sldMk cId="3975579528" sldId="2475"/>
            <ac:spMk id="3" creationId="{CE2529A3-BA97-486F-9E02-8DFAAA7D8D38}"/>
          </ac:spMkLst>
        </pc:spChg>
        <pc:spChg chg="mod">
          <ac:chgData name="Aurelien Domont" userId="6da7715ce44349b3" providerId="LiveId" clId="{30A766B1-982E-4295-BCAD-093FA0E8E566}" dt="2023-01-18T05:33:07.832" v="14918"/>
          <ac:spMkLst>
            <pc:docMk/>
            <pc:sldMk cId="3975579528" sldId="2475"/>
            <ac:spMk id="16" creationId="{6C2BB713-9637-4B9B-938F-E9768876782A}"/>
          </ac:spMkLst>
        </pc:spChg>
      </pc:sldChg>
      <pc:sldChg chg="modSp add">
        <pc:chgData name="Aurelien Domont" userId="6da7715ce44349b3" providerId="LiveId" clId="{30A766B1-982E-4295-BCAD-093FA0E8E566}" dt="2023-01-18T05:33:07.832" v="14918"/>
        <pc:sldMkLst>
          <pc:docMk/>
          <pc:sldMk cId="749736513" sldId="2476"/>
        </pc:sldMkLst>
        <pc:spChg chg="mod">
          <ac:chgData name="Aurelien Domont" userId="6da7715ce44349b3" providerId="LiveId" clId="{30A766B1-982E-4295-BCAD-093FA0E8E566}" dt="2023-01-18T05:33:07.832" v="14918"/>
          <ac:spMkLst>
            <pc:docMk/>
            <pc:sldMk cId="749736513" sldId="2476"/>
            <ac:spMk id="3" creationId="{CE2529A3-BA97-486F-9E02-8DFAAA7D8D38}"/>
          </ac:spMkLst>
        </pc:spChg>
        <pc:spChg chg="mod">
          <ac:chgData name="Aurelien Domont" userId="6da7715ce44349b3" providerId="LiveId" clId="{30A766B1-982E-4295-BCAD-093FA0E8E566}" dt="2023-01-18T05:33:07.832" v="14918"/>
          <ac:spMkLst>
            <pc:docMk/>
            <pc:sldMk cId="749736513" sldId="2476"/>
            <ac:spMk id="16" creationId="{6C2BB713-9637-4B9B-938F-E9768876782A}"/>
          </ac:spMkLst>
        </pc:spChg>
      </pc:sldChg>
      <pc:sldChg chg="modSp add">
        <pc:chgData name="Aurelien Domont" userId="6da7715ce44349b3" providerId="LiveId" clId="{30A766B1-982E-4295-BCAD-093FA0E8E566}" dt="2023-01-18T05:33:07.832" v="14918"/>
        <pc:sldMkLst>
          <pc:docMk/>
          <pc:sldMk cId="3463434680" sldId="2477"/>
        </pc:sldMkLst>
        <pc:spChg chg="mod">
          <ac:chgData name="Aurelien Domont" userId="6da7715ce44349b3" providerId="LiveId" clId="{30A766B1-982E-4295-BCAD-093FA0E8E566}" dt="2023-01-18T05:33:07.832" v="14918"/>
          <ac:spMkLst>
            <pc:docMk/>
            <pc:sldMk cId="3463434680" sldId="2477"/>
            <ac:spMk id="3" creationId="{CE2529A3-BA97-486F-9E02-8DFAAA7D8D38}"/>
          </ac:spMkLst>
        </pc:spChg>
        <pc:spChg chg="mod">
          <ac:chgData name="Aurelien Domont" userId="6da7715ce44349b3" providerId="LiveId" clId="{30A766B1-982E-4295-BCAD-093FA0E8E566}" dt="2023-01-18T05:33:07.832" v="14918"/>
          <ac:spMkLst>
            <pc:docMk/>
            <pc:sldMk cId="3463434680" sldId="2477"/>
            <ac:spMk id="16" creationId="{6C2BB713-9637-4B9B-938F-E9768876782A}"/>
          </ac:spMkLst>
        </pc:spChg>
      </pc:sldChg>
      <pc:sldChg chg="modSp add">
        <pc:chgData name="Aurelien Domont" userId="6da7715ce44349b3" providerId="LiveId" clId="{30A766B1-982E-4295-BCAD-093FA0E8E566}" dt="2023-01-18T05:33:07.832" v="14918"/>
        <pc:sldMkLst>
          <pc:docMk/>
          <pc:sldMk cId="266260425" sldId="2478"/>
        </pc:sldMkLst>
        <pc:spChg chg="mod">
          <ac:chgData name="Aurelien Domont" userId="6da7715ce44349b3" providerId="LiveId" clId="{30A766B1-982E-4295-BCAD-093FA0E8E566}" dt="2023-01-18T05:33:07.832" v="14918"/>
          <ac:spMkLst>
            <pc:docMk/>
            <pc:sldMk cId="266260425" sldId="2478"/>
            <ac:spMk id="3" creationId="{CE2529A3-BA97-486F-9E02-8DFAAA7D8D38}"/>
          </ac:spMkLst>
        </pc:spChg>
        <pc:spChg chg="mod">
          <ac:chgData name="Aurelien Domont" userId="6da7715ce44349b3" providerId="LiveId" clId="{30A766B1-982E-4295-BCAD-093FA0E8E566}" dt="2023-01-18T05:33:07.832" v="14918"/>
          <ac:spMkLst>
            <pc:docMk/>
            <pc:sldMk cId="266260425" sldId="2478"/>
            <ac:spMk id="16" creationId="{6C2BB713-9637-4B9B-938F-E9768876782A}"/>
          </ac:spMkLst>
        </pc:spChg>
      </pc:sldChg>
      <pc:sldChg chg="modSp add mod">
        <pc:chgData name="Aurelien Domont" userId="6da7715ce44349b3" providerId="LiveId" clId="{30A766B1-982E-4295-BCAD-093FA0E8E566}" dt="2023-01-18T05:33:07.832" v="14918"/>
        <pc:sldMkLst>
          <pc:docMk/>
          <pc:sldMk cId="1165961042" sldId="2479"/>
        </pc:sldMkLst>
        <pc:spChg chg="mod">
          <ac:chgData name="Aurelien Domont" userId="6da7715ce44349b3" providerId="LiveId" clId="{30A766B1-982E-4295-BCAD-093FA0E8E566}" dt="2023-01-18T05:33:07.832" v="14918"/>
          <ac:spMkLst>
            <pc:docMk/>
            <pc:sldMk cId="1165961042" sldId="2479"/>
            <ac:spMk id="3" creationId="{CE2529A3-BA97-486F-9E02-8DFAAA7D8D38}"/>
          </ac:spMkLst>
        </pc:spChg>
        <pc:spChg chg="mod">
          <ac:chgData name="Aurelien Domont" userId="6da7715ce44349b3" providerId="LiveId" clId="{30A766B1-982E-4295-BCAD-093FA0E8E566}" dt="2023-01-18T05:33:07.832" v="14918"/>
          <ac:spMkLst>
            <pc:docMk/>
            <pc:sldMk cId="1165961042" sldId="2479"/>
            <ac:spMk id="16" creationId="{6C2BB713-9637-4B9B-938F-E9768876782A}"/>
          </ac:spMkLst>
        </pc:spChg>
        <pc:spChg chg="mod">
          <ac:chgData name="Aurelien Domont" userId="6da7715ce44349b3" providerId="LiveId" clId="{30A766B1-982E-4295-BCAD-093FA0E8E566}" dt="2023-01-16T04:44:06.681" v="13905" actId="6549"/>
          <ac:spMkLst>
            <pc:docMk/>
            <pc:sldMk cId="1165961042" sldId="2479"/>
            <ac:spMk id="53" creationId="{F1A8F946-F497-C9D3-1A8F-91DDF8DB0BF2}"/>
          </ac:spMkLst>
        </pc:spChg>
      </pc:sldChg>
      <pc:sldChg chg="modSp add">
        <pc:chgData name="Aurelien Domont" userId="6da7715ce44349b3" providerId="LiveId" clId="{30A766B1-982E-4295-BCAD-093FA0E8E566}" dt="2023-01-18T05:33:07.832" v="14918"/>
        <pc:sldMkLst>
          <pc:docMk/>
          <pc:sldMk cId="3016743012" sldId="2480"/>
        </pc:sldMkLst>
        <pc:spChg chg="mod">
          <ac:chgData name="Aurelien Domont" userId="6da7715ce44349b3" providerId="LiveId" clId="{30A766B1-982E-4295-BCAD-093FA0E8E566}" dt="2023-01-18T05:33:07.832" v="14918"/>
          <ac:spMkLst>
            <pc:docMk/>
            <pc:sldMk cId="3016743012" sldId="2480"/>
            <ac:spMk id="3" creationId="{CE2529A3-BA97-486F-9E02-8DFAAA7D8D38}"/>
          </ac:spMkLst>
        </pc:spChg>
        <pc:spChg chg="mod">
          <ac:chgData name="Aurelien Domont" userId="6da7715ce44349b3" providerId="LiveId" clId="{30A766B1-982E-4295-BCAD-093FA0E8E566}" dt="2023-01-18T05:33:07.832" v="14918"/>
          <ac:spMkLst>
            <pc:docMk/>
            <pc:sldMk cId="3016743012" sldId="2480"/>
            <ac:spMk id="16" creationId="{6C2BB713-9637-4B9B-938F-E9768876782A}"/>
          </ac:spMkLst>
        </pc:spChg>
      </pc:sldChg>
      <pc:sldChg chg="delSp modSp add mod">
        <pc:chgData name="Aurelien Domont" userId="6da7715ce44349b3" providerId="LiveId" clId="{30A766B1-982E-4295-BCAD-093FA0E8E566}" dt="2023-01-18T05:33:07.832" v="14918"/>
        <pc:sldMkLst>
          <pc:docMk/>
          <pc:sldMk cId="2861048300" sldId="2481"/>
        </pc:sldMkLst>
        <pc:spChg chg="mod">
          <ac:chgData name="Aurelien Domont" userId="6da7715ce44349b3" providerId="LiveId" clId="{30A766B1-982E-4295-BCAD-093FA0E8E566}" dt="2023-01-18T05:33:07.832" v="14918"/>
          <ac:spMkLst>
            <pc:docMk/>
            <pc:sldMk cId="2861048300" sldId="2481"/>
            <ac:spMk id="3" creationId="{CE2529A3-BA97-486F-9E02-8DFAAA7D8D38}"/>
          </ac:spMkLst>
        </pc:spChg>
        <pc:spChg chg="del">
          <ac:chgData name="Aurelien Domont" userId="6da7715ce44349b3" providerId="LiveId" clId="{30A766B1-982E-4295-BCAD-093FA0E8E566}" dt="2023-01-16T04:25:07.206" v="13501" actId="21"/>
          <ac:spMkLst>
            <pc:docMk/>
            <pc:sldMk cId="2861048300" sldId="2481"/>
            <ac:spMk id="4" creationId="{FF097FA5-83B2-7440-E64F-D26D949192E2}"/>
          </ac:spMkLst>
        </pc:spChg>
        <pc:spChg chg="mod">
          <ac:chgData name="Aurelien Domont" userId="6da7715ce44349b3" providerId="LiveId" clId="{30A766B1-982E-4295-BCAD-093FA0E8E566}" dt="2023-01-18T05:33:07.832" v="14918"/>
          <ac:spMkLst>
            <pc:docMk/>
            <pc:sldMk cId="2861048300" sldId="2481"/>
            <ac:spMk id="16" creationId="{6C2BB713-9637-4B9B-938F-E9768876782A}"/>
          </ac:spMkLst>
        </pc:spChg>
      </pc:sldChg>
      <pc:sldChg chg="modSp add del">
        <pc:chgData name="Aurelien Domont" userId="6da7715ce44349b3" providerId="LiveId" clId="{30A766B1-982E-4295-BCAD-093FA0E8E566}" dt="2023-01-19T00:39:20.471" v="15585" actId="47"/>
        <pc:sldMkLst>
          <pc:docMk/>
          <pc:sldMk cId="1575111756" sldId="2482"/>
        </pc:sldMkLst>
        <pc:spChg chg="mod">
          <ac:chgData name="Aurelien Domont" userId="6da7715ce44349b3" providerId="LiveId" clId="{30A766B1-982E-4295-BCAD-093FA0E8E566}" dt="2023-01-18T05:33:07.832" v="14918"/>
          <ac:spMkLst>
            <pc:docMk/>
            <pc:sldMk cId="1575111756" sldId="2482"/>
            <ac:spMk id="3" creationId="{CE2529A3-BA97-486F-9E02-8DFAAA7D8D38}"/>
          </ac:spMkLst>
        </pc:spChg>
        <pc:spChg chg="mod">
          <ac:chgData name="Aurelien Domont" userId="6da7715ce44349b3" providerId="LiveId" clId="{30A766B1-982E-4295-BCAD-093FA0E8E566}" dt="2023-01-18T05:33:07.832" v="14918"/>
          <ac:spMkLst>
            <pc:docMk/>
            <pc:sldMk cId="1575111756" sldId="2482"/>
            <ac:spMk id="16" creationId="{6C2BB713-9637-4B9B-938F-E9768876782A}"/>
          </ac:spMkLst>
        </pc:spChg>
      </pc:sldChg>
      <pc:sldChg chg="modSp add mod ord">
        <pc:chgData name="Aurelien Domont" userId="6da7715ce44349b3" providerId="LiveId" clId="{30A766B1-982E-4295-BCAD-093FA0E8E566}" dt="2023-01-19T00:30:28.237" v="15503"/>
        <pc:sldMkLst>
          <pc:docMk/>
          <pc:sldMk cId="1703982882" sldId="2483"/>
        </pc:sldMkLst>
        <pc:spChg chg="mod">
          <ac:chgData name="Aurelien Domont" userId="6da7715ce44349b3" providerId="LiveId" clId="{30A766B1-982E-4295-BCAD-093FA0E8E566}" dt="2023-01-18T05:33:07.832" v="14918"/>
          <ac:spMkLst>
            <pc:docMk/>
            <pc:sldMk cId="1703982882" sldId="2483"/>
            <ac:spMk id="2" creationId="{DDC2D88E-5301-4473-A14F-4D99283C337B}"/>
          </ac:spMkLst>
        </pc:spChg>
        <pc:spChg chg="mod">
          <ac:chgData name="Aurelien Domont" userId="6da7715ce44349b3" providerId="LiveId" clId="{30A766B1-982E-4295-BCAD-093FA0E8E566}" dt="2023-01-18T05:33:07.832" v="14918"/>
          <ac:spMkLst>
            <pc:docMk/>
            <pc:sldMk cId="1703982882" sldId="2483"/>
            <ac:spMk id="3" creationId="{67F49DFD-1CB5-422A-958D-A08A65C88A85}"/>
          </ac:spMkLst>
        </pc:spChg>
        <pc:spChg chg="mod">
          <ac:chgData name="Aurelien Domont" userId="6da7715ce44349b3" providerId="LiveId" clId="{30A766B1-982E-4295-BCAD-093FA0E8E566}" dt="2023-01-18T05:33:07.832" v="14918"/>
          <ac:spMkLst>
            <pc:docMk/>
            <pc:sldMk cId="1703982882" sldId="2483"/>
            <ac:spMk id="4" creationId="{D780A33B-80E7-4372-B3E5-1F36E911C2A5}"/>
          </ac:spMkLst>
        </pc:spChg>
        <pc:spChg chg="mod">
          <ac:chgData name="Aurelien Domont" userId="6da7715ce44349b3" providerId="LiveId" clId="{30A766B1-982E-4295-BCAD-093FA0E8E566}" dt="2023-01-18T05:33:07.832" v="14918"/>
          <ac:spMkLst>
            <pc:docMk/>
            <pc:sldMk cId="1703982882" sldId="2483"/>
            <ac:spMk id="5" creationId="{86CAE2C9-EDF7-4852-84A0-C90776FDB079}"/>
          </ac:spMkLst>
        </pc:spChg>
        <pc:spChg chg="mod">
          <ac:chgData name="Aurelien Domont" userId="6da7715ce44349b3" providerId="LiveId" clId="{30A766B1-982E-4295-BCAD-093FA0E8E566}" dt="2023-01-18T05:33:07.832" v="14918"/>
          <ac:spMkLst>
            <pc:docMk/>
            <pc:sldMk cId="1703982882" sldId="2483"/>
            <ac:spMk id="6" creationId="{5B68615C-09BB-44FA-A921-AC95EF1B9D41}"/>
          </ac:spMkLst>
        </pc:spChg>
        <pc:spChg chg="mod">
          <ac:chgData name="Aurelien Domont" userId="6da7715ce44349b3" providerId="LiveId" clId="{30A766B1-982E-4295-BCAD-093FA0E8E566}" dt="2023-01-18T05:33:07.832" v="14918"/>
          <ac:spMkLst>
            <pc:docMk/>
            <pc:sldMk cId="1703982882" sldId="2483"/>
            <ac:spMk id="7" creationId="{7BDDC00A-F4EE-4023-97F9-F12F8FFCC0E7}"/>
          </ac:spMkLst>
        </pc:spChg>
        <pc:spChg chg="mod">
          <ac:chgData name="Aurelien Domont" userId="6da7715ce44349b3" providerId="LiveId" clId="{30A766B1-982E-4295-BCAD-093FA0E8E566}" dt="2023-01-16T04:32:01.957" v="13649" actId="207"/>
          <ac:spMkLst>
            <pc:docMk/>
            <pc:sldMk cId="1703982882" sldId="2483"/>
            <ac:spMk id="8" creationId="{3D3703FD-6F0D-4A3D-850C-EA19E82D4788}"/>
          </ac:spMkLst>
        </pc:spChg>
      </pc:sldChg>
      <pc:sldChg chg="modSp add mod">
        <pc:chgData name="Aurelien Domont" userId="6da7715ce44349b3" providerId="LiveId" clId="{30A766B1-982E-4295-BCAD-093FA0E8E566}" dt="2023-01-18T05:33:07.832" v="14918"/>
        <pc:sldMkLst>
          <pc:docMk/>
          <pc:sldMk cId="3941798568" sldId="2484"/>
        </pc:sldMkLst>
        <pc:spChg chg="mod">
          <ac:chgData name="Aurelien Domont" userId="6da7715ce44349b3" providerId="LiveId" clId="{30A766B1-982E-4295-BCAD-093FA0E8E566}" dt="2023-01-18T05:33:07.832" v="14918"/>
          <ac:spMkLst>
            <pc:docMk/>
            <pc:sldMk cId="3941798568" sldId="2484"/>
            <ac:spMk id="3" creationId="{CE2529A3-BA97-486F-9E02-8DFAAA7D8D38}"/>
          </ac:spMkLst>
        </pc:spChg>
        <pc:spChg chg="mod">
          <ac:chgData name="Aurelien Domont" userId="6da7715ce44349b3" providerId="LiveId" clId="{30A766B1-982E-4295-BCAD-093FA0E8E566}" dt="2023-01-18T05:33:07.832" v="14918"/>
          <ac:spMkLst>
            <pc:docMk/>
            <pc:sldMk cId="3941798568" sldId="2484"/>
            <ac:spMk id="16" creationId="{6C2BB713-9637-4B9B-938F-E9768876782A}"/>
          </ac:spMkLst>
        </pc:spChg>
        <pc:picChg chg="mod">
          <ac:chgData name="Aurelien Domont" userId="6da7715ce44349b3" providerId="LiveId" clId="{30A766B1-982E-4295-BCAD-093FA0E8E566}" dt="2023-01-16T05:03:45.378" v="14122" actId="1076"/>
          <ac:picMkLst>
            <pc:docMk/>
            <pc:sldMk cId="3941798568" sldId="2484"/>
            <ac:picMk id="4" creationId="{E5C897EC-0EDA-7AE8-4AEC-C465F85EECB0}"/>
          </ac:picMkLst>
        </pc:picChg>
      </pc:sldChg>
      <pc:sldChg chg="modSp add mod">
        <pc:chgData name="Aurelien Domont" userId="6da7715ce44349b3" providerId="LiveId" clId="{30A766B1-982E-4295-BCAD-093FA0E8E566}" dt="2023-01-18T05:33:07.832" v="14918"/>
        <pc:sldMkLst>
          <pc:docMk/>
          <pc:sldMk cId="4203040611" sldId="2485"/>
        </pc:sldMkLst>
        <pc:spChg chg="mod">
          <ac:chgData name="Aurelien Domont" userId="6da7715ce44349b3" providerId="LiveId" clId="{30A766B1-982E-4295-BCAD-093FA0E8E566}" dt="2023-01-18T05:33:07.832" v="14918"/>
          <ac:spMkLst>
            <pc:docMk/>
            <pc:sldMk cId="4203040611" sldId="2485"/>
            <ac:spMk id="3" creationId="{CE2529A3-BA97-486F-9E02-8DFAAA7D8D38}"/>
          </ac:spMkLst>
        </pc:spChg>
        <pc:spChg chg="mod">
          <ac:chgData name="Aurelien Domont" userId="6da7715ce44349b3" providerId="LiveId" clId="{30A766B1-982E-4295-BCAD-093FA0E8E566}" dt="2023-01-18T05:33:07.832" v="14918"/>
          <ac:spMkLst>
            <pc:docMk/>
            <pc:sldMk cId="4203040611" sldId="2485"/>
            <ac:spMk id="16" creationId="{6C2BB713-9637-4B9B-938F-E9768876782A}"/>
          </ac:spMkLst>
        </pc:spChg>
        <pc:picChg chg="mod">
          <ac:chgData name="Aurelien Domont" userId="6da7715ce44349b3" providerId="LiveId" clId="{30A766B1-982E-4295-BCAD-093FA0E8E566}" dt="2023-01-16T05:08:58.664" v="14187" actId="1076"/>
          <ac:picMkLst>
            <pc:docMk/>
            <pc:sldMk cId="4203040611" sldId="2485"/>
            <ac:picMk id="8" creationId="{B1526C64-562E-4BB6-89BA-472EB092C290}"/>
          </ac:picMkLst>
        </pc:picChg>
      </pc:sldChg>
      <pc:sldChg chg="modSp add ord">
        <pc:chgData name="Aurelien Domont" userId="6da7715ce44349b3" providerId="LiveId" clId="{30A766B1-982E-4295-BCAD-093FA0E8E566}" dt="2023-01-19T00:35:00.406" v="15511"/>
        <pc:sldMkLst>
          <pc:docMk/>
          <pc:sldMk cId="1756636418" sldId="2486"/>
        </pc:sldMkLst>
        <pc:spChg chg="mod">
          <ac:chgData name="Aurelien Domont" userId="6da7715ce44349b3" providerId="LiveId" clId="{30A766B1-982E-4295-BCAD-093FA0E8E566}" dt="2023-01-18T05:33:07.832" v="14918"/>
          <ac:spMkLst>
            <pc:docMk/>
            <pc:sldMk cId="1756636418" sldId="2486"/>
            <ac:spMk id="3" creationId="{CE2529A3-BA97-486F-9E02-8DFAAA7D8D38}"/>
          </ac:spMkLst>
        </pc:spChg>
        <pc:spChg chg="mod">
          <ac:chgData name="Aurelien Domont" userId="6da7715ce44349b3" providerId="LiveId" clId="{30A766B1-982E-4295-BCAD-093FA0E8E566}" dt="2023-01-18T05:33:07.832" v="14918"/>
          <ac:spMkLst>
            <pc:docMk/>
            <pc:sldMk cId="1756636418" sldId="2486"/>
            <ac:spMk id="16" creationId="{6C2BB713-9637-4B9B-938F-E9768876782A}"/>
          </ac:spMkLst>
        </pc:spChg>
      </pc:sldChg>
      <pc:sldChg chg="addSp delSp modSp add mod">
        <pc:chgData name="Aurelien Domont" userId="6da7715ce44349b3" providerId="LiveId" clId="{30A766B1-982E-4295-BCAD-093FA0E8E566}" dt="2023-01-19T00:30:01.730" v="15501" actId="113"/>
        <pc:sldMkLst>
          <pc:docMk/>
          <pc:sldMk cId="2160862108" sldId="2487"/>
        </pc:sldMkLst>
        <pc:spChg chg="add del mod">
          <ac:chgData name="Aurelien Domont" userId="6da7715ce44349b3" providerId="LiveId" clId="{30A766B1-982E-4295-BCAD-093FA0E8E566}" dt="2023-01-18T06:28:11.801" v="15383" actId="478"/>
          <ac:spMkLst>
            <pc:docMk/>
            <pc:sldMk cId="2160862108" sldId="2487"/>
            <ac:spMk id="2" creationId="{1773EC5C-7131-A5D0-EBE9-A05A93145C26}"/>
          </ac:spMkLst>
        </pc:spChg>
        <pc:spChg chg="del">
          <ac:chgData name="Aurelien Domont" userId="6da7715ce44349b3" providerId="LiveId" clId="{30A766B1-982E-4295-BCAD-093FA0E8E566}" dt="2023-01-16T05:42:18.819" v="14396" actId="478"/>
          <ac:spMkLst>
            <pc:docMk/>
            <pc:sldMk cId="2160862108" sldId="2487"/>
            <ac:spMk id="2" creationId="{49195189-D29B-FE3D-FBE5-5689F7C564A7}"/>
          </ac:spMkLst>
        </pc:spChg>
        <pc:spChg chg="mod">
          <ac:chgData name="Aurelien Domont" userId="6da7715ce44349b3" providerId="LiveId" clId="{30A766B1-982E-4295-BCAD-093FA0E8E566}" dt="2023-01-18T05:33:07.832" v="14918"/>
          <ac:spMkLst>
            <pc:docMk/>
            <pc:sldMk cId="2160862108" sldId="2487"/>
            <ac:spMk id="3" creationId="{CE2529A3-BA97-486F-9E02-8DFAAA7D8D38}"/>
          </ac:spMkLst>
        </pc:spChg>
        <pc:spChg chg="del">
          <ac:chgData name="Aurelien Domont" userId="6da7715ce44349b3" providerId="LiveId" clId="{30A766B1-982E-4295-BCAD-093FA0E8E566}" dt="2023-01-16T05:42:18.819" v="14396" actId="478"/>
          <ac:spMkLst>
            <pc:docMk/>
            <pc:sldMk cId="2160862108" sldId="2487"/>
            <ac:spMk id="4" creationId="{B449BF5B-1C3C-31F7-35B0-3430FEE47F77}"/>
          </ac:spMkLst>
        </pc:spChg>
        <pc:spChg chg="add mod">
          <ac:chgData name="Aurelien Domont" userId="6da7715ce44349b3" providerId="LiveId" clId="{30A766B1-982E-4295-BCAD-093FA0E8E566}" dt="2023-01-19T00:30:01.730" v="15501" actId="113"/>
          <ac:spMkLst>
            <pc:docMk/>
            <pc:sldMk cId="2160862108" sldId="2487"/>
            <ac:spMk id="4" creationId="{E2BACFE8-7471-0CCA-33B7-2A753BB5E553}"/>
          </ac:spMkLst>
        </pc:spChg>
        <pc:spChg chg="del">
          <ac:chgData name="Aurelien Domont" userId="6da7715ce44349b3" providerId="LiveId" clId="{30A766B1-982E-4295-BCAD-093FA0E8E566}" dt="2023-01-16T05:42:18.819" v="14396" actId="478"/>
          <ac:spMkLst>
            <pc:docMk/>
            <pc:sldMk cId="2160862108" sldId="2487"/>
            <ac:spMk id="5" creationId="{F83CB017-8CBE-576D-0908-9C9FD5C1ADD2}"/>
          </ac:spMkLst>
        </pc:spChg>
        <pc:spChg chg="del">
          <ac:chgData name="Aurelien Domont" userId="6da7715ce44349b3" providerId="LiveId" clId="{30A766B1-982E-4295-BCAD-093FA0E8E566}" dt="2023-01-16T05:42:18.819" v="14396" actId="478"/>
          <ac:spMkLst>
            <pc:docMk/>
            <pc:sldMk cId="2160862108" sldId="2487"/>
            <ac:spMk id="6" creationId="{93ACD56B-E817-A09B-FB9C-5F0810CB63FF}"/>
          </ac:spMkLst>
        </pc:spChg>
        <pc:spChg chg="add del mod">
          <ac:chgData name="Aurelien Domont" userId="6da7715ce44349b3" providerId="LiveId" clId="{30A766B1-982E-4295-BCAD-093FA0E8E566}" dt="2023-01-18T05:55:08.972" v="15298" actId="478"/>
          <ac:spMkLst>
            <pc:docMk/>
            <pc:sldMk cId="2160862108" sldId="2487"/>
            <ac:spMk id="7" creationId="{747EF859-9EAB-B858-2235-60466A993635}"/>
          </ac:spMkLst>
        </pc:spChg>
        <pc:spChg chg="mod">
          <ac:chgData name="Aurelien Domont" userId="6da7715ce44349b3" providerId="LiveId" clId="{30A766B1-982E-4295-BCAD-093FA0E8E566}" dt="2023-01-18T06:28:20.834" v="15387" actId="14100"/>
          <ac:spMkLst>
            <pc:docMk/>
            <pc:sldMk cId="2160862108" sldId="2487"/>
            <ac:spMk id="16" creationId="{6C2BB713-9637-4B9B-938F-E9768876782A}"/>
          </ac:spMkLst>
        </pc:spChg>
        <pc:picChg chg="add mod">
          <ac:chgData name="Aurelien Domont" userId="6da7715ce44349b3" providerId="LiveId" clId="{30A766B1-982E-4295-BCAD-093FA0E8E566}" dt="2023-01-18T06:28:26.464" v="15389" actId="1076"/>
          <ac:picMkLst>
            <pc:docMk/>
            <pc:sldMk cId="2160862108" sldId="2487"/>
            <ac:picMk id="1026" creationId="{C627B5B4-3B99-6C76-9A9F-BBC9CE3BFE3D}"/>
          </ac:picMkLst>
        </pc:picChg>
      </pc:sldChg>
      <pc:sldChg chg="addSp delSp modSp add mod">
        <pc:chgData name="Aurelien Domont" userId="6da7715ce44349b3" providerId="LiveId" clId="{30A766B1-982E-4295-BCAD-093FA0E8E566}" dt="2023-01-19T00:32:56.433" v="15506" actId="113"/>
        <pc:sldMkLst>
          <pc:docMk/>
          <pc:sldMk cId="1158319604" sldId="2488"/>
        </pc:sldMkLst>
        <pc:spChg chg="del mod">
          <ac:chgData name="Aurelien Domont" userId="6da7715ce44349b3" providerId="LiveId" clId="{30A766B1-982E-4295-BCAD-093FA0E8E566}" dt="2023-01-18T06:29:07.476" v="15393" actId="478"/>
          <ac:spMkLst>
            <pc:docMk/>
            <pc:sldMk cId="1158319604" sldId="2488"/>
            <ac:spMk id="2" creationId="{1773EC5C-7131-A5D0-EBE9-A05A93145C26}"/>
          </ac:spMkLst>
        </pc:spChg>
        <pc:spChg chg="mod">
          <ac:chgData name="Aurelien Domont" userId="6da7715ce44349b3" providerId="LiveId" clId="{30A766B1-982E-4295-BCAD-093FA0E8E566}" dt="2023-01-19T00:32:56.433" v="15506" actId="113"/>
          <ac:spMkLst>
            <pc:docMk/>
            <pc:sldMk cId="1158319604" sldId="2488"/>
            <ac:spMk id="4" creationId="{E2BACFE8-7471-0CCA-33B7-2A753BB5E553}"/>
          </ac:spMkLst>
        </pc:spChg>
        <pc:spChg chg="mod">
          <ac:chgData name="Aurelien Domont" userId="6da7715ce44349b3" providerId="LiveId" clId="{30A766B1-982E-4295-BCAD-093FA0E8E566}" dt="2023-01-18T06:28:37.036" v="15390" actId="14100"/>
          <ac:spMkLst>
            <pc:docMk/>
            <pc:sldMk cId="1158319604" sldId="2488"/>
            <ac:spMk id="16" creationId="{6C2BB713-9637-4B9B-938F-E9768876782A}"/>
          </ac:spMkLst>
        </pc:spChg>
        <pc:picChg chg="add mod">
          <ac:chgData name="Aurelien Domont" userId="6da7715ce44349b3" providerId="LiveId" clId="{30A766B1-982E-4295-BCAD-093FA0E8E566}" dt="2023-01-18T06:29:15.907" v="15397" actId="1076"/>
          <ac:picMkLst>
            <pc:docMk/>
            <pc:sldMk cId="1158319604" sldId="2488"/>
            <ac:picMk id="2050" creationId="{E735A548-F3D4-EC6F-2664-A02245193E63}"/>
          </ac:picMkLst>
        </pc:picChg>
      </pc:sldChg>
      <pc:sldChg chg="addSp delSp modSp add del mod">
        <pc:chgData name="Aurelien Domont" userId="6da7715ce44349b3" providerId="LiveId" clId="{30A766B1-982E-4295-BCAD-093FA0E8E566}" dt="2023-01-18T05:33:11.559" v="14919" actId="47"/>
        <pc:sldMkLst>
          <pc:docMk/>
          <pc:sldMk cId="3598000625" sldId="2488"/>
        </pc:sldMkLst>
        <pc:spChg chg="mod">
          <ac:chgData name="Aurelien Domont" userId="6da7715ce44349b3" providerId="LiveId" clId="{30A766B1-982E-4295-BCAD-093FA0E8E566}" dt="2023-01-18T05:33:07.832" v="14918"/>
          <ac:spMkLst>
            <pc:docMk/>
            <pc:sldMk cId="3598000625" sldId="2488"/>
            <ac:spMk id="2" creationId="{DDC2D88E-5301-4473-A14F-4D99283C337B}"/>
          </ac:spMkLst>
        </pc:spChg>
        <pc:spChg chg="mod">
          <ac:chgData name="Aurelien Domont" userId="6da7715ce44349b3" providerId="LiveId" clId="{30A766B1-982E-4295-BCAD-093FA0E8E566}" dt="2023-01-18T05:33:07.832" v="14918"/>
          <ac:spMkLst>
            <pc:docMk/>
            <pc:sldMk cId="3598000625" sldId="2488"/>
            <ac:spMk id="3" creationId="{67F49DFD-1CB5-422A-958D-A08A65C88A85}"/>
          </ac:spMkLst>
        </pc:spChg>
        <pc:spChg chg="mod">
          <ac:chgData name="Aurelien Domont" userId="6da7715ce44349b3" providerId="LiveId" clId="{30A766B1-982E-4295-BCAD-093FA0E8E566}" dt="2023-01-18T05:33:07.832" v="14918"/>
          <ac:spMkLst>
            <pc:docMk/>
            <pc:sldMk cId="3598000625" sldId="2488"/>
            <ac:spMk id="4" creationId="{D780A33B-80E7-4372-B3E5-1F36E911C2A5}"/>
          </ac:spMkLst>
        </pc:spChg>
        <pc:spChg chg="mod">
          <ac:chgData name="Aurelien Domont" userId="6da7715ce44349b3" providerId="LiveId" clId="{30A766B1-982E-4295-BCAD-093FA0E8E566}" dt="2023-01-18T05:33:07.832" v="14918"/>
          <ac:spMkLst>
            <pc:docMk/>
            <pc:sldMk cId="3598000625" sldId="2488"/>
            <ac:spMk id="5" creationId="{86CAE2C9-EDF7-4852-84A0-C90776FDB079}"/>
          </ac:spMkLst>
        </pc:spChg>
        <pc:spChg chg="mod">
          <ac:chgData name="Aurelien Domont" userId="6da7715ce44349b3" providerId="LiveId" clId="{30A766B1-982E-4295-BCAD-093FA0E8E566}" dt="2023-01-18T05:33:07.832" v="14918"/>
          <ac:spMkLst>
            <pc:docMk/>
            <pc:sldMk cId="3598000625" sldId="2488"/>
            <ac:spMk id="6" creationId="{5B68615C-09BB-44FA-A921-AC95EF1B9D41}"/>
          </ac:spMkLst>
        </pc:spChg>
        <pc:spChg chg="mod">
          <ac:chgData name="Aurelien Domont" userId="6da7715ce44349b3" providerId="LiveId" clId="{30A766B1-982E-4295-BCAD-093FA0E8E566}" dt="2023-01-18T05:33:07.832" v="14918"/>
          <ac:spMkLst>
            <pc:docMk/>
            <pc:sldMk cId="3598000625" sldId="2488"/>
            <ac:spMk id="7" creationId="{7BDDC00A-F4EE-4023-97F9-F12F8FFCC0E7}"/>
          </ac:spMkLst>
        </pc:spChg>
        <pc:spChg chg="add del mod">
          <ac:chgData name="Aurelien Domont" userId="6da7715ce44349b3" providerId="LiveId" clId="{30A766B1-982E-4295-BCAD-093FA0E8E566}" dt="2023-01-18T05:31:41.808" v="14516" actId="478"/>
          <ac:spMkLst>
            <pc:docMk/>
            <pc:sldMk cId="3598000625" sldId="2488"/>
            <ac:spMk id="8" creationId="{3D3703FD-6F0D-4A3D-850C-EA19E82D4788}"/>
          </ac:spMkLst>
        </pc:spChg>
        <pc:spChg chg="add del mod">
          <ac:chgData name="Aurelien Domont" userId="6da7715ce44349b3" providerId="LiveId" clId="{30A766B1-982E-4295-BCAD-093FA0E8E566}" dt="2023-01-18T05:31:40.267" v="14515" actId="478"/>
          <ac:spMkLst>
            <pc:docMk/>
            <pc:sldMk cId="3598000625" sldId="2488"/>
            <ac:spMk id="9" creationId="{6E21DE37-478A-CB2A-3963-4302C6494C81}"/>
          </ac:spMkLst>
        </pc:spChg>
        <pc:spChg chg="add del mod">
          <ac:chgData name="Aurelien Domont" userId="6da7715ce44349b3" providerId="LiveId" clId="{30A766B1-982E-4295-BCAD-093FA0E8E566}" dt="2023-01-18T05:21:43.615" v="14505" actId="11529"/>
          <ac:spMkLst>
            <pc:docMk/>
            <pc:sldMk cId="3598000625" sldId="2488"/>
            <ac:spMk id="10" creationId="{A6BFB6C3-48BB-7DFC-8FEA-49FBF7B9F12D}"/>
          </ac:spMkLst>
        </pc:spChg>
        <pc:spChg chg="add del mod">
          <ac:chgData name="Aurelien Domont" userId="6da7715ce44349b3" providerId="LiveId" clId="{30A766B1-982E-4295-BCAD-093FA0E8E566}" dt="2023-01-18T05:21:40.576" v="14501" actId="11529"/>
          <ac:spMkLst>
            <pc:docMk/>
            <pc:sldMk cId="3598000625" sldId="2488"/>
            <ac:spMk id="11" creationId="{72A4E314-4F4E-6568-BE7B-630E342A163C}"/>
          </ac:spMkLst>
        </pc:spChg>
        <pc:spChg chg="add del mod">
          <ac:chgData name="Aurelien Domont" userId="6da7715ce44349b3" providerId="LiveId" clId="{30A766B1-982E-4295-BCAD-093FA0E8E566}" dt="2023-01-18T05:21:37.820" v="14499" actId="11529"/>
          <ac:spMkLst>
            <pc:docMk/>
            <pc:sldMk cId="3598000625" sldId="2488"/>
            <ac:spMk id="12" creationId="{D09A4C02-FCBF-16A9-C068-A84B370ED54C}"/>
          </ac:spMkLst>
        </pc:spChg>
        <pc:spChg chg="add del mod">
          <ac:chgData name="Aurelien Domont" userId="6da7715ce44349b3" providerId="LiveId" clId="{30A766B1-982E-4295-BCAD-093FA0E8E566}" dt="2023-01-18T05:21:37.040" v="14497" actId="767"/>
          <ac:spMkLst>
            <pc:docMk/>
            <pc:sldMk cId="3598000625" sldId="2488"/>
            <ac:spMk id="13" creationId="{CB65D83B-AD80-032E-34FB-4C9E178BFB82}"/>
          </ac:spMkLst>
        </pc:spChg>
        <pc:spChg chg="add del mod">
          <ac:chgData name="Aurelien Domont" userId="6da7715ce44349b3" providerId="LiveId" clId="{30A766B1-982E-4295-BCAD-093FA0E8E566}" dt="2023-01-18T05:21:32.558" v="14493" actId="11529"/>
          <ac:spMkLst>
            <pc:docMk/>
            <pc:sldMk cId="3598000625" sldId="2488"/>
            <ac:spMk id="14" creationId="{FC9B33B7-6720-43A7-0D12-D4B151F92EC7}"/>
          </ac:spMkLst>
        </pc:spChg>
        <pc:spChg chg="add del mod">
          <ac:chgData name="Aurelien Domont" userId="6da7715ce44349b3" providerId="LiveId" clId="{30A766B1-982E-4295-BCAD-093FA0E8E566}" dt="2023-01-18T05:21:31.774" v="14491" actId="767"/>
          <ac:spMkLst>
            <pc:docMk/>
            <pc:sldMk cId="3598000625" sldId="2488"/>
            <ac:spMk id="15" creationId="{81D8749E-9870-8C64-083F-20BCE745B5C5}"/>
          </ac:spMkLst>
        </pc:spChg>
      </pc:sldChg>
      <pc:sldChg chg="addSp delSp modSp add mod">
        <pc:chgData name="Aurelien Domont" userId="6da7715ce44349b3" providerId="LiveId" clId="{30A766B1-982E-4295-BCAD-093FA0E8E566}" dt="2023-01-19T00:33:59.263" v="15507" actId="113"/>
        <pc:sldMkLst>
          <pc:docMk/>
          <pc:sldMk cId="67415954" sldId="2489"/>
        </pc:sldMkLst>
        <pc:spChg chg="del mod">
          <ac:chgData name="Aurelien Domont" userId="6da7715ce44349b3" providerId="LiveId" clId="{30A766B1-982E-4295-BCAD-093FA0E8E566}" dt="2023-01-18T06:29:35.270" v="15398" actId="478"/>
          <ac:spMkLst>
            <pc:docMk/>
            <pc:sldMk cId="67415954" sldId="2489"/>
            <ac:spMk id="2" creationId="{1773EC5C-7131-A5D0-EBE9-A05A93145C26}"/>
          </ac:spMkLst>
        </pc:spChg>
        <pc:spChg chg="mod">
          <ac:chgData name="Aurelien Domont" userId="6da7715ce44349b3" providerId="LiveId" clId="{30A766B1-982E-4295-BCAD-093FA0E8E566}" dt="2023-01-19T00:33:59.263" v="15507" actId="113"/>
          <ac:spMkLst>
            <pc:docMk/>
            <pc:sldMk cId="67415954" sldId="2489"/>
            <ac:spMk id="4" creationId="{E2BACFE8-7471-0CCA-33B7-2A753BB5E553}"/>
          </ac:spMkLst>
        </pc:spChg>
        <pc:spChg chg="mod">
          <ac:chgData name="Aurelien Domont" userId="6da7715ce44349b3" providerId="LiveId" clId="{30A766B1-982E-4295-BCAD-093FA0E8E566}" dt="2023-01-18T06:28:41.505" v="15391" actId="14100"/>
          <ac:spMkLst>
            <pc:docMk/>
            <pc:sldMk cId="67415954" sldId="2489"/>
            <ac:spMk id="16" creationId="{6C2BB713-9637-4B9B-938F-E9768876782A}"/>
          </ac:spMkLst>
        </pc:spChg>
        <pc:picChg chg="add mod">
          <ac:chgData name="Aurelien Domont" userId="6da7715ce44349b3" providerId="LiveId" clId="{30A766B1-982E-4295-BCAD-093FA0E8E566}" dt="2023-01-18T06:29:40.559" v="15401" actId="1076"/>
          <ac:picMkLst>
            <pc:docMk/>
            <pc:sldMk cId="67415954" sldId="2489"/>
            <ac:picMk id="3074" creationId="{BD6B3C8C-1E14-DC3D-4ECF-9C3F3DBF4104}"/>
          </ac:picMkLst>
        </pc:picChg>
      </pc:sldChg>
      <pc:sldChg chg="delSp modSp add mod">
        <pc:chgData name="Aurelien Domont" userId="6da7715ce44349b3" providerId="LiveId" clId="{30A766B1-982E-4295-BCAD-093FA0E8E566}" dt="2023-01-19T00:38:31.357" v="15529"/>
        <pc:sldMkLst>
          <pc:docMk/>
          <pc:sldMk cId="2691849695" sldId="2490"/>
        </pc:sldMkLst>
        <pc:spChg chg="mod">
          <ac:chgData name="Aurelien Domont" userId="6da7715ce44349b3" providerId="LiveId" clId="{30A766B1-982E-4295-BCAD-093FA0E8E566}" dt="2023-01-19T00:38:31.357" v="15529"/>
          <ac:spMkLst>
            <pc:docMk/>
            <pc:sldMk cId="2691849695" sldId="2490"/>
            <ac:spMk id="16" creationId="{6C2BB713-9637-4B9B-938F-E9768876782A}"/>
          </ac:spMkLst>
        </pc:spChg>
        <pc:spChg chg="del">
          <ac:chgData name="Aurelien Domont" userId="6da7715ce44349b3" providerId="LiveId" clId="{30A766B1-982E-4295-BCAD-093FA0E8E566}" dt="2023-01-19T00:38:16.433" v="15527" actId="478"/>
          <ac:spMkLst>
            <pc:docMk/>
            <pc:sldMk cId="2691849695" sldId="2490"/>
            <ac:spMk id="36" creationId="{1986B372-8067-410F-8B7C-D1E7178372BB}"/>
          </ac:spMkLst>
        </pc:spChg>
        <pc:spChg chg="del">
          <ac:chgData name="Aurelien Domont" userId="6da7715ce44349b3" providerId="LiveId" clId="{30A766B1-982E-4295-BCAD-093FA0E8E566}" dt="2023-01-19T00:38:18.264" v="15528" actId="478"/>
          <ac:spMkLst>
            <pc:docMk/>
            <pc:sldMk cId="2691849695" sldId="2490"/>
            <ac:spMk id="41" creationId="{FDDBF77E-A1BA-4D55-8310-78BB8D57F4CA}"/>
          </ac:spMkLst>
        </pc:spChg>
        <pc:spChg chg="del">
          <ac:chgData name="Aurelien Domont" userId="6da7715ce44349b3" providerId="LiveId" clId="{30A766B1-982E-4295-BCAD-093FA0E8E566}" dt="2023-01-19T00:38:18.264" v="15528" actId="478"/>
          <ac:spMkLst>
            <pc:docMk/>
            <pc:sldMk cId="2691849695" sldId="2490"/>
            <ac:spMk id="44" creationId="{7AC00F69-A15C-4CC4-9D2A-F2208B8D37C3}"/>
          </ac:spMkLst>
        </pc:spChg>
        <pc:spChg chg="del">
          <ac:chgData name="Aurelien Domont" userId="6da7715ce44349b3" providerId="LiveId" clId="{30A766B1-982E-4295-BCAD-093FA0E8E566}" dt="2023-01-19T00:38:16.433" v="15527" actId="478"/>
          <ac:spMkLst>
            <pc:docMk/>
            <pc:sldMk cId="2691849695" sldId="2490"/>
            <ac:spMk id="55" creationId="{427DB4D8-C180-4658-AA84-15C6BE309756}"/>
          </ac:spMkLst>
        </pc:spChg>
        <pc:cxnChg chg="del mod">
          <ac:chgData name="Aurelien Domont" userId="6da7715ce44349b3" providerId="LiveId" clId="{30A766B1-982E-4295-BCAD-093FA0E8E566}" dt="2023-01-19T00:38:16.433" v="15527" actId="478"/>
          <ac:cxnSpMkLst>
            <pc:docMk/>
            <pc:sldMk cId="2691849695" sldId="2490"/>
            <ac:cxnSpMk id="29" creationId="{6F2BA6BB-1F7D-4C9C-AA14-97D7830489CA}"/>
          </ac:cxnSpMkLst>
        </pc:cxnChg>
        <pc:cxnChg chg="del">
          <ac:chgData name="Aurelien Domont" userId="6da7715ce44349b3" providerId="LiveId" clId="{30A766B1-982E-4295-BCAD-093FA0E8E566}" dt="2023-01-19T00:38:18.264" v="15528" actId="478"/>
          <ac:cxnSpMkLst>
            <pc:docMk/>
            <pc:sldMk cId="2691849695" sldId="2490"/>
            <ac:cxnSpMk id="40" creationId="{7DC435C7-72F7-4452-A605-1CC928EB7321}"/>
          </ac:cxnSpMkLst>
        </pc:cxnChg>
        <pc:cxnChg chg="del mod">
          <ac:chgData name="Aurelien Domont" userId="6da7715ce44349b3" providerId="LiveId" clId="{30A766B1-982E-4295-BCAD-093FA0E8E566}" dt="2023-01-19T00:38:18.264" v="15528" actId="478"/>
          <ac:cxnSpMkLst>
            <pc:docMk/>
            <pc:sldMk cId="2691849695" sldId="2490"/>
            <ac:cxnSpMk id="42" creationId="{CBF05F7B-24D5-4569-B49B-093167EF08C2}"/>
          </ac:cxnSpMkLst>
        </pc:cxnChg>
        <pc:cxnChg chg="del">
          <ac:chgData name="Aurelien Domont" userId="6da7715ce44349b3" providerId="LiveId" clId="{30A766B1-982E-4295-BCAD-093FA0E8E566}" dt="2023-01-19T00:38:16.433" v="15527" actId="478"/>
          <ac:cxnSpMkLst>
            <pc:docMk/>
            <pc:sldMk cId="2691849695" sldId="2490"/>
            <ac:cxnSpMk id="45" creationId="{E5E863B6-378E-4293-BD82-9F8BFAE1DCD7}"/>
          </ac:cxnSpMkLst>
        </pc:cxnChg>
      </pc:sldChg>
      <pc:sldChg chg="add">
        <pc:chgData name="Aurelien Domont" userId="6da7715ce44349b3" providerId="LiveId" clId="{30A766B1-982E-4295-BCAD-093FA0E8E566}" dt="2023-01-19T00:38:12.664" v="15526"/>
        <pc:sldMkLst>
          <pc:docMk/>
          <pc:sldMk cId="1115721737" sldId="2491"/>
        </pc:sldMkLst>
      </pc:sldChg>
      <pc:sldChg chg="addSp delSp modSp add mod">
        <pc:chgData name="Aurelien Domont" userId="6da7715ce44349b3" providerId="LiveId" clId="{30A766B1-982E-4295-BCAD-093FA0E8E566}" dt="2023-01-19T22:59:01.293" v="15938"/>
        <pc:sldMkLst>
          <pc:docMk/>
          <pc:sldMk cId="1490095266" sldId="2492"/>
        </pc:sldMkLst>
        <pc:spChg chg="del">
          <ac:chgData name="Aurelien Domont" userId="6da7715ce44349b3" providerId="LiveId" clId="{30A766B1-982E-4295-BCAD-093FA0E8E566}" dt="2023-01-19T22:59:01.044" v="15937" actId="478"/>
          <ac:spMkLst>
            <pc:docMk/>
            <pc:sldMk cId="1490095266" sldId="2492"/>
            <ac:spMk id="6" creationId="{2EE7932B-CD5C-F3C9-D512-3646C12FE601}"/>
          </ac:spMkLst>
        </pc:spChg>
        <pc:spChg chg="mod">
          <ac:chgData name="Aurelien Domont" userId="6da7715ce44349b3" providerId="LiveId" clId="{30A766B1-982E-4295-BCAD-093FA0E8E566}" dt="2023-01-19T00:40:20.205" v="15615" actId="207"/>
          <ac:spMkLst>
            <pc:docMk/>
            <pc:sldMk cId="1490095266" sldId="2492"/>
            <ac:spMk id="9" creationId="{0F4B39A0-2803-47D9-93AE-F99798C91F06}"/>
          </ac:spMkLst>
        </pc:spChg>
        <pc:spChg chg="add mod">
          <ac:chgData name="Aurelien Domont" userId="6da7715ce44349b3" providerId="LiveId" clId="{30A766B1-982E-4295-BCAD-093FA0E8E566}" dt="2023-01-19T22:59:01.293" v="15938"/>
          <ac:spMkLst>
            <pc:docMk/>
            <pc:sldMk cId="1490095266" sldId="2492"/>
            <ac:spMk id="14" creationId="{EA25B162-AE9F-8B60-B367-C05844F3C37C}"/>
          </ac:spMkLst>
        </pc:spChg>
        <pc:spChg chg="mod">
          <ac:chgData name="Aurelien Domont" userId="6da7715ce44349b3" providerId="LiveId" clId="{30A766B1-982E-4295-BCAD-093FA0E8E566}" dt="2023-01-19T00:40:15.642" v="15614" actId="20577"/>
          <ac:spMkLst>
            <pc:docMk/>
            <pc:sldMk cId="1490095266" sldId="2492"/>
            <ac:spMk id="16" creationId="{6C2BB713-9637-4B9B-938F-E9768876782A}"/>
          </ac:spMkLst>
        </pc:spChg>
      </pc:sldChg>
      <pc:sldChg chg="addSp modSp add mod">
        <pc:chgData name="Aurelien Domont" userId="6da7715ce44349b3" providerId="LiveId" clId="{30A766B1-982E-4295-BCAD-093FA0E8E566}" dt="2023-01-19T22:57:29.906" v="15934" actId="948"/>
        <pc:sldMkLst>
          <pc:docMk/>
          <pc:sldMk cId="807404470" sldId="2493"/>
        </pc:sldMkLst>
        <pc:spChg chg="mod">
          <ac:chgData name="Aurelien Domont" userId="6da7715ce44349b3" providerId="LiveId" clId="{30A766B1-982E-4295-BCAD-093FA0E8E566}" dt="2023-01-19T22:57:29.906" v="15934" actId="948"/>
          <ac:spMkLst>
            <pc:docMk/>
            <pc:sldMk cId="807404470" sldId="2493"/>
            <ac:spMk id="6" creationId="{2EE7932B-CD5C-F3C9-D512-3646C12FE601}"/>
          </ac:spMkLst>
        </pc:spChg>
        <pc:spChg chg="add mod ord">
          <ac:chgData name="Aurelien Domont" userId="6da7715ce44349b3" providerId="LiveId" clId="{30A766B1-982E-4295-BCAD-093FA0E8E566}" dt="2023-01-19T00:45:26.592" v="15641" actId="167"/>
          <ac:spMkLst>
            <pc:docMk/>
            <pc:sldMk cId="807404470" sldId="2493"/>
            <ac:spMk id="14" creationId="{43224BB0-1C51-DFBB-5B34-D3B6408426E1}"/>
          </ac:spMkLst>
        </pc:spChg>
        <pc:spChg chg="mod">
          <ac:chgData name="Aurelien Domont" userId="6da7715ce44349b3" providerId="LiveId" clId="{30A766B1-982E-4295-BCAD-093FA0E8E566}" dt="2023-01-19T00:40:29.625" v="15634" actId="6549"/>
          <ac:spMkLst>
            <pc:docMk/>
            <pc:sldMk cId="807404470" sldId="2493"/>
            <ac:spMk id="16" creationId="{6C2BB713-9637-4B9B-938F-E9768876782A}"/>
          </ac:spMkLst>
        </pc:spChg>
      </pc:sldChg>
      <pc:sldChg chg="addSp delSp modSp add del mod">
        <pc:chgData name="Aurelien Domont" userId="6da7715ce44349b3" providerId="LiveId" clId="{30A766B1-982E-4295-BCAD-093FA0E8E566}" dt="2023-01-19T22:59:09.282" v="15940"/>
        <pc:sldMkLst>
          <pc:docMk/>
          <pc:sldMk cId="280598628" sldId="2494"/>
        </pc:sldMkLst>
        <pc:spChg chg="add mod">
          <ac:chgData name="Aurelien Domont" userId="6da7715ce44349b3" providerId="LiveId" clId="{30A766B1-982E-4295-BCAD-093FA0E8E566}" dt="2023-01-19T22:59:09.282" v="15940"/>
          <ac:spMkLst>
            <pc:docMk/>
            <pc:sldMk cId="280598628" sldId="2494"/>
            <ac:spMk id="2" creationId="{38C045A9-7B8D-69FA-7C21-2EAD0589A440}"/>
          </ac:spMkLst>
        </pc:spChg>
        <pc:spChg chg="del">
          <ac:chgData name="Aurelien Domont" userId="6da7715ce44349b3" providerId="LiveId" clId="{30A766B1-982E-4295-BCAD-093FA0E8E566}" dt="2023-01-19T00:55:53.141" v="15746" actId="478"/>
          <ac:spMkLst>
            <pc:docMk/>
            <pc:sldMk cId="280598628" sldId="2494"/>
            <ac:spMk id="2" creationId="{C80C9E7D-AC47-08CE-AE6D-8369C61020CF}"/>
          </ac:spMkLst>
        </pc:spChg>
        <pc:spChg chg="del">
          <ac:chgData name="Aurelien Domont" userId="6da7715ce44349b3" providerId="LiveId" clId="{30A766B1-982E-4295-BCAD-093FA0E8E566}" dt="2023-01-19T22:59:08.888" v="15939" actId="478"/>
          <ac:spMkLst>
            <pc:docMk/>
            <pc:sldMk cId="280598628" sldId="2494"/>
            <ac:spMk id="6" creationId="{2EE7932B-CD5C-F3C9-D512-3646C12FE601}"/>
          </ac:spMkLst>
        </pc:spChg>
        <pc:spChg chg="mod">
          <ac:chgData name="Aurelien Domont" userId="6da7715ce44349b3" providerId="LiveId" clId="{30A766B1-982E-4295-BCAD-093FA0E8E566}" dt="2023-01-19T00:46:49.058" v="15668" actId="14100"/>
          <ac:spMkLst>
            <pc:docMk/>
            <pc:sldMk cId="280598628" sldId="2494"/>
            <ac:spMk id="14" creationId="{43224BB0-1C51-DFBB-5B34-D3B6408426E1}"/>
          </ac:spMkLst>
        </pc:spChg>
      </pc:sldChg>
      <pc:sldChg chg="add ord">
        <pc:chgData name="Aurelien Domont" userId="6da7715ce44349b3" providerId="LiveId" clId="{30A766B1-982E-4295-BCAD-093FA0E8E566}" dt="2023-01-19T00:50:52.372" v="15671"/>
        <pc:sldMkLst>
          <pc:docMk/>
          <pc:sldMk cId="684264430" sldId="2495"/>
        </pc:sldMkLst>
      </pc:sldChg>
      <pc:sldChg chg="addSp delSp modSp add mod">
        <pc:chgData name="Aurelien Domont" userId="6da7715ce44349b3" providerId="LiveId" clId="{30A766B1-982E-4295-BCAD-093FA0E8E566}" dt="2023-01-19T01:26:26.196" v="15752" actId="20577"/>
        <pc:sldMkLst>
          <pc:docMk/>
          <pc:sldMk cId="4258490062" sldId="2496"/>
        </pc:sldMkLst>
        <pc:spChg chg="add del">
          <ac:chgData name="Aurelien Domont" userId="6da7715ce44349b3" providerId="LiveId" clId="{30A766B1-982E-4295-BCAD-093FA0E8E566}" dt="2023-01-19T00:51:55.248" v="15702" actId="478"/>
          <ac:spMkLst>
            <pc:docMk/>
            <pc:sldMk cId="4258490062" sldId="2496"/>
            <ac:spMk id="3" creationId="{CE2529A3-BA97-486F-9E02-8DFAAA7D8D38}"/>
          </ac:spMkLst>
        </pc:spChg>
        <pc:spChg chg="del mod">
          <ac:chgData name="Aurelien Domont" userId="6da7715ce44349b3" providerId="LiveId" clId="{30A766B1-982E-4295-BCAD-093FA0E8E566}" dt="2023-01-19T00:52:01.126" v="15704" actId="478"/>
          <ac:spMkLst>
            <pc:docMk/>
            <pc:sldMk cId="4258490062" sldId="2496"/>
            <ac:spMk id="8" creationId="{A59D9EB3-E9B5-436C-B84C-64290C638E46}"/>
          </ac:spMkLst>
        </pc:spChg>
        <pc:spChg chg="mod">
          <ac:chgData name="Aurelien Domont" userId="6da7715ce44349b3" providerId="LiveId" clId="{30A766B1-982E-4295-BCAD-093FA0E8E566}" dt="2023-01-19T00:51:19.393" v="15694" actId="20577"/>
          <ac:spMkLst>
            <pc:docMk/>
            <pc:sldMk cId="4258490062" sldId="2496"/>
            <ac:spMk id="16" creationId="{6C2BB713-9637-4B9B-938F-E9768876782A}"/>
          </ac:spMkLst>
        </pc:spChg>
        <pc:spChg chg="mod">
          <ac:chgData name="Aurelien Domont" userId="6da7715ce44349b3" providerId="LiveId" clId="{30A766B1-982E-4295-BCAD-093FA0E8E566}" dt="2023-01-19T00:54:14.502" v="15744" actId="14861"/>
          <ac:spMkLst>
            <pc:docMk/>
            <pc:sldMk cId="4258490062" sldId="2496"/>
            <ac:spMk id="24" creationId="{83A9CD77-ADAB-41C7-817C-8A06F22EB74B}"/>
          </ac:spMkLst>
        </pc:spChg>
        <pc:spChg chg="mod">
          <ac:chgData name="Aurelien Domont" userId="6da7715ce44349b3" providerId="LiveId" clId="{30A766B1-982E-4295-BCAD-093FA0E8E566}" dt="2023-01-19T01:26:26.196" v="15752" actId="20577"/>
          <ac:spMkLst>
            <pc:docMk/>
            <pc:sldMk cId="4258490062" sldId="2496"/>
            <ac:spMk id="27" creationId="{AC8B7369-7E6F-43E6-96D5-9FE68700ADE3}"/>
          </ac:spMkLst>
        </pc:spChg>
      </pc:sldChg>
      <pc:sldChg chg="addSp delSp modSp add mod">
        <pc:chgData name="Aurelien Domont" userId="6da7715ce44349b3" providerId="LiveId" clId="{30A766B1-982E-4295-BCAD-093FA0E8E566}" dt="2023-01-19T01:33:52.427" v="15885" actId="207"/>
        <pc:sldMkLst>
          <pc:docMk/>
          <pc:sldMk cId="4151806883" sldId="2497"/>
        </pc:sldMkLst>
        <pc:spChg chg="add mod">
          <ac:chgData name="Aurelien Domont" userId="6da7715ce44349b3" providerId="LiveId" clId="{30A766B1-982E-4295-BCAD-093FA0E8E566}" dt="2023-01-19T01:33:41.746" v="15882" actId="207"/>
          <ac:spMkLst>
            <pc:docMk/>
            <pc:sldMk cId="4151806883" sldId="2497"/>
            <ac:spMk id="4" creationId="{1532184E-D580-6EB4-C439-6DF17DE26BA3}"/>
          </ac:spMkLst>
        </pc:spChg>
        <pc:spChg chg="add mod ord">
          <ac:chgData name="Aurelien Domont" userId="6da7715ce44349b3" providerId="LiveId" clId="{30A766B1-982E-4295-BCAD-093FA0E8E566}" dt="2023-01-19T01:33:41.746" v="15882" actId="207"/>
          <ac:spMkLst>
            <pc:docMk/>
            <pc:sldMk cId="4151806883" sldId="2497"/>
            <ac:spMk id="5" creationId="{C0D3CC75-CC81-FC94-13B6-625B51AD0746}"/>
          </ac:spMkLst>
        </pc:spChg>
        <pc:spChg chg="add mod ord">
          <ac:chgData name="Aurelien Domont" userId="6da7715ce44349b3" providerId="LiveId" clId="{30A766B1-982E-4295-BCAD-093FA0E8E566}" dt="2023-01-19T01:33:45.175" v="15883" actId="207"/>
          <ac:spMkLst>
            <pc:docMk/>
            <pc:sldMk cId="4151806883" sldId="2497"/>
            <ac:spMk id="6" creationId="{7B9672FA-CA42-07F0-1DCE-AB329B4896B1}"/>
          </ac:spMkLst>
        </pc:spChg>
        <pc:spChg chg="add mod">
          <ac:chgData name="Aurelien Domont" userId="6da7715ce44349b3" providerId="LiveId" clId="{30A766B1-982E-4295-BCAD-093FA0E8E566}" dt="2023-01-19T01:33:41.746" v="15882" actId="207"/>
          <ac:spMkLst>
            <pc:docMk/>
            <pc:sldMk cId="4151806883" sldId="2497"/>
            <ac:spMk id="7" creationId="{90227B2E-8CED-0BB6-85E7-EFB17433B020}"/>
          </ac:spMkLst>
        </pc:spChg>
        <pc:spChg chg="del mod">
          <ac:chgData name="Aurelien Domont" userId="6da7715ce44349b3" providerId="LiveId" clId="{30A766B1-982E-4295-BCAD-093FA0E8E566}" dt="2023-01-19T00:51:47.334" v="15700" actId="478"/>
          <ac:spMkLst>
            <pc:docMk/>
            <pc:sldMk cId="4151806883" sldId="2497"/>
            <ac:spMk id="8" creationId="{A59D9EB3-E9B5-436C-B84C-64290C638E46}"/>
          </ac:spMkLst>
        </pc:spChg>
        <pc:spChg chg="add mod">
          <ac:chgData name="Aurelien Domont" userId="6da7715ce44349b3" providerId="LiveId" clId="{30A766B1-982E-4295-BCAD-093FA0E8E566}" dt="2023-01-19T01:32:27.707" v="15855" actId="1076"/>
          <ac:spMkLst>
            <pc:docMk/>
            <pc:sldMk cId="4151806883" sldId="2497"/>
            <ac:spMk id="10" creationId="{C1AFF837-7FAB-6BAE-A19B-3497252C435B}"/>
          </ac:spMkLst>
        </pc:spChg>
        <pc:spChg chg="add mod">
          <ac:chgData name="Aurelien Domont" userId="6da7715ce44349b3" providerId="LiveId" clId="{30A766B1-982E-4295-BCAD-093FA0E8E566}" dt="2023-01-19T01:32:59.332" v="15877" actId="20577"/>
          <ac:spMkLst>
            <pc:docMk/>
            <pc:sldMk cId="4151806883" sldId="2497"/>
            <ac:spMk id="11" creationId="{E2907E7C-1C71-D900-688C-B9FA9727CBA2}"/>
          </ac:spMkLst>
        </pc:spChg>
        <pc:spChg chg="add mod">
          <ac:chgData name="Aurelien Domont" userId="6da7715ce44349b3" providerId="LiveId" clId="{30A766B1-982E-4295-BCAD-093FA0E8E566}" dt="2023-01-19T01:33:52.427" v="15885" actId="207"/>
          <ac:spMkLst>
            <pc:docMk/>
            <pc:sldMk cId="4151806883" sldId="2497"/>
            <ac:spMk id="12" creationId="{4FA1CA66-BC14-E881-1D25-5D016256444F}"/>
          </ac:spMkLst>
        </pc:spChg>
        <pc:spChg chg="add mod">
          <ac:chgData name="Aurelien Domont" userId="6da7715ce44349b3" providerId="LiveId" clId="{30A766B1-982E-4295-BCAD-093FA0E8E566}" dt="2023-01-19T01:33:49.826" v="15884" actId="207"/>
          <ac:spMkLst>
            <pc:docMk/>
            <pc:sldMk cId="4151806883" sldId="2497"/>
            <ac:spMk id="14" creationId="{58D1085D-D0F3-E285-8266-297038B39FA3}"/>
          </ac:spMkLst>
        </pc:spChg>
        <pc:spChg chg="mod">
          <ac:chgData name="Aurelien Domont" userId="6da7715ce44349b3" providerId="LiveId" clId="{30A766B1-982E-4295-BCAD-093FA0E8E566}" dt="2023-01-19T00:51:34.817" v="15697"/>
          <ac:spMkLst>
            <pc:docMk/>
            <pc:sldMk cId="4151806883" sldId="2497"/>
            <ac:spMk id="16" creationId="{6C2BB713-9637-4B9B-938F-E9768876782A}"/>
          </ac:spMkLst>
        </pc:spChg>
        <pc:spChg chg="del">
          <ac:chgData name="Aurelien Domont" userId="6da7715ce44349b3" providerId="LiveId" clId="{30A766B1-982E-4295-BCAD-093FA0E8E566}" dt="2023-01-19T00:51:41.635" v="15698" actId="478"/>
          <ac:spMkLst>
            <pc:docMk/>
            <pc:sldMk cId="4151806883" sldId="2497"/>
            <ac:spMk id="89" creationId="{F54E783C-428C-4ACB-9CCA-0F131DFBCD93}"/>
          </ac:spMkLst>
        </pc:spChg>
        <pc:spChg chg="del">
          <ac:chgData name="Aurelien Domont" userId="6da7715ce44349b3" providerId="LiveId" clId="{30A766B1-982E-4295-BCAD-093FA0E8E566}" dt="2023-01-19T00:51:41.635" v="15698" actId="478"/>
          <ac:spMkLst>
            <pc:docMk/>
            <pc:sldMk cId="4151806883" sldId="2497"/>
            <ac:spMk id="91" creationId="{54D58893-7FD7-4B48-A7C1-C595BE4567CB}"/>
          </ac:spMkLst>
        </pc:spChg>
        <pc:spChg chg="del">
          <ac:chgData name="Aurelien Domont" userId="6da7715ce44349b3" providerId="LiveId" clId="{30A766B1-982E-4295-BCAD-093FA0E8E566}" dt="2023-01-19T00:51:41.635" v="15698" actId="478"/>
          <ac:spMkLst>
            <pc:docMk/>
            <pc:sldMk cId="4151806883" sldId="2497"/>
            <ac:spMk id="93" creationId="{1A4ECCBD-515E-4F51-BCA3-54EA0A8EDE51}"/>
          </ac:spMkLst>
        </pc:spChg>
        <pc:spChg chg="del">
          <ac:chgData name="Aurelien Domont" userId="6da7715ce44349b3" providerId="LiveId" clId="{30A766B1-982E-4295-BCAD-093FA0E8E566}" dt="2023-01-19T00:51:41.635" v="15698" actId="478"/>
          <ac:spMkLst>
            <pc:docMk/>
            <pc:sldMk cId="4151806883" sldId="2497"/>
            <ac:spMk id="95" creationId="{2E62BF26-0BD5-4C16-B50A-E8AB06F59149}"/>
          </ac:spMkLst>
        </pc:spChg>
        <pc:spChg chg="del">
          <ac:chgData name="Aurelien Domont" userId="6da7715ce44349b3" providerId="LiveId" clId="{30A766B1-982E-4295-BCAD-093FA0E8E566}" dt="2023-01-19T00:51:41.635" v="15698" actId="478"/>
          <ac:spMkLst>
            <pc:docMk/>
            <pc:sldMk cId="4151806883" sldId="2497"/>
            <ac:spMk id="97" creationId="{E9A1FE48-7DED-42D8-9EEA-66D13AF51B14}"/>
          </ac:spMkLst>
        </pc:spChg>
        <pc:spChg chg="del">
          <ac:chgData name="Aurelien Domont" userId="6da7715ce44349b3" providerId="LiveId" clId="{30A766B1-982E-4295-BCAD-093FA0E8E566}" dt="2023-01-19T00:51:41.635" v="15698" actId="478"/>
          <ac:spMkLst>
            <pc:docMk/>
            <pc:sldMk cId="4151806883" sldId="2497"/>
            <ac:spMk id="99" creationId="{57879DAA-2D93-4C41-90CB-9990152B7F4B}"/>
          </ac:spMkLst>
        </pc:spChg>
        <pc:spChg chg="del">
          <ac:chgData name="Aurelien Domont" userId="6da7715ce44349b3" providerId="LiveId" clId="{30A766B1-982E-4295-BCAD-093FA0E8E566}" dt="2023-01-19T00:51:41.635" v="15698" actId="478"/>
          <ac:spMkLst>
            <pc:docMk/>
            <pc:sldMk cId="4151806883" sldId="2497"/>
            <ac:spMk id="107" creationId="{0BDA9A82-E924-430D-9FAA-D2F2656047A3}"/>
          </ac:spMkLst>
        </pc:spChg>
        <pc:spChg chg="del">
          <ac:chgData name="Aurelien Domont" userId="6da7715ce44349b3" providerId="LiveId" clId="{30A766B1-982E-4295-BCAD-093FA0E8E566}" dt="2023-01-19T00:51:41.635" v="15698" actId="478"/>
          <ac:spMkLst>
            <pc:docMk/>
            <pc:sldMk cId="4151806883" sldId="2497"/>
            <ac:spMk id="108" creationId="{F187D779-DD9A-4690-A588-C3CBD7379D94}"/>
          </ac:spMkLst>
        </pc:spChg>
        <pc:spChg chg="del">
          <ac:chgData name="Aurelien Domont" userId="6da7715ce44349b3" providerId="LiveId" clId="{30A766B1-982E-4295-BCAD-093FA0E8E566}" dt="2023-01-19T00:51:41.635" v="15698" actId="478"/>
          <ac:spMkLst>
            <pc:docMk/>
            <pc:sldMk cId="4151806883" sldId="2497"/>
            <ac:spMk id="109" creationId="{F150C235-DE43-4A20-848E-D896195FF30B}"/>
          </ac:spMkLst>
        </pc:spChg>
        <pc:spChg chg="del">
          <ac:chgData name="Aurelien Domont" userId="6da7715ce44349b3" providerId="LiveId" clId="{30A766B1-982E-4295-BCAD-093FA0E8E566}" dt="2023-01-19T00:51:41.635" v="15698" actId="478"/>
          <ac:spMkLst>
            <pc:docMk/>
            <pc:sldMk cId="4151806883" sldId="2497"/>
            <ac:spMk id="110" creationId="{A2A2EAAE-0A45-4E50-A000-25AA391DA155}"/>
          </ac:spMkLst>
        </pc:spChg>
        <pc:spChg chg="del">
          <ac:chgData name="Aurelien Domont" userId="6da7715ce44349b3" providerId="LiveId" clId="{30A766B1-982E-4295-BCAD-093FA0E8E566}" dt="2023-01-19T00:51:41.635" v="15698" actId="478"/>
          <ac:spMkLst>
            <pc:docMk/>
            <pc:sldMk cId="4151806883" sldId="2497"/>
            <ac:spMk id="111" creationId="{2853A9F0-3963-4AD3-829D-D05935F85A13}"/>
          </ac:spMkLst>
        </pc:spChg>
        <pc:spChg chg="del">
          <ac:chgData name="Aurelien Domont" userId="6da7715ce44349b3" providerId="LiveId" clId="{30A766B1-982E-4295-BCAD-093FA0E8E566}" dt="2023-01-19T00:51:41.635" v="15698" actId="478"/>
          <ac:spMkLst>
            <pc:docMk/>
            <pc:sldMk cId="4151806883" sldId="2497"/>
            <ac:spMk id="112" creationId="{7176793C-AA87-4217-BCE0-BCBC44DA53B0}"/>
          </ac:spMkLst>
        </pc:spChg>
        <pc:grpChg chg="add mod">
          <ac:chgData name="Aurelien Domont" userId="6da7715ce44349b3" providerId="LiveId" clId="{30A766B1-982E-4295-BCAD-093FA0E8E566}" dt="2023-01-19T01:33:41.746" v="15882" actId="207"/>
          <ac:grpSpMkLst>
            <pc:docMk/>
            <pc:sldMk cId="4151806883" sldId="2497"/>
            <ac:grpSpMk id="9" creationId="{DBEC32E9-A84E-912B-FE89-86623D75F248}"/>
          </ac:grpSpMkLst>
        </pc:grpChg>
        <pc:grpChg chg="del">
          <ac:chgData name="Aurelien Domont" userId="6da7715ce44349b3" providerId="LiveId" clId="{30A766B1-982E-4295-BCAD-093FA0E8E566}" dt="2023-01-19T00:51:41.635" v="15698" actId="478"/>
          <ac:grpSpMkLst>
            <pc:docMk/>
            <pc:sldMk cId="4151806883" sldId="2497"/>
            <ac:grpSpMk id="101" creationId="{9F7B51F1-EED4-4C9A-94F8-AA781FBA6414}"/>
          </ac:grpSpMkLst>
        </pc:grpChg>
        <pc:picChg chg="add del">
          <ac:chgData name="Aurelien Domont" userId="6da7715ce44349b3" providerId="LiveId" clId="{30A766B1-982E-4295-BCAD-093FA0E8E566}" dt="2023-01-19T00:51:29.236" v="15696"/>
          <ac:picMkLst>
            <pc:docMk/>
            <pc:sldMk cId="4151806883" sldId="2497"/>
            <ac:picMk id="2" creationId="{C94E3FC0-6667-49F5-7D95-652B1DA86CD0}"/>
          </ac:picMkLst>
        </pc:picChg>
      </pc:sldChg>
      <pc:sldChg chg="delSp add del mod">
        <pc:chgData name="Aurelien Domont" userId="6da7715ce44349b3" providerId="LiveId" clId="{30A766B1-982E-4295-BCAD-093FA0E8E566}" dt="2023-01-19T00:52:37.134" v="15714" actId="47"/>
        <pc:sldMkLst>
          <pc:docMk/>
          <pc:sldMk cId="3606924809" sldId="2498"/>
        </pc:sldMkLst>
        <pc:spChg chg="del">
          <ac:chgData name="Aurelien Domont" userId="6da7715ce44349b3" providerId="LiveId" clId="{30A766B1-982E-4295-BCAD-093FA0E8E566}" dt="2023-01-19T00:52:10.110" v="15705" actId="478"/>
          <ac:spMkLst>
            <pc:docMk/>
            <pc:sldMk cId="3606924809" sldId="2498"/>
            <ac:spMk id="8" creationId="{A59D9EB3-E9B5-436C-B84C-64290C638E46}"/>
          </ac:spMkLst>
        </pc:spChg>
      </pc:sldChg>
      <pc:sldChg chg="add del">
        <pc:chgData name="Aurelien Domont" userId="6da7715ce44349b3" providerId="LiveId" clId="{30A766B1-982E-4295-BCAD-093FA0E8E566}" dt="2023-01-19T00:53:47.431" v="15736" actId="47"/>
        <pc:sldMkLst>
          <pc:docMk/>
          <pc:sldMk cId="4264435582" sldId="2499"/>
        </pc:sldMkLst>
      </pc:sldChg>
      <pc:sldChg chg="add del">
        <pc:chgData name="Aurelien Domont" userId="6da7715ce44349b3" providerId="LiveId" clId="{30A766B1-982E-4295-BCAD-093FA0E8E566}" dt="2023-01-19T00:53:48.749" v="15737" actId="47"/>
        <pc:sldMkLst>
          <pc:docMk/>
          <pc:sldMk cId="19185664" sldId="2500"/>
        </pc:sldMkLst>
      </pc:sldChg>
      <pc:sldChg chg="addSp modSp add mod">
        <pc:chgData name="Aurelien Domont" userId="6da7715ce44349b3" providerId="LiveId" clId="{30A766B1-982E-4295-BCAD-093FA0E8E566}" dt="2023-01-19T01:52:54.164" v="15916" actId="113"/>
        <pc:sldMkLst>
          <pc:docMk/>
          <pc:sldMk cId="1789433709" sldId="2501"/>
        </pc:sldMkLst>
        <pc:spChg chg="add mod">
          <ac:chgData name="Aurelien Domont" userId="6da7715ce44349b3" providerId="LiveId" clId="{30A766B1-982E-4295-BCAD-093FA0E8E566}" dt="2023-01-19T00:53:17.829" v="15723" actId="14100"/>
          <ac:spMkLst>
            <pc:docMk/>
            <pc:sldMk cId="1789433709" sldId="2501"/>
            <ac:spMk id="2" creationId="{1AD7DA2A-B9CA-78EC-7EC0-5DA2C2E63F6E}"/>
          </ac:spMkLst>
        </pc:spChg>
        <pc:spChg chg="add mod">
          <ac:chgData name="Aurelien Domont" userId="6da7715ce44349b3" providerId="LiveId" clId="{30A766B1-982E-4295-BCAD-093FA0E8E566}" dt="2023-01-19T00:52:33.814" v="15713" actId="20577"/>
          <ac:spMkLst>
            <pc:docMk/>
            <pc:sldMk cId="1789433709" sldId="2501"/>
            <ac:spMk id="4" creationId="{B03EC438-2306-AEC2-1EE8-E97E1529FEAD}"/>
          </ac:spMkLst>
        </pc:spChg>
        <pc:spChg chg="mod">
          <ac:chgData name="Aurelien Domont" userId="6da7715ce44349b3" providerId="LiveId" clId="{30A766B1-982E-4295-BCAD-093FA0E8E566}" dt="2023-01-19T01:40:51.816" v="15886"/>
          <ac:spMkLst>
            <pc:docMk/>
            <pc:sldMk cId="1789433709" sldId="2501"/>
            <ac:spMk id="6" creationId="{70DC46D3-7024-D8F9-F695-78A9DD554143}"/>
          </ac:spMkLst>
        </pc:spChg>
        <pc:spChg chg="mod">
          <ac:chgData name="Aurelien Domont" userId="6da7715ce44349b3" providerId="LiveId" clId="{30A766B1-982E-4295-BCAD-093FA0E8E566}" dt="2023-01-19T01:40:51.816" v="15886"/>
          <ac:spMkLst>
            <pc:docMk/>
            <pc:sldMk cId="1789433709" sldId="2501"/>
            <ac:spMk id="7" creationId="{CE14A42B-84A6-31E4-B4FF-EECDB64E5CA9}"/>
          </ac:spMkLst>
        </pc:spChg>
        <pc:spChg chg="mod">
          <ac:chgData name="Aurelien Domont" userId="6da7715ce44349b3" providerId="LiveId" clId="{30A766B1-982E-4295-BCAD-093FA0E8E566}" dt="2023-01-19T01:40:51.816" v="15886"/>
          <ac:spMkLst>
            <pc:docMk/>
            <pc:sldMk cId="1789433709" sldId="2501"/>
            <ac:spMk id="8" creationId="{08193563-F71E-5C34-F057-A52C2EEB9E5D}"/>
          </ac:spMkLst>
        </pc:spChg>
        <pc:spChg chg="mod">
          <ac:chgData name="Aurelien Domont" userId="6da7715ce44349b3" providerId="LiveId" clId="{30A766B1-982E-4295-BCAD-093FA0E8E566}" dt="2023-01-19T01:40:51.816" v="15886"/>
          <ac:spMkLst>
            <pc:docMk/>
            <pc:sldMk cId="1789433709" sldId="2501"/>
            <ac:spMk id="9" creationId="{6144A5CC-701B-199B-AF55-B004998CCFC7}"/>
          </ac:spMkLst>
        </pc:spChg>
        <pc:spChg chg="add mod">
          <ac:chgData name="Aurelien Domont" userId="6da7715ce44349b3" providerId="LiveId" clId="{30A766B1-982E-4295-BCAD-093FA0E8E566}" dt="2023-01-19T01:40:51.816" v="15886"/>
          <ac:spMkLst>
            <pc:docMk/>
            <pc:sldMk cId="1789433709" sldId="2501"/>
            <ac:spMk id="10" creationId="{4E629EEB-CC4D-1CCB-7645-CEBD9D802397}"/>
          </ac:spMkLst>
        </pc:spChg>
        <pc:spChg chg="add mod">
          <ac:chgData name="Aurelien Domont" userId="6da7715ce44349b3" providerId="LiveId" clId="{30A766B1-982E-4295-BCAD-093FA0E8E566}" dt="2023-01-19T01:40:51.816" v="15886"/>
          <ac:spMkLst>
            <pc:docMk/>
            <pc:sldMk cId="1789433709" sldId="2501"/>
            <ac:spMk id="11" creationId="{58DAB3EB-6437-C411-C764-056D6677B444}"/>
          </ac:spMkLst>
        </pc:spChg>
        <pc:spChg chg="add mod">
          <ac:chgData name="Aurelien Domont" userId="6da7715ce44349b3" providerId="LiveId" clId="{30A766B1-982E-4295-BCAD-093FA0E8E566}" dt="2023-01-19T01:40:51.816" v="15886"/>
          <ac:spMkLst>
            <pc:docMk/>
            <pc:sldMk cId="1789433709" sldId="2501"/>
            <ac:spMk id="12" creationId="{CCE9D459-2082-504B-6D24-14A61D03A477}"/>
          </ac:spMkLst>
        </pc:spChg>
        <pc:spChg chg="add mod">
          <ac:chgData name="Aurelien Domont" userId="6da7715ce44349b3" providerId="LiveId" clId="{30A766B1-982E-4295-BCAD-093FA0E8E566}" dt="2023-01-19T01:40:51.816" v="15886"/>
          <ac:spMkLst>
            <pc:docMk/>
            <pc:sldMk cId="1789433709" sldId="2501"/>
            <ac:spMk id="14" creationId="{B47DC9B7-FC17-11BB-E7F0-37480625B37F}"/>
          </ac:spMkLst>
        </pc:spChg>
        <pc:spChg chg="add mod">
          <ac:chgData name="Aurelien Domont" userId="6da7715ce44349b3" providerId="LiveId" clId="{30A766B1-982E-4295-BCAD-093FA0E8E566}" dt="2023-01-19T01:52:54.164" v="15916" actId="113"/>
          <ac:spMkLst>
            <pc:docMk/>
            <pc:sldMk cId="1789433709" sldId="2501"/>
            <ac:spMk id="15" creationId="{162D8F97-11D0-5DB8-1531-4749ABEF185B}"/>
          </ac:spMkLst>
        </pc:spChg>
        <pc:grpChg chg="add mod">
          <ac:chgData name="Aurelien Domont" userId="6da7715ce44349b3" providerId="LiveId" clId="{30A766B1-982E-4295-BCAD-093FA0E8E566}" dt="2023-01-19T01:40:51.816" v="15886"/>
          <ac:grpSpMkLst>
            <pc:docMk/>
            <pc:sldMk cId="1789433709" sldId="2501"/>
            <ac:grpSpMk id="5" creationId="{4BD0FE74-FA14-A338-F14B-A743218D6888}"/>
          </ac:grpSpMkLst>
        </pc:grpChg>
      </pc:sldChg>
      <pc:sldChg chg="addSp delSp modSp add mod">
        <pc:chgData name="Aurelien Domont" userId="6da7715ce44349b3" providerId="LiveId" clId="{30A766B1-982E-4295-BCAD-093FA0E8E566}" dt="2023-01-19T00:53:29.050" v="15727" actId="478"/>
        <pc:sldMkLst>
          <pc:docMk/>
          <pc:sldMk cId="3688646877" sldId="2502"/>
        </pc:sldMkLst>
        <pc:spChg chg="del">
          <ac:chgData name="Aurelien Domont" userId="6da7715ce44349b3" providerId="LiveId" clId="{30A766B1-982E-4295-BCAD-093FA0E8E566}" dt="2023-01-19T00:52:54.632" v="15716" actId="478"/>
          <ac:spMkLst>
            <pc:docMk/>
            <pc:sldMk cId="3688646877" sldId="2502"/>
            <ac:spMk id="2" creationId="{1AD7DA2A-B9CA-78EC-7EC0-5DA2C2E63F6E}"/>
          </ac:spMkLst>
        </pc:spChg>
        <pc:spChg chg="del">
          <ac:chgData name="Aurelien Domont" userId="6da7715ce44349b3" providerId="LiveId" clId="{30A766B1-982E-4295-BCAD-093FA0E8E566}" dt="2023-01-19T00:52:54.632" v="15716" actId="478"/>
          <ac:spMkLst>
            <pc:docMk/>
            <pc:sldMk cId="3688646877" sldId="2502"/>
            <ac:spMk id="4" creationId="{B03EC438-2306-AEC2-1EE8-E97E1529FEAD}"/>
          </ac:spMkLst>
        </pc:spChg>
        <pc:spChg chg="add del mod">
          <ac:chgData name="Aurelien Domont" userId="6da7715ce44349b3" providerId="LiveId" clId="{30A766B1-982E-4295-BCAD-093FA0E8E566}" dt="2023-01-19T00:53:29.050" v="15727" actId="478"/>
          <ac:spMkLst>
            <pc:docMk/>
            <pc:sldMk cId="3688646877" sldId="2502"/>
            <ac:spMk id="5" creationId="{75730C20-5891-6EC4-C4A7-2B5223EB2BBA}"/>
          </ac:spMkLst>
        </pc:spChg>
        <pc:spChg chg="add mod">
          <ac:chgData name="Aurelien Domont" userId="6da7715ce44349b3" providerId="LiveId" clId="{30A766B1-982E-4295-BCAD-093FA0E8E566}" dt="2023-01-19T00:53:27.409" v="15726"/>
          <ac:spMkLst>
            <pc:docMk/>
            <pc:sldMk cId="3688646877" sldId="2502"/>
            <ac:spMk id="6" creationId="{05D2AC7B-9AC6-AEC5-57FD-F71B575213EB}"/>
          </ac:spMkLst>
        </pc:spChg>
      </pc:sldChg>
      <pc:sldChg chg="addSp delSp modSp add mod">
        <pc:chgData name="Aurelien Domont" userId="6da7715ce44349b3" providerId="LiveId" clId="{30A766B1-982E-4295-BCAD-093FA0E8E566}" dt="2023-01-19T00:53:44.792" v="15735" actId="478"/>
        <pc:sldMkLst>
          <pc:docMk/>
          <pc:sldMk cId="3734289705" sldId="2503"/>
        </pc:sldMkLst>
        <pc:spChg chg="add del mod">
          <ac:chgData name="Aurelien Domont" userId="6da7715ce44349b3" providerId="LiveId" clId="{30A766B1-982E-4295-BCAD-093FA0E8E566}" dt="2023-01-19T00:53:07.181" v="15720"/>
          <ac:spMkLst>
            <pc:docMk/>
            <pc:sldMk cId="3734289705" sldId="2503"/>
            <ac:spMk id="2" creationId="{942B8BE8-B906-82E1-8FC1-E0B6738B004E}"/>
          </ac:spMkLst>
        </pc:spChg>
        <pc:spChg chg="add del mod">
          <ac:chgData name="Aurelien Domont" userId="6da7715ce44349b3" providerId="LiveId" clId="{30A766B1-982E-4295-BCAD-093FA0E8E566}" dt="2023-01-19T00:53:44.792" v="15735" actId="478"/>
          <ac:spMkLst>
            <pc:docMk/>
            <pc:sldMk cId="3734289705" sldId="2503"/>
            <ac:spMk id="4" creationId="{6E1C0FAD-27B0-366A-2D4D-532878EBBC9D}"/>
          </ac:spMkLst>
        </pc:spChg>
        <pc:spChg chg="del">
          <ac:chgData name="Aurelien Domont" userId="6da7715ce44349b3" providerId="LiveId" clId="{30A766B1-982E-4295-BCAD-093FA0E8E566}" dt="2023-01-19T00:53:08.601" v="15721" actId="478"/>
          <ac:spMkLst>
            <pc:docMk/>
            <pc:sldMk cId="3734289705" sldId="2503"/>
            <ac:spMk id="5" creationId="{75730C20-5891-6EC4-C4A7-2B5223EB2BBA}"/>
          </ac:spMkLst>
        </pc:spChg>
        <pc:spChg chg="add mod">
          <ac:chgData name="Aurelien Domont" userId="6da7715ce44349b3" providerId="LiveId" clId="{30A766B1-982E-4295-BCAD-093FA0E8E566}" dt="2023-01-19T00:53:43.048" v="15734"/>
          <ac:spMkLst>
            <pc:docMk/>
            <pc:sldMk cId="3734289705" sldId="2503"/>
            <ac:spMk id="6" creationId="{F4A54B91-25AA-DB33-A585-503924177358}"/>
          </ac:spMkLst>
        </pc:spChg>
      </pc:sldChg>
      <pc:sldChg chg="modSp add mod">
        <pc:chgData name="Aurelien Domont" userId="6da7715ce44349b3" providerId="LiveId" clId="{30A766B1-982E-4295-BCAD-093FA0E8E566}" dt="2023-01-19T00:54:25.293" v="15745" actId="108"/>
        <pc:sldMkLst>
          <pc:docMk/>
          <pc:sldMk cId="3209147546" sldId="2504"/>
        </pc:sldMkLst>
        <pc:spChg chg="mod">
          <ac:chgData name="Aurelien Domont" userId="6da7715ce44349b3" providerId="LiveId" clId="{30A766B1-982E-4295-BCAD-093FA0E8E566}" dt="2023-01-19T00:54:25.293" v="15745" actId="108"/>
          <ac:spMkLst>
            <pc:docMk/>
            <pc:sldMk cId="3209147546" sldId="2504"/>
            <ac:spMk id="24" creationId="{83A9CD77-ADAB-41C7-817C-8A06F22EB74B}"/>
          </ac:spMkLst>
        </pc:spChg>
      </pc:sldChg>
      <pc:sldChg chg="add">
        <pc:chgData name="Aurelien Domont" userId="6da7715ce44349b3" providerId="LiveId" clId="{30A766B1-982E-4295-BCAD-093FA0E8E566}" dt="2023-01-19T00:54:03.750" v="15743"/>
        <pc:sldMkLst>
          <pc:docMk/>
          <pc:sldMk cId="1938396792" sldId="2505"/>
        </pc:sldMkLst>
      </pc:sldChg>
      <pc:sldChg chg="add">
        <pc:chgData name="Aurelien Domont" userId="6da7715ce44349b3" providerId="LiveId" clId="{30A766B1-982E-4295-BCAD-093FA0E8E566}" dt="2023-01-19T00:54:03.750" v="15743"/>
        <pc:sldMkLst>
          <pc:docMk/>
          <pc:sldMk cId="1986119248" sldId="2506"/>
        </pc:sldMkLst>
      </pc:sldChg>
      <pc:sldChg chg="add">
        <pc:chgData name="Aurelien Domont" userId="6da7715ce44349b3" providerId="LiveId" clId="{30A766B1-982E-4295-BCAD-093FA0E8E566}" dt="2023-01-19T00:54:03.750" v="15743"/>
        <pc:sldMkLst>
          <pc:docMk/>
          <pc:sldMk cId="4002475051" sldId="2507"/>
        </pc:sldMkLst>
      </pc:sldChg>
      <pc:sldChg chg="add">
        <pc:chgData name="Aurelien Domont" userId="6da7715ce44349b3" providerId="LiveId" clId="{30A766B1-982E-4295-BCAD-093FA0E8E566}" dt="2023-01-19T00:54:03.750" v="15743"/>
        <pc:sldMkLst>
          <pc:docMk/>
          <pc:sldMk cId="487487824" sldId="2508"/>
        </pc:sldMkLst>
      </pc:sldChg>
      <pc:sldMasterChg chg="del delSldLayout">
        <pc:chgData name="Aurelien Domont" userId="6da7715ce44349b3" providerId="LiveId" clId="{30A766B1-982E-4295-BCAD-093FA0E8E566}" dt="2023-01-18T05:32:05.280" v="14731" actId="2696"/>
        <pc:sldMasterMkLst>
          <pc:docMk/>
          <pc:sldMasterMk cId="630589790" sldId="2147483664"/>
        </pc:sldMasterMkLst>
        <pc:sldLayoutChg chg="del">
          <pc:chgData name="Aurelien Domont" userId="6da7715ce44349b3" providerId="LiveId" clId="{30A766B1-982E-4295-BCAD-093FA0E8E566}" dt="2023-01-18T05:32:05.275" v="14728" actId="2696"/>
          <pc:sldLayoutMkLst>
            <pc:docMk/>
            <pc:sldMasterMk cId="630589790" sldId="2147483664"/>
            <pc:sldLayoutMk cId="460643793" sldId="2147483666"/>
          </pc:sldLayoutMkLst>
        </pc:sldLayoutChg>
        <pc:sldLayoutChg chg="del">
          <pc:chgData name="Aurelien Domont" userId="6da7715ce44349b3" providerId="LiveId" clId="{30A766B1-982E-4295-BCAD-093FA0E8E566}" dt="2023-01-18T05:32:05.269" v="14724" actId="2696"/>
          <pc:sldLayoutMkLst>
            <pc:docMk/>
            <pc:sldMasterMk cId="630589790" sldId="2147483664"/>
            <pc:sldLayoutMk cId="1834898108" sldId="2147483667"/>
          </pc:sldLayoutMkLst>
        </pc:sldLayoutChg>
        <pc:sldLayoutChg chg="del">
          <pc:chgData name="Aurelien Domont" userId="6da7715ce44349b3" providerId="LiveId" clId="{30A766B1-982E-4295-BCAD-093FA0E8E566}" dt="2023-01-18T05:32:05.270" v="14725" actId="2696"/>
          <pc:sldLayoutMkLst>
            <pc:docMk/>
            <pc:sldMasterMk cId="630589790" sldId="2147483664"/>
            <pc:sldLayoutMk cId="2311084358" sldId="2147483668"/>
          </pc:sldLayoutMkLst>
        </pc:sldLayoutChg>
        <pc:sldLayoutChg chg="del">
          <pc:chgData name="Aurelien Domont" userId="6da7715ce44349b3" providerId="LiveId" clId="{30A766B1-982E-4295-BCAD-093FA0E8E566}" dt="2023-01-18T05:32:05.271" v="14726" actId="2696"/>
          <pc:sldLayoutMkLst>
            <pc:docMk/>
            <pc:sldMasterMk cId="630589790" sldId="2147483664"/>
            <pc:sldLayoutMk cId="1787676517" sldId="2147483669"/>
          </pc:sldLayoutMkLst>
        </pc:sldLayoutChg>
        <pc:sldLayoutChg chg="del">
          <pc:chgData name="Aurelien Domont" userId="6da7715ce44349b3" providerId="LiveId" clId="{30A766B1-982E-4295-BCAD-093FA0E8E566}" dt="2023-01-18T05:32:05.273" v="14727" actId="2696"/>
          <pc:sldLayoutMkLst>
            <pc:docMk/>
            <pc:sldMasterMk cId="630589790" sldId="2147483664"/>
            <pc:sldLayoutMk cId="94863627" sldId="2147483670"/>
          </pc:sldLayoutMkLst>
        </pc:sldLayoutChg>
        <pc:sldLayoutChg chg="del">
          <pc:chgData name="Aurelien Domont" userId="6da7715ce44349b3" providerId="LiveId" clId="{30A766B1-982E-4295-BCAD-093FA0E8E566}" dt="2023-01-18T05:32:05.278" v="14730" actId="2696"/>
          <pc:sldLayoutMkLst>
            <pc:docMk/>
            <pc:sldMasterMk cId="630589790" sldId="2147483664"/>
            <pc:sldLayoutMk cId="3635688576" sldId="2147483671"/>
          </pc:sldLayoutMkLst>
        </pc:sldLayoutChg>
        <pc:sldLayoutChg chg="del">
          <pc:chgData name="Aurelien Domont" userId="6da7715ce44349b3" providerId="LiveId" clId="{30A766B1-982E-4295-BCAD-093FA0E8E566}" dt="2023-01-18T05:32:05.276" v="14729" actId="2696"/>
          <pc:sldLayoutMkLst>
            <pc:docMk/>
            <pc:sldMasterMk cId="630589790" sldId="2147483664"/>
            <pc:sldLayoutMk cId="3689541279" sldId="2147483672"/>
          </pc:sldLayoutMkLst>
        </pc:sldLayoutChg>
      </pc:sldMasterChg>
      <pc:sldMasterChg chg="del delSldLayout">
        <pc:chgData name="Aurelien Domont" userId="6da7715ce44349b3" providerId="LiveId" clId="{30A766B1-982E-4295-BCAD-093FA0E8E566}" dt="2023-01-18T05:32:05.401" v="14818" actId="2696"/>
        <pc:sldMasterMkLst>
          <pc:docMk/>
          <pc:sldMasterMk cId="3510198698" sldId="2147483673"/>
        </pc:sldMasterMkLst>
        <pc:sldLayoutChg chg="del">
          <pc:chgData name="Aurelien Domont" userId="6da7715ce44349b3" providerId="LiveId" clId="{30A766B1-982E-4295-BCAD-093FA0E8E566}" dt="2023-01-18T05:32:05.386" v="14811" actId="2696"/>
          <pc:sldLayoutMkLst>
            <pc:docMk/>
            <pc:sldMasterMk cId="3510198698" sldId="2147483673"/>
            <pc:sldLayoutMk cId="570326465" sldId="2147483674"/>
          </pc:sldLayoutMkLst>
        </pc:sldLayoutChg>
        <pc:sldLayoutChg chg="del">
          <pc:chgData name="Aurelien Domont" userId="6da7715ce44349b3" providerId="LiveId" clId="{30A766B1-982E-4295-BCAD-093FA0E8E566}" dt="2023-01-18T05:32:05.388" v="14812" actId="2696"/>
          <pc:sldLayoutMkLst>
            <pc:docMk/>
            <pc:sldMasterMk cId="3510198698" sldId="2147483673"/>
            <pc:sldLayoutMk cId="163536995" sldId="2147483675"/>
          </pc:sldLayoutMkLst>
        </pc:sldLayoutChg>
        <pc:sldLayoutChg chg="del">
          <pc:chgData name="Aurelien Domont" userId="6da7715ce44349b3" providerId="LiveId" clId="{30A766B1-982E-4295-BCAD-093FA0E8E566}" dt="2023-01-18T05:32:05.390" v="14813" actId="2696"/>
          <pc:sldLayoutMkLst>
            <pc:docMk/>
            <pc:sldMasterMk cId="3510198698" sldId="2147483673"/>
            <pc:sldLayoutMk cId="3937574706" sldId="2147483676"/>
          </pc:sldLayoutMkLst>
        </pc:sldLayoutChg>
        <pc:sldLayoutChg chg="del">
          <pc:chgData name="Aurelien Domont" userId="6da7715ce44349b3" providerId="LiveId" clId="{30A766B1-982E-4295-BCAD-093FA0E8E566}" dt="2023-01-18T05:32:05.392" v="14814" actId="2696"/>
          <pc:sldLayoutMkLst>
            <pc:docMk/>
            <pc:sldMasterMk cId="3510198698" sldId="2147483673"/>
            <pc:sldLayoutMk cId="45999791" sldId="2147483677"/>
          </pc:sldLayoutMkLst>
        </pc:sldLayoutChg>
        <pc:sldLayoutChg chg="del">
          <pc:chgData name="Aurelien Domont" userId="6da7715ce44349b3" providerId="LiveId" clId="{30A766B1-982E-4295-BCAD-093FA0E8E566}" dt="2023-01-18T05:32:05.394" v="14815" actId="2696"/>
          <pc:sldLayoutMkLst>
            <pc:docMk/>
            <pc:sldMasterMk cId="3510198698" sldId="2147483673"/>
            <pc:sldLayoutMk cId="4273708068" sldId="2147483678"/>
          </pc:sldLayoutMkLst>
        </pc:sldLayoutChg>
        <pc:sldLayoutChg chg="del">
          <pc:chgData name="Aurelien Domont" userId="6da7715ce44349b3" providerId="LiveId" clId="{30A766B1-982E-4295-BCAD-093FA0E8E566}" dt="2023-01-18T05:32:05.396" v="14816" actId="2696"/>
          <pc:sldLayoutMkLst>
            <pc:docMk/>
            <pc:sldMasterMk cId="3510198698" sldId="2147483673"/>
            <pc:sldLayoutMk cId="743124425" sldId="2147483679"/>
          </pc:sldLayoutMkLst>
        </pc:sldLayoutChg>
        <pc:sldLayoutChg chg="del">
          <pc:chgData name="Aurelien Domont" userId="6da7715ce44349b3" providerId="LiveId" clId="{30A766B1-982E-4295-BCAD-093FA0E8E566}" dt="2023-01-18T05:32:05.397" v="14817" actId="2696"/>
          <pc:sldLayoutMkLst>
            <pc:docMk/>
            <pc:sldMasterMk cId="3510198698" sldId="2147483673"/>
            <pc:sldLayoutMk cId="1016518897" sldId="2147483680"/>
          </pc:sldLayoutMkLst>
        </pc:sldLayoutChg>
      </pc:sldMasterChg>
      <pc:sldMasterChg chg="del delSldLayout">
        <pc:chgData name="Aurelien Domont" userId="6da7715ce44349b3" providerId="LiveId" clId="{30A766B1-982E-4295-BCAD-093FA0E8E566}" dt="2023-01-18T05:32:05.541" v="14907" actId="2696"/>
        <pc:sldMasterMkLst>
          <pc:docMk/>
          <pc:sldMasterMk cId="3872030774" sldId="2147483681"/>
        </pc:sldMasterMkLst>
        <pc:sldLayoutChg chg="del">
          <pc:chgData name="Aurelien Domont" userId="6da7715ce44349b3" providerId="LiveId" clId="{30A766B1-982E-4295-BCAD-093FA0E8E566}" dt="2023-01-18T05:32:05.527" v="14899" actId="2696"/>
          <pc:sldLayoutMkLst>
            <pc:docMk/>
            <pc:sldMasterMk cId="3872030774" sldId="2147483681"/>
            <pc:sldLayoutMk cId="1007406159" sldId="2147483682"/>
          </pc:sldLayoutMkLst>
        </pc:sldLayoutChg>
        <pc:sldLayoutChg chg="del">
          <pc:chgData name="Aurelien Domont" userId="6da7715ce44349b3" providerId="LiveId" clId="{30A766B1-982E-4295-BCAD-093FA0E8E566}" dt="2023-01-18T05:32:05.529" v="14900" actId="2696"/>
          <pc:sldLayoutMkLst>
            <pc:docMk/>
            <pc:sldMasterMk cId="3872030774" sldId="2147483681"/>
            <pc:sldLayoutMk cId="2528144677" sldId="2147483683"/>
          </pc:sldLayoutMkLst>
        </pc:sldLayoutChg>
        <pc:sldLayoutChg chg="del">
          <pc:chgData name="Aurelien Domont" userId="6da7715ce44349b3" providerId="LiveId" clId="{30A766B1-982E-4295-BCAD-093FA0E8E566}" dt="2023-01-18T05:32:05.530" v="14901" actId="2696"/>
          <pc:sldLayoutMkLst>
            <pc:docMk/>
            <pc:sldMasterMk cId="3872030774" sldId="2147483681"/>
            <pc:sldLayoutMk cId="2206734449" sldId="2147483684"/>
          </pc:sldLayoutMkLst>
        </pc:sldLayoutChg>
        <pc:sldLayoutChg chg="del">
          <pc:chgData name="Aurelien Domont" userId="6da7715ce44349b3" providerId="LiveId" clId="{30A766B1-982E-4295-BCAD-093FA0E8E566}" dt="2023-01-18T05:32:05.532" v="14902" actId="2696"/>
          <pc:sldLayoutMkLst>
            <pc:docMk/>
            <pc:sldMasterMk cId="3872030774" sldId="2147483681"/>
            <pc:sldLayoutMk cId="350407076" sldId="2147483685"/>
          </pc:sldLayoutMkLst>
        </pc:sldLayoutChg>
        <pc:sldLayoutChg chg="del">
          <pc:chgData name="Aurelien Domont" userId="6da7715ce44349b3" providerId="LiveId" clId="{30A766B1-982E-4295-BCAD-093FA0E8E566}" dt="2023-01-18T05:32:05.534" v="14903" actId="2696"/>
          <pc:sldLayoutMkLst>
            <pc:docMk/>
            <pc:sldMasterMk cId="3872030774" sldId="2147483681"/>
            <pc:sldLayoutMk cId="541437101" sldId="2147483686"/>
          </pc:sldLayoutMkLst>
        </pc:sldLayoutChg>
        <pc:sldLayoutChg chg="del">
          <pc:chgData name="Aurelien Domont" userId="6da7715ce44349b3" providerId="LiveId" clId="{30A766B1-982E-4295-BCAD-093FA0E8E566}" dt="2023-01-18T05:32:05.535" v="14904" actId="2696"/>
          <pc:sldLayoutMkLst>
            <pc:docMk/>
            <pc:sldMasterMk cId="3872030774" sldId="2147483681"/>
            <pc:sldLayoutMk cId="2320724152" sldId="2147483687"/>
          </pc:sldLayoutMkLst>
        </pc:sldLayoutChg>
        <pc:sldLayoutChg chg="del">
          <pc:chgData name="Aurelien Domont" userId="6da7715ce44349b3" providerId="LiveId" clId="{30A766B1-982E-4295-BCAD-093FA0E8E566}" dt="2023-01-18T05:32:05.537" v="14905" actId="2696"/>
          <pc:sldLayoutMkLst>
            <pc:docMk/>
            <pc:sldMasterMk cId="3872030774" sldId="2147483681"/>
            <pc:sldLayoutMk cId="2184974730" sldId="2147483688"/>
          </pc:sldLayoutMkLst>
        </pc:sldLayoutChg>
        <pc:sldLayoutChg chg="del">
          <pc:chgData name="Aurelien Domont" userId="6da7715ce44349b3" providerId="LiveId" clId="{30A766B1-982E-4295-BCAD-093FA0E8E566}" dt="2023-01-18T05:32:05.539" v="14906" actId="2696"/>
          <pc:sldLayoutMkLst>
            <pc:docMk/>
            <pc:sldMasterMk cId="3872030774" sldId="2147483681"/>
            <pc:sldLayoutMk cId="4003735030" sldId="2147483689"/>
          </pc:sldLayoutMkLst>
        </pc:sldLayoutChg>
      </pc:sldMasterChg>
      <pc:sldMasterChg chg="del delSldLayout">
        <pc:chgData name="Aurelien Domont" userId="6da7715ce44349b3" providerId="LiveId" clId="{30A766B1-982E-4295-BCAD-093FA0E8E566}" dt="2023-01-18T05:32:05.088" v="14588" actId="2696"/>
        <pc:sldMasterMkLst>
          <pc:docMk/>
          <pc:sldMasterMk cId="3382615535" sldId="2147483690"/>
        </pc:sldMasterMkLst>
        <pc:sldLayoutChg chg="del">
          <pc:chgData name="Aurelien Domont" userId="6da7715ce44349b3" providerId="LiveId" clId="{30A766B1-982E-4295-BCAD-093FA0E8E566}" dt="2023-01-18T05:32:05.076" v="14580" actId="2696"/>
          <pc:sldLayoutMkLst>
            <pc:docMk/>
            <pc:sldMasterMk cId="3382615535" sldId="2147483690"/>
            <pc:sldLayoutMk cId="2736195039" sldId="2147483691"/>
          </pc:sldLayoutMkLst>
        </pc:sldLayoutChg>
        <pc:sldLayoutChg chg="del">
          <pc:chgData name="Aurelien Domont" userId="6da7715ce44349b3" providerId="LiveId" clId="{30A766B1-982E-4295-BCAD-093FA0E8E566}" dt="2023-01-18T05:32:05.078" v="14581" actId="2696"/>
          <pc:sldLayoutMkLst>
            <pc:docMk/>
            <pc:sldMasterMk cId="3382615535" sldId="2147483690"/>
            <pc:sldLayoutMk cId="1123557476" sldId="2147483692"/>
          </pc:sldLayoutMkLst>
        </pc:sldLayoutChg>
        <pc:sldLayoutChg chg="del">
          <pc:chgData name="Aurelien Domont" userId="6da7715ce44349b3" providerId="LiveId" clId="{30A766B1-982E-4295-BCAD-093FA0E8E566}" dt="2023-01-18T05:32:05.080" v="14582" actId="2696"/>
          <pc:sldLayoutMkLst>
            <pc:docMk/>
            <pc:sldMasterMk cId="3382615535" sldId="2147483690"/>
            <pc:sldLayoutMk cId="3545533428" sldId="2147483693"/>
          </pc:sldLayoutMkLst>
        </pc:sldLayoutChg>
        <pc:sldLayoutChg chg="del">
          <pc:chgData name="Aurelien Domont" userId="6da7715ce44349b3" providerId="LiveId" clId="{30A766B1-982E-4295-BCAD-093FA0E8E566}" dt="2023-01-18T05:32:05.081" v="14583" actId="2696"/>
          <pc:sldLayoutMkLst>
            <pc:docMk/>
            <pc:sldMasterMk cId="3382615535" sldId="2147483690"/>
            <pc:sldLayoutMk cId="643324256" sldId="2147483694"/>
          </pc:sldLayoutMkLst>
        </pc:sldLayoutChg>
        <pc:sldLayoutChg chg="del">
          <pc:chgData name="Aurelien Domont" userId="6da7715ce44349b3" providerId="LiveId" clId="{30A766B1-982E-4295-BCAD-093FA0E8E566}" dt="2023-01-18T05:32:05.083" v="14584" actId="2696"/>
          <pc:sldLayoutMkLst>
            <pc:docMk/>
            <pc:sldMasterMk cId="3382615535" sldId="2147483690"/>
            <pc:sldLayoutMk cId="2000142771" sldId="2147483695"/>
          </pc:sldLayoutMkLst>
        </pc:sldLayoutChg>
        <pc:sldLayoutChg chg="del">
          <pc:chgData name="Aurelien Domont" userId="6da7715ce44349b3" providerId="LiveId" clId="{30A766B1-982E-4295-BCAD-093FA0E8E566}" dt="2023-01-18T05:32:05.084" v="14585" actId="2696"/>
          <pc:sldLayoutMkLst>
            <pc:docMk/>
            <pc:sldMasterMk cId="3382615535" sldId="2147483690"/>
            <pc:sldLayoutMk cId="2214917631" sldId="2147483696"/>
          </pc:sldLayoutMkLst>
        </pc:sldLayoutChg>
        <pc:sldLayoutChg chg="del">
          <pc:chgData name="Aurelien Domont" userId="6da7715ce44349b3" providerId="LiveId" clId="{30A766B1-982E-4295-BCAD-093FA0E8E566}" dt="2023-01-18T05:32:05.085" v="14586" actId="2696"/>
          <pc:sldLayoutMkLst>
            <pc:docMk/>
            <pc:sldMasterMk cId="3382615535" sldId="2147483690"/>
            <pc:sldLayoutMk cId="376464342" sldId="2147483697"/>
          </pc:sldLayoutMkLst>
        </pc:sldLayoutChg>
        <pc:sldLayoutChg chg="del">
          <pc:chgData name="Aurelien Domont" userId="6da7715ce44349b3" providerId="LiveId" clId="{30A766B1-982E-4295-BCAD-093FA0E8E566}" dt="2023-01-18T05:32:05.086" v="14587" actId="2696"/>
          <pc:sldLayoutMkLst>
            <pc:docMk/>
            <pc:sldMasterMk cId="3382615535" sldId="2147483690"/>
            <pc:sldLayoutMk cId="1747613660" sldId="2147483698"/>
          </pc:sldLayoutMkLst>
        </pc:sldLayoutChg>
      </pc:sldMasterChg>
      <pc:sldMasterChg chg="del delSldLayout">
        <pc:chgData name="Aurelien Domont" userId="6da7715ce44349b3" providerId="LiveId" clId="{30A766B1-982E-4295-BCAD-093FA0E8E566}" dt="2023-01-18T05:32:05.197" v="14669" actId="2696"/>
        <pc:sldMasterMkLst>
          <pc:docMk/>
          <pc:sldMasterMk cId="3737682894" sldId="2147483699"/>
        </pc:sldMasterMkLst>
        <pc:sldLayoutChg chg="del">
          <pc:chgData name="Aurelien Domont" userId="6da7715ce44349b3" providerId="LiveId" clId="{30A766B1-982E-4295-BCAD-093FA0E8E566}" dt="2023-01-18T05:32:05.184" v="14661" actId="2696"/>
          <pc:sldLayoutMkLst>
            <pc:docMk/>
            <pc:sldMasterMk cId="3737682894" sldId="2147483699"/>
            <pc:sldLayoutMk cId="3941143163" sldId="2147483700"/>
          </pc:sldLayoutMkLst>
        </pc:sldLayoutChg>
        <pc:sldLayoutChg chg="del">
          <pc:chgData name="Aurelien Domont" userId="6da7715ce44349b3" providerId="LiveId" clId="{30A766B1-982E-4295-BCAD-093FA0E8E566}" dt="2023-01-18T05:32:05.185" v="14662" actId="2696"/>
          <pc:sldLayoutMkLst>
            <pc:docMk/>
            <pc:sldMasterMk cId="3737682894" sldId="2147483699"/>
            <pc:sldLayoutMk cId="2058451958" sldId="2147483701"/>
          </pc:sldLayoutMkLst>
        </pc:sldLayoutChg>
        <pc:sldLayoutChg chg="del">
          <pc:chgData name="Aurelien Domont" userId="6da7715ce44349b3" providerId="LiveId" clId="{30A766B1-982E-4295-BCAD-093FA0E8E566}" dt="2023-01-18T05:32:05.187" v="14663" actId="2696"/>
          <pc:sldLayoutMkLst>
            <pc:docMk/>
            <pc:sldMasterMk cId="3737682894" sldId="2147483699"/>
            <pc:sldLayoutMk cId="1681557494" sldId="2147483702"/>
          </pc:sldLayoutMkLst>
        </pc:sldLayoutChg>
        <pc:sldLayoutChg chg="del">
          <pc:chgData name="Aurelien Domont" userId="6da7715ce44349b3" providerId="LiveId" clId="{30A766B1-982E-4295-BCAD-093FA0E8E566}" dt="2023-01-18T05:32:05.188" v="14664" actId="2696"/>
          <pc:sldLayoutMkLst>
            <pc:docMk/>
            <pc:sldMasterMk cId="3737682894" sldId="2147483699"/>
            <pc:sldLayoutMk cId="1029685382" sldId="2147483703"/>
          </pc:sldLayoutMkLst>
        </pc:sldLayoutChg>
        <pc:sldLayoutChg chg="del">
          <pc:chgData name="Aurelien Domont" userId="6da7715ce44349b3" providerId="LiveId" clId="{30A766B1-982E-4295-BCAD-093FA0E8E566}" dt="2023-01-18T05:32:05.191" v="14665" actId="2696"/>
          <pc:sldLayoutMkLst>
            <pc:docMk/>
            <pc:sldMasterMk cId="3737682894" sldId="2147483699"/>
            <pc:sldLayoutMk cId="3660413580" sldId="2147483704"/>
          </pc:sldLayoutMkLst>
        </pc:sldLayoutChg>
        <pc:sldLayoutChg chg="del">
          <pc:chgData name="Aurelien Domont" userId="6da7715ce44349b3" providerId="LiveId" clId="{30A766B1-982E-4295-BCAD-093FA0E8E566}" dt="2023-01-18T05:32:05.192" v="14666" actId="2696"/>
          <pc:sldLayoutMkLst>
            <pc:docMk/>
            <pc:sldMasterMk cId="3737682894" sldId="2147483699"/>
            <pc:sldLayoutMk cId="3078975890" sldId="2147483705"/>
          </pc:sldLayoutMkLst>
        </pc:sldLayoutChg>
        <pc:sldLayoutChg chg="del">
          <pc:chgData name="Aurelien Domont" userId="6da7715ce44349b3" providerId="LiveId" clId="{30A766B1-982E-4295-BCAD-093FA0E8E566}" dt="2023-01-18T05:32:05.194" v="14667" actId="2696"/>
          <pc:sldLayoutMkLst>
            <pc:docMk/>
            <pc:sldMasterMk cId="3737682894" sldId="2147483699"/>
            <pc:sldLayoutMk cId="3385793471" sldId="2147483706"/>
          </pc:sldLayoutMkLst>
        </pc:sldLayoutChg>
        <pc:sldLayoutChg chg="del">
          <pc:chgData name="Aurelien Domont" userId="6da7715ce44349b3" providerId="LiveId" clId="{30A766B1-982E-4295-BCAD-093FA0E8E566}" dt="2023-01-18T05:32:05.195" v="14668" actId="2696"/>
          <pc:sldLayoutMkLst>
            <pc:docMk/>
            <pc:sldMasterMk cId="3737682894" sldId="2147483699"/>
            <pc:sldLayoutMk cId="630774064" sldId="2147483707"/>
          </pc:sldLayoutMkLst>
        </pc:sldLayoutChg>
      </pc:sldMasterChg>
      <pc:sldMasterChg chg="del delSldLayout">
        <pc:chgData name="Aurelien Domont" userId="6da7715ce44349b3" providerId="LiveId" clId="{30A766B1-982E-4295-BCAD-093FA0E8E566}" dt="2023-01-18T05:32:05.304" v="14749" actId="2696"/>
        <pc:sldMasterMkLst>
          <pc:docMk/>
          <pc:sldMasterMk cId="1813747962" sldId="2147483708"/>
        </pc:sldMasterMkLst>
        <pc:sldLayoutChg chg="del">
          <pc:chgData name="Aurelien Domont" userId="6da7715ce44349b3" providerId="LiveId" clId="{30A766B1-982E-4295-BCAD-093FA0E8E566}" dt="2023-01-18T05:32:05.294" v="14741" actId="2696"/>
          <pc:sldLayoutMkLst>
            <pc:docMk/>
            <pc:sldMasterMk cId="1813747962" sldId="2147483708"/>
            <pc:sldLayoutMk cId="784174892" sldId="2147483709"/>
          </pc:sldLayoutMkLst>
        </pc:sldLayoutChg>
        <pc:sldLayoutChg chg="del">
          <pc:chgData name="Aurelien Domont" userId="6da7715ce44349b3" providerId="LiveId" clId="{30A766B1-982E-4295-BCAD-093FA0E8E566}" dt="2023-01-18T05:32:05.295" v="14742" actId="2696"/>
          <pc:sldLayoutMkLst>
            <pc:docMk/>
            <pc:sldMasterMk cId="1813747962" sldId="2147483708"/>
            <pc:sldLayoutMk cId="3369629229" sldId="2147483710"/>
          </pc:sldLayoutMkLst>
        </pc:sldLayoutChg>
        <pc:sldLayoutChg chg="del">
          <pc:chgData name="Aurelien Domont" userId="6da7715ce44349b3" providerId="LiveId" clId="{30A766B1-982E-4295-BCAD-093FA0E8E566}" dt="2023-01-18T05:32:05.296" v="14743" actId="2696"/>
          <pc:sldLayoutMkLst>
            <pc:docMk/>
            <pc:sldMasterMk cId="1813747962" sldId="2147483708"/>
            <pc:sldLayoutMk cId="615585253" sldId="2147483711"/>
          </pc:sldLayoutMkLst>
        </pc:sldLayoutChg>
        <pc:sldLayoutChg chg="del">
          <pc:chgData name="Aurelien Domont" userId="6da7715ce44349b3" providerId="LiveId" clId="{30A766B1-982E-4295-BCAD-093FA0E8E566}" dt="2023-01-18T05:32:05.298" v="14744" actId="2696"/>
          <pc:sldLayoutMkLst>
            <pc:docMk/>
            <pc:sldMasterMk cId="1813747962" sldId="2147483708"/>
            <pc:sldLayoutMk cId="2388299464" sldId="2147483712"/>
          </pc:sldLayoutMkLst>
        </pc:sldLayoutChg>
        <pc:sldLayoutChg chg="del">
          <pc:chgData name="Aurelien Domont" userId="6da7715ce44349b3" providerId="LiveId" clId="{30A766B1-982E-4295-BCAD-093FA0E8E566}" dt="2023-01-18T05:32:05.299" v="14745" actId="2696"/>
          <pc:sldLayoutMkLst>
            <pc:docMk/>
            <pc:sldMasterMk cId="1813747962" sldId="2147483708"/>
            <pc:sldLayoutMk cId="3844194537" sldId="2147483713"/>
          </pc:sldLayoutMkLst>
        </pc:sldLayoutChg>
        <pc:sldLayoutChg chg="del">
          <pc:chgData name="Aurelien Domont" userId="6da7715ce44349b3" providerId="LiveId" clId="{30A766B1-982E-4295-BCAD-093FA0E8E566}" dt="2023-01-18T05:32:05.300" v="14746" actId="2696"/>
          <pc:sldLayoutMkLst>
            <pc:docMk/>
            <pc:sldMasterMk cId="1813747962" sldId="2147483708"/>
            <pc:sldLayoutMk cId="2912154990" sldId="2147483714"/>
          </pc:sldLayoutMkLst>
        </pc:sldLayoutChg>
        <pc:sldLayoutChg chg="del">
          <pc:chgData name="Aurelien Domont" userId="6da7715ce44349b3" providerId="LiveId" clId="{30A766B1-982E-4295-BCAD-093FA0E8E566}" dt="2023-01-18T05:32:05.301" v="14747" actId="2696"/>
          <pc:sldLayoutMkLst>
            <pc:docMk/>
            <pc:sldMasterMk cId="1813747962" sldId="2147483708"/>
            <pc:sldLayoutMk cId="54201085" sldId="2147483715"/>
          </pc:sldLayoutMkLst>
        </pc:sldLayoutChg>
        <pc:sldLayoutChg chg="del">
          <pc:chgData name="Aurelien Domont" userId="6da7715ce44349b3" providerId="LiveId" clId="{30A766B1-982E-4295-BCAD-093FA0E8E566}" dt="2023-01-18T05:32:05.302" v="14748" actId="2696"/>
          <pc:sldLayoutMkLst>
            <pc:docMk/>
            <pc:sldMasterMk cId="1813747962" sldId="2147483708"/>
            <pc:sldLayoutMk cId="1923437325" sldId="2147483716"/>
          </pc:sldLayoutMkLst>
        </pc:sldLayoutChg>
      </pc:sldMasterChg>
      <pc:sldMasterChg chg="del delSldLayout">
        <pc:chgData name="Aurelien Domont" userId="6da7715ce44349b3" providerId="LiveId" clId="{30A766B1-982E-4295-BCAD-093FA0E8E566}" dt="2023-01-18T05:32:05.424" v="14836" actId="2696"/>
        <pc:sldMasterMkLst>
          <pc:docMk/>
          <pc:sldMasterMk cId="2740974196" sldId="2147483717"/>
        </pc:sldMasterMkLst>
        <pc:sldLayoutChg chg="del">
          <pc:chgData name="Aurelien Domont" userId="6da7715ce44349b3" providerId="LiveId" clId="{30A766B1-982E-4295-BCAD-093FA0E8E566}" dt="2023-01-18T05:32:05.412" v="14828" actId="2696"/>
          <pc:sldLayoutMkLst>
            <pc:docMk/>
            <pc:sldMasterMk cId="2740974196" sldId="2147483717"/>
            <pc:sldLayoutMk cId="1159162756" sldId="2147483718"/>
          </pc:sldLayoutMkLst>
        </pc:sldLayoutChg>
        <pc:sldLayoutChg chg="del">
          <pc:chgData name="Aurelien Domont" userId="6da7715ce44349b3" providerId="LiveId" clId="{30A766B1-982E-4295-BCAD-093FA0E8E566}" dt="2023-01-18T05:32:05.413" v="14829" actId="2696"/>
          <pc:sldLayoutMkLst>
            <pc:docMk/>
            <pc:sldMasterMk cId="2740974196" sldId="2147483717"/>
            <pc:sldLayoutMk cId="2400806466" sldId="2147483719"/>
          </pc:sldLayoutMkLst>
        </pc:sldLayoutChg>
        <pc:sldLayoutChg chg="del">
          <pc:chgData name="Aurelien Domont" userId="6da7715ce44349b3" providerId="LiveId" clId="{30A766B1-982E-4295-BCAD-093FA0E8E566}" dt="2023-01-18T05:32:05.414" v="14830" actId="2696"/>
          <pc:sldLayoutMkLst>
            <pc:docMk/>
            <pc:sldMasterMk cId="2740974196" sldId="2147483717"/>
            <pc:sldLayoutMk cId="3836402366" sldId="2147483720"/>
          </pc:sldLayoutMkLst>
        </pc:sldLayoutChg>
        <pc:sldLayoutChg chg="del">
          <pc:chgData name="Aurelien Domont" userId="6da7715ce44349b3" providerId="LiveId" clId="{30A766B1-982E-4295-BCAD-093FA0E8E566}" dt="2023-01-18T05:32:05.416" v="14831" actId="2696"/>
          <pc:sldLayoutMkLst>
            <pc:docMk/>
            <pc:sldMasterMk cId="2740974196" sldId="2147483717"/>
            <pc:sldLayoutMk cId="1067950092" sldId="2147483721"/>
          </pc:sldLayoutMkLst>
        </pc:sldLayoutChg>
        <pc:sldLayoutChg chg="del">
          <pc:chgData name="Aurelien Domont" userId="6da7715ce44349b3" providerId="LiveId" clId="{30A766B1-982E-4295-BCAD-093FA0E8E566}" dt="2023-01-18T05:32:05.417" v="14832" actId="2696"/>
          <pc:sldLayoutMkLst>
            <pc:docMk/>
            <pc:sldMasterMk cId="2740974196" sldId="2147483717"/>
            <pc:sldLayoutMk cId="1121026184" sldId="2147483722"/>
          </pc:sldLayoutMkLst>
        </pc:sldLayoutChg>
        <pc:sldLayoutChg chg="del">
          <pc:chgData name="Aurelien Domont" userId="6da7715ce44349b3" providerId="LiveId" clId="{30A766B1-982E-4295-BCAD-093FA0E8E566}" dt="2023-01-18T05:32:05.418" v="14833" actId="2696"/>
          <pc:sldLayoutMkLst>
            <pc:docMk/>
            <pc:sldMasterMk cId="2740974196" sldId="2147483717"/>
            <pc:sldLayoutMk cId="2655760981" sldId="2147483723"/>
          </pc:sldLayoutMkLst>
        </pc:sldLayoutChg>
        <pc:sldLayoutChg chg="del">
          <pc:chgData name="Aurelien Domont" userId="6da7715ce44349b3" providerId="LiveId" clId="{30A766B1-982E-4295-BCAD-093FA0E8E566}" dt="2023-01-18T05:32:05.419" v="14834" actId="2696"/>
          <pc:sldLayoutMkLst>
            <pc:docMk/>
            <pc:sldMasterMk cId="2740974196" sldId="2147483717"/>
            <pc:sldLayoutMk cId="4085592818" sldId="2147483724"/>
          </pc:sldLayoutMkLst>
        </pc:sldLayoutChg>
        <pc:sldLayoutChg chg="del">
          <pc:chgData name="Aurelien Domont" userId="6da7715ce44349b3" providerId="LiveId" clId="{30A766B1-982E-4295-BCAD-093FA0E8E566}" dt="2023-01-18T05:32:05.420" v="14835" actId="2696"/>
          <pc:sldLayoutMkLst>
            <pc:docMk/>
            <pc:sldMasterMk cId="2740974196" sldId="2147483717"/>
            <pc:sldLayoutMk cId="4174988140" sldId="2147483725"/>
          </pc:sldLayoutMkLst>
        </pc:sldLayoutChg>
      </pc:sldMasterChg>
      <pc:sldMasterChg chg="del delSldLayout">
        <pc:chgData name="Aurelien Domont" userId="6da7715ce44349b3" providerId="LiveId" clId="{30A766B1-982E-4295-BCAD-093FA0E8E566}" dt="2023-01-18T05:32:05.012" v="14534" actId="2696"/>
        <pc:sldMasterMkLst>
          <pc:docMk/>
          <pc:sldMasterMk cId="3410967642" sldId="2147483726"/>
        </pc:sldMasterMkLst>
        <pc:sldLayoutChg chg="del">
          <pc:chgData name="Aurelien Domont" userId="6da7715ce44349b3" providerId="LiveId" clId="{30A766B1-982E-4295-BCAD-093FA0E8E566}" dt="2023-01-18T05:32:05.003" v="14526" actId="2696"/>
          <pc:sldLayoutMkLst>
            <pc:docMk/>
            <pc:sldMasterMk cId="3410967642" sldId="2147483726"/>
            <pc:sldLayoutMk cId="1636102530" sldId="2147483727"/>
          </pc:sldLayoutMkLst>
        </pc:sldLayoutChg>
        <pc:sldLayoutChg chg="del">
          <pc:chgData name="Aurelien Domont" userId="6da7715ce44349b3" providerId="LiveId" clId="{30A766B1-982E-4295-BCAD-093FA0E8E566}" dt="2023-01-18T05:32:05.003" v="14527" actId="2696"/>
          <pc:sldLayoutMkLst>
            <pc:docMk/>
            <pc:sldMasterMk cId="3410967642" sldId="2147483726"/>
            <pc:sldLayoutMk cId="2355500554" sldId="2147483728"/>
          </pc:sldLayoutMkLst>
        </pc:sldLayoutChg>
        <pc:sldLayoutChg chg="del">
          <pc:chgData name="Aurelien Domont" userId="6da7715ce44349b3" providerId="LiveId" clId="{30A766B1-982E-4295-BCAD-093FA0E8E566}" dt="2023-01-18T05:32:05.005" v="14528" actId="2696"/>
          <pc:sldLayoutMkLst>
            <pc:docMk/>
            <pc:sldMasterMk cId="3410967642" sldId="2147483726"/>
            <pc:sldLayoutMk cId="530562029" sldId="2147483729"/>
          </pc:sldLayoutMkLst>
        </pc:sldLayoutChg>
        <pc:sldLayoutChg chg="del">
          <pc:chgData name="Aurelien Domont" userId="6da7715ce44349b3" providerId="LiveId" clId="{30A766B1-982E-4295-BCAD-093FA0E8E566}" dt="2023-01-18T05:32:05.005" v="14529" actId="2696"/>
          <pc:sldLayoutMkLst>
            <pc:docMk/>
            <pc:sldMasterMk cId="3410967642" sldId="2147483726"/>
            <pc:sldLayoutMk cId="1152195906" sldId="2147483730"/>
          </pc:sldLayoutMkLst>
        </pc:sldLayoutChg>
        <pc:sldLayoutChg chg="del">
          <pc:chgData name="Aurelien Domont" userId="6da7715ce44349b3" providerId="LiveId" clId="{30A766B1-982E-4295-BCAD-093FA0E8E566}" dt="2023-01-18T05:32:05.007" v="14530" actId="2696"/>
          <pc:sldLayoutMkLst>
            <pc:docMk/>
            <pc:sldMasterMk cId="3410967642" sldId="2147483726"/>
            <pc:sldLayoutMk cId="801442958" sldId="2147483731"/>
          </pc:sldLayoutMkLst>
        </pc:sldLayoutChg>
        <pc:sldLayoutChg chg="del">
          <pc:chgData name="Aurelien Domont" userId="6da7715ce44349b3" providerId="LiveId" clId="{30A766B1-982E-4295-BCAD-093FA0E8E566}" dt="2023-01-18T05:32:05.008" v="14531" actId="2696"/>
          <pc:sldLayoutMkLst>
            <pc:docMk/>
            <pc:sldMasterMk cId="3410967642" sldId="2147483726"/>
            <pc:sldLayoutMk cId="1285599503" sldId="2147483732"/>
          </pc:sldLayoutMkLst>
        </pc:sldLayoutChg>
        <pc:sldLayoutChg chg="del">
          <pc:chgData name="Aurelien Domont" userId="6da7715ce44349b3" providerId="LiveId" clId="{30A766B1-982E-4295-BCAD-093FA0E8E566}" dt="2023-01-18T05:32:05.009" v="14532" actId="2696"/>
          <pc:sldLayoutMkLst>
            <pc:docMk/>
            <pc:sldMasterMk cId="3410967642" sldId="2147483726"/>
            <pc:sldLayoutMk cId="1110878311" sldId="2147483733"/>
          </pc:sldLayoutMkLst>
        </pc:sldLayoutChg>
        <pc:sldLayoutChg chg="del">
          <pc:chgData name="Aurelien Domont" userId="6da7715ce44349b3" providerId="LiveId" clId="{30A766B1-982E-4295-BCAD-093FA0E8E566}" dt="2023-01-18T05:32:05.010" v="14533" actId="2696"/>
          <pc:sldLayoutMkLst>
            <pc:docMk/>
            <pc:sldMasterMk cId="3410967642" sldId="2147483726"/>
            <pc:sldLayoutMk cId="1658793984" sldId="2147483734"/>
          </pc:sldLayoutMkLst>
        </pc:sldLayoutChg>
      </pc:sldMasterChg>
      <pc:sldMasterChg chg="del delSldLayout">
        <pc:chgData name="Aurelien Domont" userId="6da7715ce44349b3" providerId="LiveId" clId="{30A766B1-982E-4295-BCAD-093FA0E8E566}" dt="2023-01-18T05:32:05.107" v="14606" actId="2696"/>
        <pc:sldMasterMkLst>
          <pc:docMk/>
          <pc:sldMasterMk cId="2937152409" sldId="2147483735"/>
        </pc:sldMasterMkLst>
        <pc:sldLayoutChg chg="del">
          <pc:chgData name="Aurelien Domont" userId="6da7715ce44349b3" providerId="LiveId" clId="{30A766B1-982E-4295-BCAD-093FA0E8E566}" dt="2023-01-18T05:32:05.099" v="14598" actId="2696"/>
          <pc:sldLayoutMkLst>
            <pc:docMk/>
            <pc:sldMasterMk cId="2937152409" sldId="2147483735"/>
            <pc:sldLayoutMk cId="2497509237" sldId="2147483736"/>
          </pc:sldLayoutMkLst>
        </pc:sldLayoutChg>
        <pc:sldLayoutChg chg="del">
          <pc:chgData name="Aurelien Domont" userId="6da7715ce44349b3" providerId="LiveId" clId="{30A766B1-982E-4295-BCAD-093FA0E8E566}" dt="2023-01-18T05:32:05.100" v="14599" actId="2696"/>
          <pc:sldLayoutMkLst>
            <pc:docMk/>
            <pc:sldMasterMk cId="2937152409" sldId="2147483735"/>
            <pc:sldLayoutMk cId="3262727779" sldId="2147483737"/>
          </pc:sldLayoutMkLst>
        </pc:sldLayoutChg>
        <pc:sldLayoutChg chg="del">
          <pc:chgData name="Aurelien Domont" userId="6da7715ce44349b3" providerId="LiveId" clId="{30A766B1-982E-4295-BCAD-093FA0E8E566}" dt="2023-01-18T05:32:05.102" v="14600" actId="2696"/>
          <pc:sldLayoutMkLst>
            <pc:docMk/>
            <pc:sldMasterMk cId="2937152409" sldId="2147483735"/>
            <pc:sldLayoutMk cId="221560042" sldId="2147483738"/>
          </pc:sldLayoutMkLst>
        </pc:sldLayoutChg>
        <pc:sldLayoutChg chg="del">
          <pc:chgData name="Aurelien Domont" userId="6da7715ce44349b3" providerId="LiveId" clId="{30A766B1-982E-4295-BCAD-093FA0E8E566}" dt="2023-01-18T05:32:05.102" v="14601" actId="2696"/>
          <pc:sldLayoutMkLst>
            <pc:docMk/>
            <pc:sldMasterMk cId="2937152409" sldId="2147483735"/>
            <pc:sldLayoutMk cId="4069253138" sldId="2147483739"/>
          </pc:sldLayoutMkLst>
        </pc:sldLayoutChg>
        <pc:sldLayoutChg chg="del">
          <pc:chgData name="Aurelien Domont" userId="6da7715ce44349b3" providerId="LiveId" clId="{30A766B1-982E-4295-BCAD-093FA0E8E566}" dt="2023-01-18T05:32:05.103" v="14602" actId="2696"/>
          <pc:sldLayoutMkLst>
            <pc:docMk/>
            <pc:sldMasterMk cId="2937152409" sldId="2147483735"/>
            <pc:sldLayoutMk cId="2136575366" sldId="2147483740"/>
          </pc:sldLayoutMkLst>
        </pc:sldLayoutChg>
        <pc:sldLayoutChg chg="del">
          <pc:chgData name="Aurelien Domont" userId="6da7715ce44349b3" providerId="LiveId" clId="{30A766B1-982E-4295-BCAD-093FA0E8E566}" dt="2023-01-18T05:32:05.104" v="14603" actId="2696"/>
          <pc:sldLayoutMkLst>
            <pc:docMk/>
            <pc:sldMasterMk cId="2937152409" sldId="2147483735"/>
            <pc:sldLayoutMk cId="3955865734" sldId="2147483741"/>
          </pc:sldLayoutMkLst>
        </pc:sldLayoutChg>
        <pc:sldLayoutChg chg="del">
          <pc:chgData name="Aurelien Domont" userId="6da7715ce44349b3" providerId="LiveId" clId="{30A766B1-982E-4295-BCAD-093FA0E8E566}" dt="2023-01-18T05:32:05.104" v="14604" actId="2696"/>
          <pc:sldLayoutMkLst>
            <pc:docMk/>
            <pc:sldMasterMk cId="2937152409" sldId="2147483735"/>
            <pc:sldLayoutMk cId="2976396142" sldId="2147483742"/>
          </pc:sldLayoutMkLst>
        </pc:sldLayoutChg>
        <pc:sldLayoutChg chg="del">
          <pc:chgData name="Aurelien Domont" userId="6da7715ce44349b3" providerId="LiveId" clId="{30A766B1-982E-4295-BCAD-093FA0E8E566}" dt="2023-01-18T05:32:05.105" v="14605" actId="2696"/>
          <pc:sldLayoutMkLst>
            <pc:docMk/>
            <pc:sldMasterMk cId="2937152409" sldId="2147483735"/>
            <pc:sldLayoutMk cId="1760056921" sldId="2147483743"/>
          </pc:sldLayoutMkLst>
        </pc:sldLayoutChg>
      </pc:sldMasterChg>
      <pc:sldMasterChg chg="del delSldLayout">
        <pc:chgData name="Aurelien Domont" userId="6da7715ce44349b3" providerId="LiveId" clId="{30A766B1-982E-4295-BCAD-093FA0E8E566}" dt="2023-01-18T05:32:05.234" v="14696" actId="2696"/>
        <pc:sldMasterMkLst>
          <pc:docMk/>
          <pc:sldMasterMk cId="3193935220" sldId="2147483744"/>
        </pc:sldMasterMkLst>
        <pc:sldLayoutChg chg="del">
          <pc:chgData name="Aurelien Domont" userId="6da7715ce44349b3" providerId="LiveId" clId="{30A766B1-982E-4295-BCAD-093FA0E8E566}" dt="2023-01-18T05:32:05.226" v="14688" actId="2696"/>
          <pc:sldLayoutMkLst>
            <pc:docMk/>
            <pc:sldMasterMk cId="3193935220" sldId="2147483744"/>
            <pc:sldLayoutMk cId="2060143357" sldId="2147483745"/>
          </pc:sldLayoutMkLst>
        </pc:sldLayoutChg>
        <pc:sldLayoutChg chg="del">
          <pc:chgData name="Aurelien Domont" userId="6da7715ce44349b3" providerId="LiveId" clId="{30A766B1-982E-4295-BCAD-093FA0E8E566}" dt="2023-01-18T05:32:05.227" v="14689" actId="2696"/>
          <pc:sldLayoutMkLst>
            <pc:docMk/>
            <pc:sldMasterMk cId="3193935220" sldId="2147483744"/>
            <pc:sldLayoutMk cId="1515808018" sldId="2147483746"/>
          </pc:sldLayoutMkLst>
        </pc:sldLayoutChg>
        <pc:sldLayoutChg chg="del">
          <pc:chgData name="Aurelien Domont" userId="6da7715ce44349b3" providerId="LiveId" clId="{30A766B1-982E-4295-BCAD-093FA0E8E566}" dt="2023-01-18T05:32:05.228" v="14690" actId="2696"/>
          <pc:sldLayoutMkLst>
            <pc:docMk/>
            <pc:sldMasterMk cId="3193935220" sldId="2147483744"/>
            <pc:sldLayoutMk cId="1648064852" sldId="2147483747"/>
          </pc:sldLayoutMkLst>
        </pc:sldLayoutChg>
        <pc:sldLayoutChg chg="del">
          <pc:chgData name="Aurelien Domont" userId="6da7715ce44349b3" providerId="LiveId" clId="{30A766B1-982E-4295-BCAD-093FA0E8E566}" dt="2023-01-18T05:32:05.230" v="14691" actId="2696"/>
          <pc:sldLayoutMkLst>
            <pc:docMk/>
            <pc:sldMasterMk cId="3193935220" sldId="2147483744"/>
            <pc:sldLayoutMk cId="679772486" sldId="2147483748"/>
          </pc:sldLayoutMkLst>
        </pc:sldLayoutChg>
        <pc:sldLayoutChg chg="del">
          <pc:chgData name="Aurelien Domont" userId="6da7715ce44349b3" providerId="LiveId" clId="{30A766B1-982E-4295-BCAD-093FA0E8E566}" dt="2023-01-18T05:32:05.231" v="14692" actId="2696"/>
          <pc:sldLayoutMkLst>
            <pc:docMk/>
            <pc:sldMasterMk cId="3193935220" sldId="2147483744"/>
            <pc:sldLayoutMk cId="950922922" sldId="2147483749"/>
          </pc:sldLayoutMkLst>
        </pc:sldLayoutChg>
        <pc:sldLayoutChg chg="del">
          <pc:chgData name="Aurelien Domont" userId="6da7715ce44349b3" providerId="LiveId" clId="{30A766B1-982E-4295-BCAD-093FA0E8E566}" dt="2023-01-18T05:32:05.231" v="14693" actId="2696"/>
          <pc:sldLayoutMkLst>
            <pc:docMk/>
            <pc:sldMasterMk cId="3193935220" sldId="2147483744"/>
            <pc:sldLayoutMk cId="4257427715" sldId="2147483750"/>
          </pc:sldLayoutMkLst>
        </pc:sldLayoutChg>
        <pc:sldLayoutChg chg="del">
          <pc:chgData name="Aurelien Domont" userId="6da7715ce44349b3" providerId="LiveId" clId="{30A766B1-982E-4295-BCAD-093FA0E8E566}" dt="2023-01-18T05:32:05.232" v="14694" actId="2696"/>
          <pc:sldLayoutMkLst>
            <pc:docMk/>
            <pc:sldMasterMk cId="3193935220" sldId="2147483744"/>
            <pc:sldLayoutMk cId="1752190014" sldId="2147483751"/>
          </pc:sldLayoutMkLst>
        </pc:sldLayoutChg>
        <pc:sldLayoutChg chg="del">
          <pc:chgData name="Aurelien Domont" userId="6da7715ce44349b3" providerId="LiveId" clId="{30A766B1-982E-4295-BCAD-093FA0E8E566}" dt="2023-01-18T05:32:05.232" v="14695" actId="2696"/>
          <pc:sldLayoutMkLst>
            <pc:docMk/>
            <pc:sldMasterMk cId="3193935220" sldId="2147483744"/>
            <pc:sldLayoutMk cId="2880958835" sldId="2147483752"/>
          </pc:sldLayoutMkLst>
        </pc:sldLayoutChg>
      </pc:sldMasterChg>
      <pc:sldMasterChg chg="addSp del delSldLayout modSldLayout">
        <pc:chgData name="Aurelien Domont" userId="6da7715ce44349b3" providerId="LiveId" clId="{30A766B1-982E-4295-BCAD-093FA0E8E566}" dt="2023-01-18T05:32:05.342" v="14775" actId="2696"/>
        <pc:sldMasterMkLst>
          <pc:docMk/>
          <pc:sldMasterMk cId="181046878" sldId="2147483753"/>
        </pc:sldMasterMkLst>
        <pc:spChg chg="add">
          <ac:chgData name="Aurelien Domont" userId="6da7715ce44349b3" providerId="LiveId" clId="{30A766B1-982E-4295-BCAD-093FA0E8E566}" dt="2023-01-18T04:53:45.708" v="14411"/>
          <ac:spMkLst>
            <pc:docMk/>
            <pc:sldMasterMk cId="181046878" sldId="2147483753"/>
            <ac:spMk id="10" creationId="{24CA8E5E-C0A7-36B8-3596-2FF73FFD349C}"/>
          </ac:spMkLst>
        </pc:spChg>
        <pc:spChg chg="add">
          <ac:chgData name="Aurelien Domont" userId="6da7715ce44349b3" providerId="LiveId" clId="{30A766B1-982E-4295-BCAD-093FA0E8E566}" dt="2023-01-18T04:53:45.708" v="14411"/>
          <ac:spMkLst>
            <pc:docMk/>
            <pc:sldMasterMk cId="181046878" sldId="2147483753"/>
            <ac:spMk id="11" creationId="{A3B33C60-13AB-EBCE-B541-90966B92C095}"/>
          </ac:spMkLst>
        </pc:spChg>
        <pc:graphicFrameChg chg="add">
          <ac:chgData name="Aurelien Domont" userId="6da7715ce44349b3" providerId="LiveId" clId="{30A766B1-982E-4295-BCAD-093FA0E8E566}" dt="2023-01-18T04:53:45.708" v="14411"/>
          <ac:graphicFrameMkLst>
            <pc:docMk/>
            <pc:sldMasterMk cId="181046878" sldId="2147483753"/>
            <ac:graphicFrameMk id="4" creationId="{2E031ADD-875B-4E20-9FAD-79D8223CD8B0}"/>
          </ac:graphicFrameMkLst>
        </pc:graphicFrameChg>
        <pc:cxnChg chg="add">
          <ac:chgData name="Aurelien Domont" userId="6da7715ce44349b3" providerId="LiveId" clId="{30A766B1-982E-4295-BCAD-093FA0E8E566}" dt="2023-01-18T04:53:45.708" v="14411"/>
          <ac:cxnSpMkLst>
            <pc:docMk/>
            <pc:sldMasterMk cId="181046878" sldId="2147483753"/>
            <ac:cxnSpMk id="12" creationId="{CA2FAFE8-1B40-B25D-232D-E3154234FB48}"/>
          </ac:cxnSpMkLst>
        </pc:cxnChg>
        <pc:sldLayoutChg chg="addSp del">
          <pc:chgData name="Aurelien Domont" userId="6da7715ce44349b3" providerId="LiveId" clId="{30A766B1-982E-4295-BCAD-093FA0E8E566}" dt="2023-01-18T05:32:05.330" v="14768" actId="2696"/>
          <pc:sldLayoutMkLst>
            <pc:docMk/>
            <pc:sldMasterMk cId="181046878" sldId="2147483753"/>
            <pc:sldLayoutMk cId="28478903" sldId="2147483754"/>
          </pc:sldLayoutMkLst>
          <pc:spChg chg="add">
            <ac:chgData name="Aurelien Domont" userId="6da7715ce44349b3" providerId="LiveId" clId="{30A766B1-982E-4295-BCAD-093FA0E8E566}" dt="2023-01-18T04:53:45.708" v="14411"/>
            <ac:spMkLst>
              <pc:docMk/>
              <pc:sldMasterMk cId="181046878" sldId="2147483753"/>
              <pc:sldLayoutMk cId="28478903" sldId="2147483754"/>
              <ac:spMk id="9" creationId="{BBD5A853-ACA1-8109-4B62-C16D78EADE9C}"/>
            </ac:spMkLst>
          </pc:spChg>
          <pc:spChg chg="add">
            <ac:chgData name="Aurelien Domont" userId="6da7715ce44349b3" providerId="LiveId" clId="{30A766B1-982E-4295-BCAD-093FA0E8E566}" dt="2023-01-18T04:53:45.708" v="14411"/>
            <ac:spMkLst>
              <pc:docMk/>
              <pc:sldMasterMk cId="181046878" sldId="2147483753"/>
              <pc:sldLayoutMk cId="28478903" sldId="2147483754"/>
              <ac:spMk id="10" creationId="{EE6C9383-ED24-0DE7-B504-A11931E56838}"/>
            </ac:spMkLst>
          </pc:spChg>
          <pc:graphicFrameChg chg="add">
            <ac:chgData name="Aurelien Domont" userId="6da7715ce44349b3" providerId="LiveId" clId="{30A766B1-982E-4295-BCAD-093FA0E8E566}" dt="2023-01-18T04:53:45.708" v="14411"/>
            <ac:graphicFrameMkLst>
              <pc:docMk/>
              <pc:sldMasterMk cId="181046878" sldId="2147483753"/>
              <pc:sldLayoutMk cId="28478903" sldId="2147483754"/>
              <ac:graphicFrameMk id="8" creationId="{3467DD7F-8193-69C1-424F-B65044ED0BE7}"/>
            </ac:graphicFrameMkLst>
          </pc:graphicFrameChg>
        </pc:sldLayoutChg>
        <pc:sldLayoutChg chg="addSp del">
          <pc:chgData name="Aurelien Domont" userId="6da7715ce44349b3" providerId="LiveId" clId="{30A766B1-982E-4295-BCAD-093FA0E8E566}" dt="2023-01-18T05:32:05.332" v="14769" actId="2696"/>
          <pc:sldLayoutMkLst>
            <pc:docMk/>
            <pc:sldMasterMk cId="181046878" sldId="2147483753"/>
            <pc:sldLayoutMk cId="1730798019" sldId="2147483755"/>
          </pc:sldLayoutMkLst>
          <pc:spChg chg="add">
            <ac:chgData name="Aurelien Domont" userId="6da7715ce44349b3" providerId="LiveId" clId="{30A766B1-982E-4295-BCAD-093FA0E8E566}" dt="2023-01-18T04:53:45.708" v="14411"/>
            <ac:spMkLst>
              <pc:docMk/>
              <pc:sldMasterMk cId="181046878" sldId="2147483753"/>
              <pc:sldLayoutMk cId="1730798019" sldId="2147483755"/>
              <ac:spMk id="5" creationId="{2434492C-A4CA-F3E9-E103-14503F1E5EC9}"/>
            </ac:spMkLst>
          </pc:spChg>
          <pc:spChg chg="add">
            <ac:chgData name="Aurelien Domont" userId="6da7715ce44349b3" providerId="LiveId" clId="{30A766B1-982E-4295-BCAD-093FA0E8E566}" dt="2023-01-18T04:53:45.708" v="14411"/>
            <ac:spMkLst>
              <pc:docMk/>
              <pc:sldMasterMk cId="181046878" sldId="2147483753"/>
              <pc:sldLayoutMk cId="1730798019" sldId="2147483755"/>
              <ac:spMk id="6" creationId="{16EB70D4-E987-8096-EADC-2E4A1B5C020B}"/>
            </ac:spMkLst>
          </pc:spChg>
          <pc:graphicFrameChg chg="add">
            <ac:chgData name="Aurelien Domont" userId="6da7715ce44349b3" providerId="LiveId" clId="{30A766B1-982E-4295-BCAD-093FA0E8E566}" dt="2023-01-18T04:53:45.708" v="14411"/>
            <ac:graphicFrameMkLst>
              <pc:docMk/>
              <pc:sldMasterMk cId="181046878" sldId="2147483753"/>
              <pc:sldLayoutMk cId="1730798019" sldId="2147483755"/>
              <ac:graphicFrameMk id="4" creationId="{5D166C8B-75EA-926C-E110-4384048BBF42}"/>
            </ac:graphicFrameMkLst>
          </pc:graphicFrameChg>
          <pc:cxnChg chg="add">
            <ac:chgData name="Aurelien Domont" userId="6da7715ce44349b3" providerId="LiveId" clId="{30A766B1-982E-4295-BCAD-093FA0E8E566}" dt="2023-01-18T04:53:45.708" v="14411"/>
            <ac:cxnSpMkLst>
              <pc:docMk/>
              <pc:sldMasterMk cId="181046878" sldId="2147483753"/>
              <pc:sldLayoutMk cId="1730798019" sldId="2147483755"/>
              <ac:cxnSpMk id="10" creationId="{4648D38E-3832-DF70-2C60-CA5277F49C4E}"/>
            </ac:cxnSpMkLst>
          </pc:cxnChg>
        </pc:sldLayoutChg>
        <pc:sldLayoutChg chg="addSp del">
          <pc:chgData name="Aurelien Domont" userId="6da7715ce44349b3" providerId="LiveId" clId="{30A766B1-982E-4295-BCAD-093FA0E8E566}" dt="2023-01-18T05:32:05.334" v="14770" actId="2696"/>
          <pc:sldLayoutMkLst>
            <pc:docMk/>
            <pc:sldMasterMk cId="181046878" sldId="2147483753"/>
            <pc:sldLayoutMk cId="1460037296" sldId="2147483756"/>
          </pc:sldLayoutMkLst>
          <pc:spChg chg="add">
            <ac:chgData name="Aurelien Domont" userId="6da7715ce44349b3" providerId="LiveId" clId="{30A766B1-982E-4295-BCAD-093FA0E8E566}" dt="2023-01-18T04:53:45.708" v="14411"/>
            <ac:spMkLst>
              <pc:docMk/>
              <pc:sldMasterMk cId="181046878" sldId="2147483753"/>
              <pc:sldLayoutMk cId="1460037296" sldId="2147483756"/>
              <ac:spMk id="6" creationId="{4B24BD7D-DFD2-BBBD-E69A-66DFD1FCB338}"/>
            </ac:spMkLst>
          </pc:spChg>
          <pc:spChg chg="add">
            <ac:chgData name="Aurelien Domont" userId="6da7715ce44349b3" providerId="LiveId" clId="{30A766B1-982E-4295-BCAD-093FA0E8E566}" dt="2023-01-18T04:53:45.708" v="14411"/>
            <ac:spMkLst>
              <pc:docMk/>
              <pc:sldMasterMk cId="181046878" sldId="2147483753"/>
              <pc:sldLayoutMk cId="1460037296" sldId="2147483756"/>
              <ac:spMk id="11" creationId="{B9A80B5B-6897-C7FD-4DE7-25887EA200B5}"/>
            </ac:spMkLst>
          </pc:spChg>
          <pc:graphicFrameChg chg="add">
            <ac:chgData name="Aurelien Domont" userId="6da7715ce44349b3" providerId="LiveId" clId="{30A766B1-982E-4295-BCAD-093FA0E8E566}" dt="2023-01-18T04:53:45.708" v="14411"/>
            <ac:graphicFrameMkLst>
              <pc:docMk/>
              <pc:sldMasterMk cId="181046878" sldId="2147483753"/>
              <pc:sldLayoutMk cId="1460037296" sldId="2147483756"/>
              <ac:graphicFrameMk id="2" creationId="{A3C2D255-2C40-F174-F256-D3860F1CA744}"/>
            </ac:graphicFrameMkLst>
          </pc:graphicFrameChg>
          <pc:cxnChg chg="add">
            <ac:chgData name="Aurelien Domont" userId="6da7715ce44349b3" providerId="LiveId" clId="{30A766B1-982E-4295-BCAD-093FA0E8E566}" dt="2023-01-18T04:53:45.708" v="14411"/>
            <ac:cxnSpMkLst>
              <pc:docMk/>
              <pc:sldMasterMk cId="181046878" sldId="2147483753"/>
              <pc:sldLayoutMk cId="1460037296" sldId="2147483756"/>
              <ac:cxnSpMk id="12" creationId="{85DD1B42-390D-5D46-9D97-583AB5176F84}"/>
            </ac:cxnSpMkLst>
          </pc:cxnChg>
        </pc:sldLayoutChg>
        <pc:sldLayoutChg chg="addSp del">
          <pc:chgData name="Aurelien Domont" userId="6da7715ce44349b3" providerId="LiveId" clId="{30A766B1-982E-4295-BCAD-093FA0E8E566}" dt="2023-01-18T05:32:05.335" v="14771" actId="2696"/>
          <pc:sldLayoutMkLst>
            <pc:docMk/>
            <pc:sldMasterMk cId="181046878" sldId="2147483753"/>
            <pc:sldLayoutMk cId="3243879907" sldId="2147483757"/>
          </pc:sldLayoutMkLst>
          <pc:spChg chg="add">
            <ac:chgData name="Aurelien Domont" userId="6da7715ce44349b3" providerId="LiveId" clId="{30A766B1-982E-4295-BCAD-093FA0E8E566}" dt="2023-01-18T04:53:45.708" v="14411"/>
            <ac:spMkLst>
              <pc:docMk/>
              <pc:sldMasterMk cId="181046878" sldId="2147483753"/>
              <pc:sldLayoutMk cId="3243879907" sldId="2147483757"/>
              <ac:spMk id="6" creationId="{D27D8AEC-A8F1-6D7B-1C31-A3F772D763B3}"/>
            </ac:spMkLst>
          </pc:spChg>
          <pc:spChg chg="add">
            <ac:chgData name="Aurelien Domont" userId="6da7715ce44349b3" providerId="LiveId" clId="{30A766B1-982E-4295-BCAD-093FA0E8E566}" dt="2023-01-18T04:53:45.708" v="14411"/>
            <ac:spMkLst>
              <pc:docMk/>
              <pc:sldMasterMk cId="181046878" sldId="2147483753"/>
              <pc:sldLayoutMk cId="3243879907" sldId="2147483757"/>
              <ac:spMk id="11" creationId="{5B5FEB3D-5D19-7081-E9E1-F0448F0EECA7}"/>
            </ac:spMkLst>
          </pc:spChg>
          <pc:graphicFrameChg chg="add">
            <ac:chgData name="Aurelien Domont" userId="6da7715ce44349b3" providerId="LiveId" clId="{30A766B1-982E-4295-BCAD-093FA0E8E566}" dt="2023-01-18T04:53:45.708" v="14411"/>
            <ac:graphicFrameMkLst>
              <pc:docMk/>
              <pc:sldMasterMk cId="181046878" sldId="2147483753"/>
              <pc:sldLayoutMk cId="3243879907" sldId="2147483757"/>
              <ac:graphicFrameMk id="5" creationId="{0EE00ACC-19E4-3B4F-5994-5141A5730117}"/>
            </ac:graphicFrameMkLst>
          </pc:graphicFrameChg>
          <pc:cxnChg chg="add">
            <ac:chgData name="Aurelien Domont" userId="6da7715ce44349b3" providerId="LiveId" clId="{30A766B1-982E-4295-BCAD-093FA0E8E566}" dt="2023-01-18T04:53:45.708" v="14411"/>
            <ac:cxnSpMkLst>
              <pc:docMk/>
              <pc:sldMasterMk cId="181046878" sldId="2147483753"/>
              <pc:sldLayoutMk cId="3243879907" sldId="2147483757"/>
              <ac:cxnSpMk id="13" creationId="{BCED24A1-6EE8-3D99-4FDE-EA88B755B4A3}"/>
            </ac:cxnSpMkLst>
          </pc:cxnChg>
        </pc:sldLayoutChg>
        <pc:sldLayoutChg chg="addSp del">
          <pc:chgData name="Aurelien Domont" userId="6da7715ce44349b3" providerId="LiveId" clId="{30A766B1-982E-4295-BCAD-093FA0E8E566}" dt="2023-01-18T05:32:05.337" v="14772" actId="2696"/>
          <pc:sldLayoutMkLst>
            <pc:docMk/>
            <pc:sldMasterMk cId="181046878" sldId="2147483753"/>
            <pc:sldLayoutMk cId="3401697793" sldId="2147483758"/>
          </pc:sldLayoutMkLst>
          <pc:spChg chg="add">
            <ac:chgData name="Aurelien Domont" userId="6da7715ce44349b3" providerId="LiveId" clId="{30A766B1-982E-4295-BCAD-093FA0E8E566}" dt="2023-01-18T04:53:45.708" v="14411"/>
            <ac:spMkLst>
              <pc:docMk/>
              <pc:sldMasterMk cId="181046878" sldId="2147483753"/>
              <pc:sldLayoutMk cId="3401697793" sldId="2147483758"/>
              <ac:spMk id="6" creationId="{095AC991-9A45-257C-32DA-E13EF4D46E32}"/>
            </ac:spMkLst>
          </pc:spChg>
          <pc:spChg chg="add">
            <ac:chgData name="Aurelien Domont" userId="6da7715ce44349b3" providerId="LiveId" clId="{30A766B1-982E-4295-BCAD-093FA0E8E566}" dt="2023-01-18T04:53:45.708" v="14411"/>
            <ac:spMkLst>
              <pc:docMk/>
              <pc:sldMasterMk cId="181046878" sldId="2147483753"/>
              <pc:sldLayoutMk cId="3401697793" sldId="2147483758"/>
              <ac:spMk id="10" creationId="{9C27F165-B3FD-755D-A98F-8DE54FBB0405}"/>
            </ac:spMkLst>
          </pc:spChg>
          <pc:spChg chg="add">
            <ac:chgData name="Aurelien Domont" userId="6da7715ce44349b3" providerId="LiveId" clId="{30A766B1-982E-4295-BCAD-093FA0E8E566}" dt="2023-01-18T04:53:45.708" v="14411"/>
            <ac:spMkLst>
              <pc:docMk/>
              <pc:sldMasterMk cId="181046878" sldId="2147483753"/>
              <pc:sldLayoutMk cId="3401697793" sldId="2147483758"/>
              <ac:spMk id="17" creationId="{78EF6C59-E214-BC2F-DA4E-4D72ADDE0F29}"/>
            </ac:spMkLst>
          </pc:spChg>
          <pc:graphicFrameChg chg="add">
            <ac:chgData name="Aurelien Domont" userId="6da7715ce44349b3" providerId="LiveId" clId="{30A766B1-982E-4295-BCAD-093FA0E8E566}" dt="2023-01-18T04:53:45.708" v="14411"/>
            <ac:graphicFrameMkLst>
              <pc:docMk/>
              <pc:sldMasterMk cId="181046878" sldId="2147483753"/>
              <pc:sldLayoutMk cId="3401697793" sldId="2147483758"/>
              <ac:graphicFrameMk id="5" creationId="{EAFC9C4A-6923-D2B8-EA23-941B90040CCA}"/>
            </ac:graphicFrameMkLst>
          </pc:graphicFrameChg>
          <pc:cxnChg chg="add">
            <ac:chgData name="Aurelien Domont" userId="6da7715ce44349b3" providerId="LiveId" clId="{30A766B1-982E-4295-BCAD-093FA0E8E566}" dt="2023-01-18T04:53:45.708" v="14411"/>
            <ac:cxnSpMkLst>
              <pc:docMk/>
              <pc:sldMasterMk cId="181046878" sldId="2147483753"/>
              <pc:sldLayoutMk cId="3401697793" sldId="2147483758"/>
              <ac:cxnSpMk id="16" creationId="{607234AD-7E89-E66B-87DE-13B66359F9A6}"/>
            </ac:cxnSpMkLst>
          </pc:cxnChg>
        </pc:sldLayoutChg>
        <pc:sldLayoutChg chg="addSp del">
          <pc:chgData name="Aurelien Domont" userId="6da7715ce44349b3" providerId="LiveId" clId="{30A766B1-982E-4295-BCAD-093FA0E8E566}" dt="2023-01-18T05:32:05.338" v="14773" actId="2696"/>
          <pc:sldLayoutMkLst>
            <pc:docMk/>
            <pc:sldMasterMk cId="181046878" sldId="2147483753"/>
            <pc:sldLayoutMk cId="2290861631" sldId="2147483759"/>
          </pc:sldLayoutMkLst>
          <pc:spChg chg="add">
            <ac:chgData name="Aurelien Domont" userId="6da7715ce44349b3" providerId="LiveId" clId="{30A766B1-982E-4295-BCAD-093FA0E8E566}" dt="2023-01-18T04:53:45.708" v="14411"/>
            <ac:spMkLst>
              <pc:docMk/>
              <pc:sldMasterMk cId="181046878" sldId="2147483753"/>
              <pc:sldLayoutMk cId="2290861631" sldId="2147483759"/>
              <ac:spMk id="5" creationId="{ED02899C-E8B8-7C11-97EB-A7A5D7DD9A05}"/>
            </ac:spMkLst>
          </pc:spChg>
          <pc:graphicFrameChg chg="add">
            <ac:chgData name="Aurelien Domont" userId="6da7715ce44349b3" providerId="LiveId" clId="{30A766B1-982E-4295-BCAD-093FA0E8E566}" dt="2023-01-18T04:53:45.708" v="14411"/>
            <ac:graphicFrameMkLst>
              <pc:docMk/>
              <pc:sldMasterMk cId="181046878" sldId="2147483753"/>
              <pc:sldLayoutMk cId="2290861631" sldId="2147483759"/>
              <ac:graphicFrameMk id="4" creationId="{B97DF4FD-B006-DB08-BD4E-BE79CE890C2C}"/>
            </ac:graphicFrameMkLst>
          </pc:graphicFrameChg>
        </pc:sldLayoutChg>
        <pc:sldLayoutChg chg="addSp del">
          <pc:chgData name="Aurelien Domont" userId="6da7715ce44349b3" providerId="LiveId" clId="{30A766B1-982E-4295-BCAD-093FA0E8E566}" dt="2023-01-18T05:32:05.339" v="14774" actId="2696"/>
          <pc:sldLayoutMkLst>
            <pc:docMk/>
            <pc:sldMasterMk cId="181046878" sldId="2147483753"/>
            <pc:sldLayoutMk cId="2209325421" sldId="2147483760"/>
          </pc:sldLayoutMkLst>
          <pc:spChg chg="add">
            <ac:chgData name="Aurelien Domont" userId="6da7715ce44349b3" providerId="LiveId" clId="{30A766B1-982E-4295-BCAD-093FA0E8E566}" dt="2023-01-18T04:53:45.708" v="14411"/>
            <ac:spMkLst>
              <pc:docMk/>
              <pc:sldMasterMk cId="181046878" sldId="2147483753"/>
              <pc:sldLayoutMk cId="2209325421" sldId="2147483760"/>
              <ac:spMk id="5" creationId="{E2FB77D9-BCE8-6EEA-6DA5-19D83E6BDD1E}"/>
            </ac:spMkLst>
          </pc:spChg>
          <pc:graphicFrameChg chg="add">
            <ac:chgData name="Aurelien Domont" userId="6da7715ce44349b3" providerId="LiveId" clId="{30A766B1-982E-4295-BCAD-093FA0E8E566}" dt="2023-01-18T04:53:45.708" v="14411"/>
            <ac:graphicFrameMkLst>
              <pc:docMk/>
              <pc:sldMasterMk cId="181046878" sldId="2147483753"/>
              <pc:sldLayoutMk cId="2209325421" sldId="2147483760"/>
              <ac:graphicFrameMk id="4" creationId="{358573CD-3DE0-B18F-63F6-3543F999F6E3}"/>
            </ac:graphicFrameMkLst>
          </pc:graphicFrameChg>
        </pc:sldLayoutChg>
      </pc:sldMasterChg>
      <pc:sldMasterChg chg="addSp del delSldLayout modSldLayout">
        <pc:chgData name="Aurelien Domont" userId="6da7715ce44349b3" providerId="LiveId" clId="{30A766B1-982E-4295-BCAD-093FA0E8E566}" dt="2023-01-18T05:32:05.443" v="14844" actId="2696"/>
        <pc:sldMasterMkLst>
          <pc:docMk/>
          <pc:sldMasterMk cId="2507157224" sldId="2147483761"/>
        </pc:sldMasterMkLst>
        <pc:spChg chg="add">
          <ac:chgData name="Aurelien Domont" userId="6da7715ce44349b3" providerId="LiveId" clId="{30A766B1-982E-4295-BCAD-093FA0E8E566}" dt="2023-01-18T05:01:19.712" v="14419"/>
          <ac:spMkLst>
            <pc:docMk/>
            <pc:sldMasterMk cId="2507157224" sldId="2147483761"/>
            <ac:spMk id="10" creationId="{05BE3F09-A737-77A8-44AA-55AB067C8DAC}"/>
          </ac:spMkLst>
        </pc:spChg>
        <pc:spChg chg="add">
          <ac:chgData name="Aurelien Domont" userId="6da7715ce44349b3" providerId="LiveId" clId="{30A766B1-982E-4295-BCAD-093FA0E8E566}" dt="2023-01-18T05:01:19.712" v="14419"/>
          <ac:spMkLst>
            <pc:docMk/>
            <pc:sldMasterMk cId="2507157224" sldId="2147483761"/>
            <ac:spMk id="11" creationId="{B596078F-AD0F-9944-83C3-AD4C764593B5}"/>
          </ac:spMkLst>
        </pc:spChg>
        <pc:graphicFrameChg chg="add">
          <ac:chgData name="Aurelien Domont" userId="6da7715ce44349b3" providerId="LiveId" clId="{30A766B1-982E-4295-BCAD-093FA0E8E566}" dt="2023-01-18T05:01:19.712" v="14419"/>
          <ac:graphicFrameMkLst>
            <pc:docMk/>
            <pc:sldMasterMk cId="2507157224" sldId="2147483761"/>
            <ac:graphicFrameMk id="4" creationId="{188FFCBD-B795-5F80-1D30-46B3F3202814}"/>
          </ac:graphicFrameMkLst>
        </pc:graphicFrameChg>
        <pc:cxnChg chg="add">
          <ac:chgData name="Aurelien Domont" userId="6da7715ce44349b3" providerId="LiveId" clId="{30A766B1-982E-4295-BCAD-093FA0E8E566}" dt="2023-01-18T05:01:19.712" v="14419"/>
          <ac:cxnSpMkLst>
            <pc:docMk/>
            <pc:sldMasterMk cId="2507157224" sldId="2147483761"/>
            <ac:cxnSpMk id="12" creationId="{C410D172-CCF8-B300-4F95-DA6E78B83C9D}"/>
          </ac:cxnSpMkLst>
        </pc:cxnChg>
        <pc:sldLayoutChg chg="addSp del">
          <pc:chgData name="Aurelien Domont" userId="6da7715ce44349b3" providerId="LiveId" clId="{30A766B1-982E-4295-BCAD-093FA0E8E566}" dt="2023-01-18T05:32:05.426" v="14837" actId="2696"/>
          <pc:sldLayoutMkLst>
            <pc:docMk/>
            <pc:sldMasterMk cId="2507157224" sldId="2147483761"/>
            <pc:sldLayoutMk cId="3337747593" sldId="2147483762"/>
          </pc:sldLayoutMkLst>
          <pc:spChg chg="add">
            <ac:chgData name="Aurelien Domont" userId="6da7715ce44349b3" providerId="LiveId" clId="{30A766B1-982E-4295-BCAD-093FA0E8E566}" dt="2023-01-18T05:01:19.712" v="14419"/>
            <ac:spMkLst>
              <pc:docMk/>
              <pc:sldMasterMk cId="2507157224" sldId="2147483761"/>
              <pc:sldLayoutMk cId="3337747593" sldId="2147483762"/>
              <ac:spMk id="9" creationId="{DCAC3D66-66E1-F60E-478E-D705397AD7C5}"/>
            </ac:spMkLst>
          </pc:spChg>
          <pc:spChg chg="add">
            <ac:chgData name="Aurelien Domont" userId="6da7715ce44349b3" providerId="LiveId" clId="{30A766B1-982E-4295-BCAD-093FA0E8E566}" dt="2023-01-18T05:01:19.712" v="14419"/>
            <ac:spMkLst>
              <pc:docMk/>
              <pc:sldMasterMk cId="2507157224" sldId="2147483761"/>
              <pc:sldLayoutMk cId="3337747593" sldId="2147483762"/>
              <ac:spMk id="10" creationId="{F57AA2E2-990C-730E-9D6B-C35499454854}"/>
            </ac:spMkLst>
          </pc:spChg>
          <pc:graphicFrameChg chg="add">
            <ac:chgData name="Aurelien Domont" userId="6da7715ce44349b3" providerId="LiveId" clId="{30A766B1-982E-4295-BCAD-093FA0E8E566}" dt="2023-01-18T05:01:19.712" v="14419"/>
            <ac:graphicFrameMkLst>
              <pc:docMk/>
              <pc:sldMasterMk cId="2507157224" sldId="2147483761"/>
              <pc:sldLayoutMk cId="3337747593" sldId="2147483762"/>
              <ac:graphicFrameMk id="8" creationId="{B10EE30D-45E1-6E2E-6A57-C96749850C2A}"/>
            </ac:graphicFrameMkLst>
          </pc:graphicFrameChg>
        </pc:sldLayoutChg>
        <pc:sldLayoutChg chg="addSp del">
          <pc:chgData name="Aurelien Domont" userId="6da7715ce44349b3" providerId="LiveId" clId="{30A766B1-982E-4295-BCAD-093FA0E8E566}" dt="2023-01-18T05:32:05.429" v="14838" actId="2696"/>
          <pc:sldLayoutMkLst>
            <pc:docMk/>
            <pc:sldMasterMk cId="2507157224" sldId="2147483761"/>
            <pc:sldLayoutMk cId="2375586595" sldId="2147483763"/>
          </pc:sldLayoutMkLst>
          <pc:spChg chg="add">
            <ac:chgData name="Aurelien Domont" userId="6da7715ce44349b3" providerId="LiveId" clId="{30A766B1-982E-4295-BCAD-093FA0E8E566}" dt="2023-01-18T05:01:19.712" v="14419"/>
            <ac:spMkLst>
              <pc:docMk/>
              <pc:sldMasterMk cId="2507157224" sldId="2147483761"/>
              <pc:sldLayoutMk cId="2375586595" sldId="2147483763"/>
              <ac:spMk id="5" creationId="{01A48CF2-13A2-5303-C540-43076DDD2315}"/>
            </ac:spMkLst>
          </pc:spChg>
          <pc:spChg chg="add">
            <ac:chgData name="Aurelien Domont" userId="6da7715ce44349b3" providerId="LiveId" clId="{30A766B1-982E-4295-BCAD-093FA0E8E566}" dt="2023-01-18T05:01:19.712" v="14419"/>
            <ac:spMkLst>
              <pc:docMk/>
              <pc:sldMasterMk cId="2507157224" sldId="2147483761"/>
              <pc:sldLayoutMk cId="2375586595" sldId="2147483763"/>
              <ac:spMk id="6" creationId="{EB6996DC-4CDC-6E6C-0F9C-6A4E826CF0C0}"/>
            </ac:spMkLst>
          </pc:spChg>
          <pc:graphicFrameChg chg="add">
            <ac:chgData name="Aurelien Domont" userId="6da7715ce44349b3" providerId="LiveId" clId="{30A766B1-982E-4295-BCAD-093FA0E8E566}" dt="2023-01-18T05:01:19.712" v="14419"/>
            <ac:graphicFrameMkLst>
              <pc:docMk/>
              <pc:sldMasterMk cId="2507157224" sldId="2147483761"/>
              <pc:sldLayoutMk cId="2375586595" sldId="2147483763"/>
              <ac:graphicFrameMk id="4" creationId="{D5311B8E-D747-9B6B-93D3-F8EE3946F75B}"/>
            </ac:graphicFrameMkLst>
          </pc:graphicFrameChg>
          <pc:cxnChg chg="add">
            <ac:chgData name="Aurelien Domont" userId="6da7715ce44349b3" providerId="LiveId" clId="{30A766B1-982E-4295-BCAD-093FA0E8E566}" dt="2023-01-18T05:01:19.712" v="14419"/>
            <ac:cxnSpMkLst>
              <pc:docMk/>
              <pc:sldMasterMk cId="2507157224" sldId="2147483761"/>
              <pc:sldLayoutMk cId="2375586595" sldId="2147483763"/>
              <ac:cxnSpMk id="10" creationId="{EF4940B7-AAA4-56FD-E1D6-189A1F574740}"/>
            </ac:cxnSpMkLst>
          </pc:cxnChg>
        </pc:sldLayoutChg>
        <pc:sldLayoutChg chg="addSp del">
          <pc:chgData name="Aurelien Domont" userId="6da7715ce44349b3" providerId="LiveId" clId="{30A766B1-982E-4295-BCAD-093FA0E8E566}" dt="2023-01-18T05:32:05.430" v="14839" actId="2696"/>
          <pc:sldLayoutMkLst>
            <pc:docMk/>
            <pc:sldMasterMk cId="2507157224" sldId="2147483761"/>
            <pc:sldLayoutMk cId="2830682155" sldId="2147483764"/>
          </pc:sldLayoutMkLst>
          <pc:spChg chg="add">
            <ac:chgData name="Aurelien Domont" userId="6da7715ce44349b3" providerId="LiveId" clId="{30A766B1-982E-4295-BCAD-093FA0E8E566}" dt="2023-01-18T05:01:19.712" v="14419"/>
            <ac:spMkLst>
              <pc:docMk/>
              <pc:sldMasterMk cId="2507157224" sldId="2147483761"/>
              <pc:sldLayoutMk cId="2830682155" sldId="2147483764"/>
              <ac:spMk id="6" creationId="{B0AA0252-ED4D-E943-0FD0-1A740BDD4DE9}"/>
            </ac:spMkLst>
          </pc:spChg>
          <pc:spChg chg="add">
            <ac:chgData name="Aurelien Domont" userId="6da7715ce44349b3" providerId="LiveId" clId="{30A766B1-982E-4295-BCAD-093FA0E8E566}" dt="2023-01-18T05:01:19.712" v="14419"/>
            <ac:spMkLst>
              <pc:docMk/>
              <pc:sldMasterMk cId="2507157224" sldId="2147483761"/>
              <pc:sldLayoutMk cId="2830682155" sldId="2147483764"/>
              <ac:spMk id="11" creationId="{6129A64C-A301-FFDC-32CD-C51643325FD5}"/>
            </ac:spMkLst>
          </pc:spChg>
          <pc:graphicFrameChg chg="add">
            <ac:chgData name="Aurelien Domont" userId="6da7715ce44349b3" providerId="LiveId" clId="{30A766B1-982E-4295-BCAD-093FA0E8E566}" dt="2023-01-18T05:01:19.712" v="14419"/>
            <ac:graphicFrameMkLst>
              <pc:docMk/>
              <pc:sldMasterMk cId="2507157224" sldId="2147483761"/>
              <pc:sldLayoutMk cId="2830682155" sldId="2147483764"/>
              <ac:graphicFrameMk id="2" creationId="{12E9E6C2-AF1E-ACDF-B1C8-335F56827C3E}"/>
            </ac:graphicFrameMkLst>
          </pc:graphicFrameChg>
          <pc:cxnChg chg="add">
            <ac:chgData name="Aurelien Domont" userId="6da7715ce44349b3" providerId="LiveId" clId="{30A766B1-982E-4295-BCAD-093FA0E8E566}" dt="2023-01-18T05:01:19.712" v="14419"/>
            <ac:cxnSpMkLst>
              <pc:docMk/>
              <pc:sldMasterMk cId="2507157224" sldId="2147483761"/>
              <pc:sldLayoutMk cId="2830682155" sldId="2147483764"/>
              <ac:cxnSpMk id="12" creationId="{9B0BEA7B-DC19-D6FB-EB15-A16C9151673E}"/>
            </ac:cxnSpMkLst>
          </pc:cxnChg>
        </pc:sldLayoutChg>
        <pc:sldLayoutChg chg="addSp del">
          <pc:chgData name="Aurelien Domont" userId="6da7715ce44349b3" providerId="LiveId" clId="{30A766B1-982E-4295-BCAD-093FA0E8E566}" dt="2023-01-18T05:32:05.433" v="14840" actId="2696"/>
          <pc:sldLayoutMkLst>
            <pc:docMk/>
            <pc:sldMasterMk cId="2507157224" sldId="2147483761"/>
            <pc:sldLayoutMk cId="4152784167" sldId="2147483765"/>
          </pc:sldLayoutMkLst>
          <pc:spChg chg="add">
            <ac:chgData name="Aurelien Domont" userId="6da7715ce44349b3" providerId="LiveId" clId="{30A766B1-982E-4295-BCAD-093FA0E8E566}" dt="2023-01-18T05:01:19.712" v="14419"/>
            <ac:spMkLst>
              <pc:docMk/>
              <pc:sldMasterMk cId="2507157224" sldId="2147483761"/>
              <pc:sldLayoutMk cId="4152784167" sldId="2147483765"/>
              <ac:spMk id="6" creationId="{4D669661-DCDC-A638-F5C2-1C5FD180213E}"/>
            </ac:spMkLst>
          </pc:spChg>
          <pc:spChg chg="add">
            <ac:chgData name="Aurelien Domont" userId="6da7715ce44349b3" providerId="LiveId" clId="{30A766B1-982E-4295-BCAD-093FA0E8E566}" dt="2023-01-18T05:01:19.712" v="14419"/>
            <ac:spMkLst>
              <pc:docMk/>
              <pc:sldMasterMk cId="2507157224" sldId="2147483761"/>
              <pc:sldLayoutMk cId="4152784167" sldId="2147483765"/>
              <ac:spMk id="11" creationId="{398A6AFD-0C7D-C635-5B04-3565CFE7FAC0}"/>
            </ac:spMkLst>
          </pc:spChg>
          <pc:graphicFrameChg chg="add">
            <ac:chgData name="Aurelien Domont" userId="6da7715ce44349b3" providerId="LiveId" clId="{30A766B1-982E-4295-BCAD-093FA0E8E566}" dt="2023-01-18T05:01:19.712" v="14419"/>
            <ac:graphicFrameMkLst>
              <pc:docMk/>
              <pc:sldMasterMk cId="2507157224" sldId="2147483761"/>
              <pc:sldLayoutMk cId="4152784167" sldId="2147483765"/>
              <ac:graphicFrameMk id="5" creationId="{133114E7-6E0D-044F-95C1-809D4777A8A8}"/>
            </ac:graphicFrameMkLst>
          </pc:graphicFrameChg>
          <pc:cxnChg chg="add">
            <ac:chgData name="Aurelien Domont" userId="6da7715ce44349b3" providerId="LiveId" clId="{30A766B1-982E-4295-BCAD-093FA0E8E566}" dt="2023-01-18T05:01:19.712" v="14419"/>
            <ac:cxnSpMkLst>
              <pc:docMk/>
              <pc:sldMasterMk cId="2507157224" sldId="2147483761"/>
              <pc:sldLayoutMk cId="4152784167" sldId="2147483765"/>
              <ac:cxnSpMk id="13" creationId="{740FEDA7-E19A-18BB-5EBC-EDE623D08C7E}"/>
            </ac:cxnSpMkLst>
          </pc:cxnChg>
        </pc:sldLayoutChg>
        <pc:sldLayoutChg chg="addSp del">
          <pc:chgData name="Aurelien Domont" userId="6da7715ce44349b3" providerId="LiveId" clId="{30A766B1-982E-4295-BCAD-093FA0E8E566}" dt="2023-01-18T05:32:05.436" v="14841" actId="2696"/>
          <pc:sldLayoutMkLst>
            <pc:docMk/>
            <pc:sldMasterMk cId="2507157224" sldId="2147483761"/>
            <pc:sldLayoutMk cId="1487453365" sldId="2147483766"/>
          </pc:sldLayoutMkLst>
          <pc:spChg chg="add">
            <ac:chgData name="Aurelien Domont" userId="6da7715ce44349b3" providerId="LiveId" clId="{30A766B1-982E-4295-BCAD-093FA0E8E566}" dt="2023-01-18T05:01:19.712" v="14419"/>
            <ac:spMkLst>
              <pc:docMk/>
              <pc:sldMasterMk cId="2507157224" sldId="2147483761"/>
              <pc:sldLayoutMk cId="1487453365" sldId="2147483766"/>
              <ac:spMk id="6" creationId="{88382199-C92A-77B1-7658-E2E349A886D0}"/>
            </ac:spMkLst>
          </pc:spChg>
          <pc:spChg chg="add">
            <ac:chgData name="Aurelien Domont" userId="6da7715ce44349b3" providerId="LiveId" clId="{30A766B1-982E-4295-BCAD-093FA0E8E566}" dt="2023-01-18T05:01:19.712" v="14419"/>
            <ac:spMkLst>
              <pc:docMk/>
              <pc:sldMasterMk cId="2507157224" sldId="2147483761"/>
              <pc:sldLayoutMk cId="1487453365" sldId="2147483766"/>
              <ac:spMk id="10" creationId="{E4694865-BF24-750F-2E2C-9C856B1C38D1}"/>
            </ac:spMkLst>
          </pc:spChg>
          <pc:spChg chg="add">
            <ac:chgData name="Aurelien Domont" userId="6da7715ce44349b3" providerId="LiveId" clId="{30A766B1-982E-4295-BCAD-093FA0E8E566}" dt="2023-01-18T05:01:19.712" v="14419"/>
            <ac:spMkLst>
              <pc:docMk/>
              <pc:sldMasterMk cId="2507157224" sldId="2147483761"/>
              <pc:sldLayoutMk cId="1487453365" sldId="2147483766"/>
              <ac:spMk id="17" creationId="{E8637D0F-F241-5842-FC5B-D93970041C5E}"/>
            </ac:spMkLst>
          </pc:spChg>
          <pc:graphicFrameChg chg="add">
            <ac:chgData name="Aurelien Domont" userId="6da7715ce44349b3" providerId="LiveId" clId="{30A766B1-982E-4295-BCAD-093FA0E8E566}" dt="2023-01-18T05:01:19.712" v="14419"/>
            <ac:graphicFrameMkLst>
              <pc:docMk/>
              <pc:sldMasterMk cId="2507157224" sldId="2147483761"/>
              <pc:sldLayoutMk cId="1487453365" sldId="2147483766"/>
              <ac:graphicFrameMk id="5" creationId="{0DAE4113-5279-BFCE-A7EF-22673CA68769}"/>
            </ac:graphicFrameMkLst>
          </pc:graphicFrameChg>
          <pc:cxnChg chg="add">
            <ac:chgData name="Aurelien Domont" userId="6da7715ce44349b3" providerId="LiveId" clId="{30A766B1-982E-4295-BCAD-093FA0E8E566}" dt="2023-01-18T05:01:19.712" v="14419"/>
            <ac:cxnSpMkLst>
              <pc:docMk/>
              <pc:sldMasterMk cId="2507157224" sldId="2147483761"/>
              <pc:sldLayoutMk cId="1487453365" sldId="2147483766"/>
              <ac:cxnSpMk id="16" creationId="{B1D22164-C60B-E184-3074-3724D559477C}"/>
            </ac:cxnSpMkLst>
          </pc:cxnChg>
        </pc:sldLayoutChg>
        <pc:sldLayoutChg chg="addSp del">
          <pc:chgData name="Aurelien Domont" userId="6da7715ce44349b3" providerId="LiveId" clId="{30A766B1-982E-4295-BCAD-093FA0E8E566}" dt="2023-01-18T05:32:05.439" v="14842" actId="2696"/>
          <pc:sldLayoutMkLst>
            <pc:docMk/>
            <pc:sldMasterMk cId="2507157224" sldId="2147483761"/>
            <pc:sldLayoutMk cId="1026503055" sldId="2147483767"/>
          </pc:sldLayoutMkLst>
          <pc:spChg chg="add">
            <ac:chgData name="Aurelien Domont" userId="6da7715ce44349b3" providerId="LiveId" clId="{30A766B1-982E-4295-BCAD-093FA0E8E566}" dt="2023-01-18T05:01:19.712" v="14419"/>
            <ac:spMkLst>
              <pc:docMk/>
              <pc:sldMasterMk cId="2507157224" sldId="2147483761"/>
              <pc:sldLayoutMk cId="1026503055" sldId="2147483767"/>
              <ac:spMk id="5" creationId="{B49068FB-EA93-59B2-87ED-B0ABEC7B360B}"/>
            </ac:spMkLst>
          </pc:spChg>
          <pc:graphicFrameChg chg="add">
            <ac:chgData name="Aurelien Domont" userId="6da7715ce44349b3" providerId="LiveId" clId="{30A766B1-982E-4295-BCAD-093FA0E8E566}" dt="2023-01-18T05:01:19.712" v="14419"/>
            <ac:graphicFrameMkLst>
              <pc:docMk/>
              <pc:sldMasterMk cId="2507157224" sldId="2147483761"/>
              <pc:sldLayoutMk cId="1026503055" sldId="2147483767"/>
              <ac:graphicFrameMk id="4" creationId="{89DEA58D-3E96-BDE6-CEA4-C1DF14CD1C22}"/>
            </ac:graphicFrameMkLst>
          </pc:graphicFrameChg>
        </pc:sldLayoutChg>
        <pc:sldLayoutChg chg="addSp del">
          <pc:chgData name="Aurelien Domont" userId="6da7715ce44349b3" providerId="LiveId" clId="{30A766B1-982E-4295-BCAD-093FA0E8E566}" dt="2023-01-18T05:32:05.441" v="14843" actId="2696"/>
          <pc:sldLayoutMkLst>
            <pc:docMk/>
            <pc:sldMasterMk cId="2507157224" sldId="2147483761"/>
            <pc:sldLayoutMk cId="213659588" sldId="2147483768"/>
          </pc:sldLayoutMkLst>
          <pc:spChg chg="add">
            <ac:chgData name="Aurelien Domont" userId="6da7715ce44349b3" providerId="LiveId" clId="{30A766B1-982E-4295-BCAD-093FA0E8E566}" dt="2023-01-18T05:01:19.712" v="14419"/>
            <ac:spMkLst>
              <pc:docMk/>
              <pc:sldMasterMk cId="2507157224" sldId="2147483761"/>
              <pc:sldLayoutMk cId="213659588" sldId="2147483768"/>
              <ac:spMk id="5" creationId="{EF375A66-A7ED-4746-5759-F7305BAC0439}"/>
            </ac:spMkLst>
          </pc:spChg>
          <pc:graphicFrameChg chg="add">
            <ac:chgData name="Aurelien Domont" userId="6da7715ce44349b3" providerId="LiveId" clId="{30A766B1-982E-4295-BCAD-093FA0E8E566}" dt="2023-01-18T05:01:19.712" v="14419"/>
            <ac:graphicFrameMkLst>
              <pc:docMk/>
              <pc:sldMasterMk cId="2507157224" sldId="2147483761"/>
              <pc:sldLayoutMk cId="213659588" sldId="2147483768"/>
              <ac:graphicFrameMk id="4" creationId="{E78D4074-6D9B-B1E7-E87A-3EE73DD0C40A}"/>
            </ac:graphicFrameMkLst>
          </pc:graphicFrameChg>
        </pc:sldLayoutChg>
      </pc:sldMasterChg>
      <pc:sldMasterChg chg="del delSldLayout">
        <pc:chgData name="Aurelien Domont" userId="6da7715ce44349b3" providerId="LiveId" clId="{30A766B1-982E-4295-BCAD-093FA0E8E566}" dt="2023-01-18T05:32:05.002" v="14525" actId="2696"/>
        <pc:sldMasterMkLst>
          <pc:docMk/>
          <pc:sldMasterMk cId="1110314898" sldId="2147483769"/>
        </pc:sldMasterMkLst>
        <pc:sldLayoutChg chg="del">
          <pc:chgData name="Aurelien Domont" userId="6da7715ce44349b3" providerId="LiveId" clId="{30A766B1-982E-4295-BCAD-093FA0E8E566}" dt="2023-01-18T05:32:04.988" v="14517" actId="2696"/>
          <pc:sldLayoutMkLst>
            <pc:docMk/>
            <pc:sldMasterMk cId="1110314898" sldId="2147483769"/>
            <pc:sldLayoutMk cId="3522492730" sldId="2147483770"/>
          </pc:sldLayoutMkLst>
        </pc:sldLayoutChg>
        <pc:sldLayoutChg chg="del">
          <pc:chgData name="Aurelien Domont" userId="6da7715ce44349b3" providerId="LiveId" clId="{30A766B1-982E-4295-BCAD-093FA0E8E566}" dt="2023-01-18T05:32:04.990" v="14518" actId="2696"/>
          <pc:sldLayoutMkLst>
            <pc:docMk/>
            <pc:sldMasterMk cId="1110314898" sldId="2147483769"/>
            <pc:sldLayoutMk cId="3491319605" sldId="2147483771"/>
          </pc:sldLayoutMkLst>
        </pc:sldLayoutChg>
        <pc:sldLayoutChg chg="del">
          <pc:chgData name="Aurelien Domont" userId="6da7715ce44349b3" providerId="LiveId" clId="{30A766B1-982E-4295-BCAD-093FA0E8E566}" dt="2023-01-18T05:32:04.992" v="14519" actId="2696"/>
          <pc:sldLayoutMkLst>
            <pc:docMk/>
            <pc:sldMasterMk cId="1110314898" sldId="2147483769"/>
            <pc:sldLayoutMk cId="2163442232" sldId="2147483772"/>
          </pc:sldLayoutMkLst>
        </pc:sldLayoutChg>
        <pc:sldLayoutChg chg="del">
          <pc:chgData name="Aurelien Domont" userId="6da7715ce44349b3" providerId="LiveId" clId="{30A766B1-982E-4295-BCAD-093FA0E8E566}" dt="2023-01-18T05:32:04.994" v="14520" actId="2696"/>
          <pc:sldLayoutMkLst>
            <pc:docMk/>
            <pc:sldMasterMk cId="1110314898" sldId="2147483769"/>
            <pc:sldLayoutMk cId="1926508222" sldId="2147483773"/>
          </pc:sldLayoutMkLst>
        </pc:sldLayoutChg>
        <pc:sldLayoutChg chg="del">
          <pc:chgData name="Aurelien Domont" userId="6da7715ce44349b3" providerId="LiveId" clId="{30A766B1-982E-4295-BCAD-093FA0E8E566}" dt="2023-01-18T05:32:04.996" v="14521" actId="2696"/>
          <pc:sldLayoutMkLst>
            <pc:docMk/>
            <pc:sldMasterMk cId="1110314898" sldId="2147483769"/>
            <pc:sldLayoutMk cId="330205572" sldId="2147483774"/>
          </pc:sldLayoutMkLst>
        </pc:sldLayoutChg>
        <pc:sldLayoutChg chg="del">
          <pc:chgData name="Aurelien Domont" userId="6da7715ce44349b3" providerId="LiveId" clId="{30A766B1-982E-4295-BCAD-093FA0E8E566}" dt="2023-01-18T05:32:04.997" v="14522" actId="2696"/>
          <pc:sldLayoutMkLst>
            <pc:docMk/>
            <pc:sldMasterMk cId="1110314898" sldId="2147483769"/>
            <pc:sldLayoutMk cId="241813032" sldId="2147483775"/>
          </pc:sldLayoutMkLst>
        </pc:sldLayoutChg>
        <pc:sldLayoutChg chg="del">
          <pc:chgData name="Aurelien Domont" userId="6da7715ce44349b3" providerId="LiveId" clId="{30A766B1-982E-4295-BCAD-093FA0E8E566}" dt="2023-01-18T05:32:04.999" v="14523" actId="2696"/>
          <pc:sldLayoutMkLst>
            <pc:docMk/>
            <pc:sldMasterMk cId="1110314898" sldId="2147483769"/>
            <pc:sldLayoutMk cId="3941288124" sldId="2147483776"/>
          </pc:sldLayoutMkLst>
        </pc:sldLayoutChg>
        <pc:sldLayoutChg chg="del">
          <pc:chgData name="Aurelien Domont" userId="6da7715ce44349b3" providerId="LiveId" clId="{30A766B1-982E-4295-BCAD-093FA0E8E566}" dt="2023-01-18T05:32:05" v="14524" actId="2696"/>
          <pc:sldLayoutMkLst>
            <pc:docMk/>
            <pc:sldMasterMk cId="1110314898" sldId="2147483769"/>
            <pc:sldLayoutMk cId="3584706937" sldId="2147483777"/>
          </pc:sldLayoutMkLst>
        </pc:sldLayoutChg>
      </pc:sldMasterChg>
      <pc:sldMasterChg chg="del delSldLayout">
        <pc:chgData name="Aurelien Domont" userId="6da7715ce44349b3" providerId="LiveId" clId="{30A766B1-982E-4295-BCAD-093FA0E8E566}" dt="2023-01-18T05:32:05.121" v="14615" actId="2696"/>
        <pc:sldMasterMkLst>
          <pc:docMk/>
          <pc:sldMasterMk cId="1574947354" sldId="2147483778"/>
        </pc:sldMasterMkLst>
        <pc:sldLayoutChg chg="del">
          <pc:chgData name="Aurelien Domont" userId="6da7715ce44349b3" providerId="LiveId" clId="{30A766B1-982E-4295-BCAD-093FA0E8E566}" dt="2023-01-18T05:32:05.109" v="14607" actId="2696"/>
          <pc:sldLayoutMkLst>
            <pc:docMk/>
            <pc:sldMasterMk cId="1574947354" sldId="2147483778"/>
            <pc:sldLayoutMk cId="2048764570" sldId="2147483779"/>
          </pc:sldLayoutMkLst>
        </pc:sldLayoutChg>
        <pc:sldLayoutChg chg="del">
          <pc:chgData name="Aurelien Domont" userId="6da7715ce44349b3" providerId="LiveId" clId="{30A766B1-982E-4295-BCAD-093FA0E8E566}" dt="2023-01-18T05:32:05.111" v="14608" actId="2696"/>
          <pc:sldLayoutMkLst>
            <pc:docMk/>
            <pc:sldMasterMk cId="1574947354" sldId="2147483778"/>
            <pc:sldLayoutMk cId="315493283" sldId="2147483780"/>
          </pc:sldLayoutMkLst>
        </pc:sldLayoutChg>
        <pc:sldLayoutChg chg="del">
          <pc:chgData name="Aurelien Domont" userId="6da7715ce44349b3" providerId="LiveId" clId="{30A766B1-982E-4295-BCAD-093FA0E8E566}" dt="2023-01-18T05:32:05.113" v="14609" actId="2696"/>
          <pc:sldLayoutMkLst>
            <pc:docMk/>
            <pc:sldMasterMk cId="1574947354" sldId="2147483778"/>
            <pc:sldLayoutMk cId="3871205375" sldId="2147483781"/>
          </pc:sldLayoutMkLst>
        </pc:sldLayoutChg>
        <pc:sldLayoutChg chg="del">
          <pc:chgData name="Aurelien Domont" userId="6da7715ce44349b3" providerId="LiveId" clId="{30A766B1-982E-4295-BCAD-093FA0E8E566}" dt="2023-01-18T05:32:05.114" v="14610" actId="2696"/>
          <pc:sldLayoutMkLst>
            <pc:docMk/>
            <pc:sldMasterMk cId="1574947354" sldId="2147483778"/>
            <pc:sldLayoutMk cId="251355706" sldId="2147483782"/>
          </pc:sldLayoutMkLst>
        </pc:sldLayoutChg>
        <pc:sldLayoutChg chg="del">
          <pc:chgData name="Aurelien Domont" userId="6da7715ce44349b3" providerId="LiveId" clId="{30A766B1-982E-4295-BCAD-093FA0E8E566}" dt="2023-01-18T05:32:05.116" v="14611" actId="2696"/>
          <pc:sldLayoutMkLst>
            <pc:docMk/>
            <pc:sldMasterMk cId="1574947354" sldId="2147483778"/>
            <pc:sldLayoutMk cId="4134882738" sldId="2147483783"/>
          </pc:sldLayoutMkLst>
        </pc:sldLayoutChg>
        <pc:sldLayoutChg chg="del">
          <pc:chgData name="Aurelien Domont" userId="6da7715ce44349b3" providerId="LiveId" clId="{30A766B1-982E-4295-BCAD-093FA0E8E566}" dt="2023-01-18T05:32:05.117" v="14612" actId="2696"/>
          <pc:sldLayoutMkLst>
            <pc:docMk/>
            <pc:sldMasterMk cId="1574947354" sldId="2147483778"/>
            <pc:sldLayoutMk cId="4027801849" sldId="2147483784"/>
          </pc:sldLayoutMkLst>
        </pc:sldLayoutChg>
        <pc:sldLayoutChg chg="del">
          <pc:chgData name="Aurelien Domont" userId="6da7715ce44349b3" providerId="LiveId" clId="{30A766B1-982E-4295-BCAD-093FA0E8E566}" dt="2023-01-18T05:32:05.118" v="14613" actId="2696"/>
          <pc:sldLayoutMkLst>
            <pc:docMk/>
            <pc:sldMasterMk cId="1574947354" sldId="2147483778"/>
            <pc:sldLayoutMk cId="2769071328" sldId="2147483785"/>
          </pc:sldLayoutMkLst>
        </pc:sldLayoutChg>
        <pc:sldLayoutChg chg="del">
          <pc:chgData name="Aurelien Domont" userId="6da7715ce44349b3" providerId="LiveId" clId="{30A766B1-982E-4295-BCAD-093FA0E8E566}" dt="2023-01-18T05:32:05.119" v="14614" actId="2696"/>
          <pc:sldLayoutMkLst>
            <pc:docMk/>
            <pc:sldMasterMk cId="1574947354" sldId="2147483778"/>
            <pc:sldLayoutMk cId="991151942" sldId="2147483786"/>
          </pc:sldLayoutMkLst>
        </pc:sldLayoutChg>
      </pc:sldMasterChg>
      <pc:sldMasterChg chg="del delSldLayout">
        <pc:chgData name="Aurelien Domont" userId="6da7715ce44349b3" providerId="LiveId" clId="{30A766B1-982E-4295-BCAD-093FA0E8E566}" dt="2023-01-18T05:32:05.225" v="14687" actId="2696"/>
        <pc:sldMasterMkLst>
          <pc:docMk/>
          <pc:sldMasterMk cId="1935018706" sldId="2147483787"/>
        </pc:sldMasterMkLst>
        <pc:sldLayoutChg chg="del">
          <pc:chgData name="Aurelien Domont" userId="6da7715ce44349b3" providerId="LiveId" clId="{30A766B1-982E-4295-BCAD-093FA0E8E566}" dt="2023-01-18T05:32:05.213" v="14679" actId="2696"/>
          <pc:sldLayoutMkLst>
            <pc:docMk/>
            <pc:sldMasterMk cId="1935018706" sldId="2147483787"/>
            <pc:sldLayoutMk cId="2802941015" sldId="2147483788"/>
          </pc:sldLayoutMkLst>
        </pc:sldLayoutChg>
        <pc:sldLayoutChg chg="del">
          <pc:chgData name="Aurelien Domont" userId="6da7715ce44349b3" providerId="LiveId" clId="{30A766B1-982E-4295-BCAD-093FA0E8E566}" dt="2023-01-18T05:32:05.215" v="14680" actId="2696"/>
          <pc:sldLayoutMkLst>
            <pc:docMk/>
            <pc:sldMasterMk cId="1935018706" sldId="2147483787"/>
            <pc:sldLayoutMk cId="3327372449" sldId="2147483789"/>
          </pc:sldLayoutMkLst>
        </pc:sldLayoutChg>
        <pc:sldLayoutChg chg="del">
          <pc:chgData name="Aurelien Domont" userId="6da7715ce44349b3" providerId="LiveId" clId="{30A766B1-982E-4295-BCAD-093FA0E8E566}" dt="2023-01-18T05:32:05.216" v="14681" actId="2696"/>
          <pc:sldLayoutMkLst>
            <pc:docMk/>
            <pc:sldMasterMk cId="1935018706" sldId="2147483787"/>
            <pc:sldLayoutMk cId="1039498745" sldId="2147483790"/>
          </pc:sldLayoutMkLst>
        </pc:sldLayoutChg>
        <pc:sldLayoutChg chg="del">
          <pc:chgData name="Aurelien Domont" userId="6da7715ce44349b3" providerId="LiveId" clId="{30A766B1-982E-4295-BCAD-093FA0E8E566}" dt="2023-01-18T05:32:05.217" v="14682" actId="2696"/>
          <pc:sldLayoutMkLst>
            <pc:docMk/>
            <pc:sldMasterMk cId="1935018706" sldId="2147483787"/>
            <pc:sldLayoutMk cId="3425404957" sldId="2147483791"/>
          </pc:sldLayoutMkLst>
        </pc:sldLayoutChg>
        <pc:sldLayoutChg chg="del">
          <pc:chgData name="Aurelien Domont" userId="6da7715ce44349b3" providerId="LiveId" clId="{30A766B1-982E-4295-BCAD-093FA0E8E566}" dt="2023-01-18T05:32:05.219" v="14683" actId="2696"/>
          <pc:sldLayoutMkLst>
            <pc:docMk/>
            <pc:sldMasterMk cId="1935018706" sldId="2147483787"/>
            <pc:sldLayoutMk cId="2905510515" sldId="2147483792"/>
          </pc:sldLayoutMkLst>
        </pc:sldLayoutChg>
        <pc:sldLayoutChg chg="del">
          <pc:chgData name="Aurelien Domont" userId="6da7715ce44349b3" providerId="LiveId" clId="{30A766B1-982E-4295-BCAD-093FA0E8E566}" dt="2023-01-18T05:32:05.220" v="14684" actId="2696"/>
          <pc:sldLayoutMkLst>
            <pc:docMk/>
            <pc:sldMasterMk cId="1935018706" sldId="2147483787"/>
            <pc:sldLayoutMk cId="2851970629" sldId="2147483793"/>
          </pc:sldLayoutMkLst>
        </pc:sldLayoutChg>
        <pc:sldLayoutChg chg="del">
          <pc:chgData name="Aurelien Domont" userId="6da7715ce44349b3" providerId="LiveId" clId="{30A766B1-982E-4295-BCAD-093FA0E8E566}" dt="2023-01-18T05:32:05.221" v="14685" actId="2696"/>
          <pc:sldLayoutMkLst>
            <pc:docMk/>
            <pc:sldMasterMk cId="1935018706" sldId="2147483787"/>
            <pc:sldLayoutMk cId="3052871467" sldId="2147483794"/>
          </pc:sldLayoutMkLst>
        </pc:sldLayoutChg>
        <pc:sldLayoutChg chg="del">
          <pc:chgData name="Aurelien Domont" userId="6da7715ce44349b3" providerId="LiveId" clId="{30A766B1-982E-4295-BCAD-093FA0E8E566}" dt="2023-01-18T05:32:05.222" v="14686" actId="2696"/>
          <pc:sldLayoutMkLst>
            <pc:docMk/>
            <pc:sldMasterMk cId="1935018706" sldId="2147483787"/>
            <pc:sldLayoutMk cId="1052299868" sldId="2147483795"/>
          </pc:sldLayoutMkLst>
        </pc:sldLayoutChg>
      </pc:sldMasterChg>
      <pc:sldMasterChg chg="del delSldLayout">
        <pc:chgData name="Aurelien Domont" userId="6da7715ce44349b3" providerId="LiveId" clId="{30A766B1-982E-4295-BCAD-093FA0E8E566}" dt="2023-01-18T05:32:05.329" v="14767" actId="2696"/>
        <pc:sldMasterMkLst>
          <pc:docMk/>
          <pc:sldMasterMk cId="2096878535" sldId="2147483796"/>
        </pc:sldMasterMkLst>
        <pc:sldLayoutChg chg="del">
          <pc:chgData name="Aurelien Domont" userId="6da7715ce44349b3" providerId="LiveId" clId="{30A766B1-982E-4295-BCAD-093FA0E8E566}" dt="2023-01-18T05:32:05.317" v="14759" actId="2696"/>
          <pc:sldLayoutMkLst>
            <pc:docMk/>
            <pc:sldMasterMk cId="2096878535" sldId="2147483796"/>
            <pc:sldLayoutMk cId="3218129754" sldId="2147483797"/>
          </pc:sldLayoutMkLst>
        </pc:sldLayoutChg>
        <pc:sldLayoutChg chg="del">
          <pc:chgData name="Aurelien Domont" userId="6da7715ce44349b3" providerId="LiveId" clId="{30A766B1-982E-4295-BCAD-093FA0E8E566}" dt="2023-01-18T05:32:05.318" v="14760" actId="2696"/>
          <pc:sldLayoutMkLst>
            <pc:docMk/>
            <pc:sldMasterMk cId="2096878535" sldId="2147483796"/>
            <pc:sldLayoutMk cId="383693907" sldId="2147483798"/>
          </pc:sldLayoutMkLst>
        </pc:sldLayoutChg>
        <pc:sldLayoutChg chg="del">
          <pc:chgData name="Aurelien Domont" userId="6da7715ce44349b3" providerId="LiveId" clId="{30A766B1-982E-4295-BCAD-093FA0E8E566}" dt="2023-01-18T05:32:05.319" v="14761" actId="2696"/>
          <pc:sldLayoutMkLst>
            <pc:docMk/>
            <pc:sldMasterMk cId="2096878535" sldId="2147483796"/>
            <pc:sldLayoutMk cId="2952612862" sldId="2147483799"/>
          </pc:sldLayoutMkLst>
        </pc:sldLayoutChg>
        <pc:sldLayoutChg chg="del">
          <pc:chgData name="Aurelien Domont" userId="6da7715ce44349b3" providerId="LiveId" clId="{30A766B1-982E-4295-BCAD-093FA0E8E566}" dt="2023-01-18T05:32:05.321" v="14762" actId="2696"/>
          <pc:sldLayoutMkLst>
            <pc:docMk/>
            <pc:sldMasterMk cId="2096878535" sldId="2147483796"/>
            <pc:sldLayoutMk cId="272569047" sldId="2147483800"/>
          </pc:sldLayoutMkLst>
        </pc:sldLayoutChg>
        <pc:sldLayoutChg chg="del">
          <pc:chgData name="Aurelien Domont" userId="6da7715ce44349b3" providerId="LiveId" clId="{30A766B1-982E-4295-BCAD-093FA0E8E566}" dt="2023-01-18T05:32:05.323" v="14763" actId="2696"/>
          <pc:sldLayoutMkLst>
            <pc:docMk/>
            <pc:sldMasterMk cId="2096878535" sldId="2147483796"/>
            <pc:sldLayoutMk cId="356686818" sldId="2147483801"/>
          </pc:sldLayoutMkLst>
        </pc:sldLayoutChg>
        <pc:sldLayoutChg chg="del">
          <pc:chgData name="Aurelien Domont" userId="6da7715ce44349b3" providerId="LiveId" clId="{30A766B1-982E-4295-BCAD-093FA0E8E566}" dt="2023-01-18T05:32:05.325" v="14764" actId="2696"/>
          <pc:sldLayoutMkLst>
            <pc:docMk/>
            <pc:sldMasterMk cId="2096878535" sldId="2147483796"/>
            <pc:sldLayoutMk cId="877562614" sldId="2147483802"/>
          </pc:sldLayoutMkLst>
        </pc:sldLayoutChg>
        <pc:sldLayoutChg chg="del">
          <pc:chgData name="Aurelien Domont" userId="6da7715ce44349b3" providerId="LiveId" clId="{30A766B1-982E-4295-BCAD-093FA0E8E566}" dt="2023-01-18T05:32:05.325" v="14765" actId="2696"/>
          <pc:sldLayoutMkLst>
            <pc:docMk/>
            <pc:sldMasterMk cId="2096878535" sldId="2147483796"/>
            <pc:sldLayoutMk cId="3850265864" sldId="2147483803"/>
          </pc:sldLayoutMkLst>
        </pc:sldLayoutChg>
        <pc:sldLayoutChg chg="del">
          <pc:chgData name="Aurelien Domont" userId="6da7715ce44349b3" providerId="LiveId" clId="{30A766B1-982E-4295-BCAD-093FA0E8E566}" dt="2023-01-18T05:32:05.327" v="14766" actId="2696"/>
          <pc:sldLayoutMkLst>
            <pc:docMk/>
            <pc:sldMasterMk cId="2096878535" sldId="2147483796"/>
            <pc:sldLayoutMk cId="660077604" sldId="2147483804"/>
          </pc:sldLayoutMkLst>
        </pc:sldLayoutChg>
      </pc:sldMasterChg>
      <pc:sldMasterChg chg="del delSldLayout">
        <pc:chgData name="Aurelien Domont" userId="6da7715ce44349b3" providerId="LiveId" clId="{30A766B1-982E-4295-BCAD-093FA0E8E566}" dt="2023-01-18T05:32:05.469" v="14862" actId="2696"/>
        <pc:sldMasterMkLst>
          <pc:docMk/>
          <pc:sldMasterMk cId="2240523731" sldId="2147483805"/>
        </pc:sldMasterMkLst>
        <pc:sldLayoutChg chg="del">
          <pc:chgData name="Aurelien Domont" userId="6da7715ce44349b3" providerId="LiveId" clId="{30A766B1-982E-4295-BCAD-093FA0E8E566}" dt="2023-01-18T05:32:05.458" v="14854" actId="2696"/>
          <pc:sldLayoutMkLst>
            <pc:docMk/>
            <pc:sldMasterMk cId="2240523731" sldId="2147483805"/>
            <pc:sldLayoutMk cId="2932129180" sldId="2147483806"/>
          </pc:sldLayoutMkLst>
        </pc:sldLayoutChg>
        <pc:sldLayoutChg chg="del">
          <pc:chgData name="Aurelien Domont" userId="6da7715ce44349b3" providerId="LiveId" clId="{30A766B1-982E-4295-BCAD-093FA0E8E566}" dt="2023-01-18T05:32:05.459" v="14855" actId="2696"/>
          <pc:sldLayoutMkLst>
            <pc:docMk/>
            <pc:sldMasterMk cId="2240523731" sldId="2147483805"/>
            <pc:sldLayoutMk cId="2102512360" sldId="2147483807"/>
          </pc:sldLayoutMkLst>
        </pc:sldLayoutChg>
        <pc:sldLayoutChg chg="del">
          <pc:chgData name="Aurelien Domont" userId="6da7715ce44349b3" providerId="LiveId" clId="{30A766B1-982E-4295-BCAD-093FA0E8E566}" dt="2023-01-18T05:32:05.461" v="14856" actId="2696"/>
          <pc:sldLayoutMkLst>
            <pc:docMk/>
            <pc:sldMasterMk cId="2240523731" sldId="2147483805"/>
            <pc:sldLayoutMk cId="423932746" sldId="2147483808"/>
          </pc:sldLayoutMkLst>
        </pc:sldLayoutChg>
        <pc:sldLayoutChg chg="del">
          <pc:chgData name="Aurelien Domont" userId="6da7715ce44349b3" providerId="LiveId" clId="{30A766B1-982E-4295-BCAD-093FA0E8E566}" dt="2023-01-18T05:32:05.462" v="14857" actId="2696"/>
          <pc:sldLayoutMkLst>
            <pc:docMk/>
            <pc:sldMasterMk cId="2240523731" sldId="2147483805"/>
            <pc:sldLayoutMk cId="2739524617" sldId="2147483809"/>
          </pc:sldLayoutMkLst>
        </pc:sldLayoutChg>
        <pc:sldLayoutChg chg="del">
          <pc:chgData name="Aurelien Domont" userId="6da7715ce44349b3" providerId="LiveId" clId="{30A766B1-982E-4295-BCAD-093FA0E8E566}" dt="2023-01-18T05:32:05.463" v="14858" actId="2696"/>
          <pc:sldLayoutMkLst>
            <pc:docMk/>
            <pc:sldMasterMk cId="2240523731" sldId="2147483805"/>
            <pc:sldLayoutMk cId="2281690062" sldId="2147483810"/>
          </pc:sldLayoutMkLst>
        </pc:sldLayoutChg>
        <pc:sldLayoutChg chg="del">
          <pc:chgData name="Aurelien Domont" userId="6da7715ce44349b3" providerId="LiveId" clId="{30A766B1-982E-4295-BCAD-093FA0E8E566}" dt="2023-01-18T05:32:05.464" v="14859" actId="2696"/>
          <pc:sldLayoutMkLst>
            <pc:docMk/>
            <pc:sldMasterMk cId="2240523731" sldId="2147483805"/>
            <pc:sldLayoutMk cId="2044843743" sldId="2147483811"/>
          </pc:sldLayoutMkLst>
        </pc:sldLayoutChg>
        <pc:sldLayoutChg chg="del">
          <pc:chgData name="Aurelien Domont" userId="6da7715ce44349b3" providerId="LiveId" clId="{30A766B1-982E-4295-BCAD-093FA0E8E566}" dt="2023-01-18T05:32:05.466" v="14860" actId="2696"/>
          <pc:sldLayoutMkLst>
            <pc:docMk/>
            <pc:sldMasterMk cId="2240523731" sldId="2147483805"/>
            <pc:sldLayoutMk cId="1272515954" sldId="2147483812"/>
          </pc:sldLayoutMkLst>
        </pc:sldLayoutChg>
        <pc:sldLayoutChg chg="del">
          <pc:chgData name="Aurelien Domont" userId="6da7715ce44349b3" providerId="LiveId" clId="{30A766B1-982E-4295-BCAD-093FA0E8E566}" dt="2023-01-18T05:32:05.467" v="14861" actId="2696"/>
          <pc:sldLayoutMkLst>
            <pc:docMk/>
            <pc:sldMasterMk cId="2240523731" sldId="2147483805"/>
            <pc:sldLayoutMk cId="2174113293" sldId="2147483813"/>
          </pc:sldLayoutMkLst>
        </pc:sldLayoutChg>
      </pc:sldMasterChg>
      <pc:sldMasterChg chg="del delSldLayout">
        <pc:chgData name="Aurelien Domont" userId="6da7715ce44349b3" providerId="LiveId" clId="{30A766B1-982E-4295-BCAD-093FA0E8E566}" dt="2023-01-18T05:32:05.037" v="14552" actId="2696"/>
        <pc:sldMasterMkLst>
          <pc:docMk/>
          <pc:sldMasterMk cId="3116712778" sldId="2147483814"/>
        </pc:sldMasterMkLst>
        <pc:sldLayoutChg chg="del">
          <pc:chgData name="Aurelien Domont" userId="6da7715ce44349b3" providerId="LiveId" clId="{30A766B1-982E-4295-BCAD-093FA0E8E566}" dt="2023-01-18T05:32:05.028" v="14544" actId="2696"/>
          <pc:sldLayoutMkLst>
            <pc:docMk/>
            <pc:sldMasterMk cId="3116712778" sldId="2147483814"/>
            <pc:sldLayoutMk cId="3299793807" sldId="2147483815"/>
          </pc:sldLayoutMkLst>
        </pc:sldLayoutChg>
        <pc:sldLayoutChg chg="del">
          <pc:chgData name="Aurelien Domont" userId="6da7715ce44349b3" providerId="LiveId" clId="{30A766B1-982E-4295-BCAD-093FA0E8E566}" dt="2023-01-18T05:32:05.029" v="14545" actId="2696"/>
          <pc:sldLayoutMkLst>
            <pc:docMk/>
            <pc:sldMasterMk cId="3116712778" sldId="2147483814"/>
            <pc:sldLayoutMk cId="3584561258" sldId="2147483816"/>
          </pc:sldLayoutMkLst>
        </pc:sldLayoutChg>
        <pc:sldLayoutChg chg="del">
          <pc:chgData name="Aurelien Domont" userId="6da7715ce44349b3" providerId="LiveId" clId="{30A766B1-982E-4295-BCAD-093FA0E8E566}" dt="2023-01-18T05:32:05.031" v="14546" actId="2696"/>
          <pc:sldLayoutMkLst>
            <pc:docMk/>
            <pc:sldMasterMk cId="3116712778" sldId="2147483814"/>
            <pc:sldLayoutMk cId="4001890258" sldId="2147483817"/>
          </pc:sldLayoutMkLst>
        </pc:sldLayoutChg>
        <pc:sldLayoutChg chg="del">
          <pc:chgData name="Aurelien Domont" userId="6da7715ce44349b3" providerId="LiveId" clId="{30A766B1-982E-4295-BCAD-093FA0E8E566}" dt="2023-01-18T05:32:05.032" v="14547" actId="2696"/>
          <pc:sldLayoutMkLst>
            <pc:docMk/>
            <pc:sldMasterMk cId="3116712778" sldId="2147483814"/>
            <pc:sldLayoutMk cId="2503249695" sldId="2147483818"/>
          </pc:sldLayoutMkLst>
        </pc:sldLayoutChg>
        <pc:sldLayoutChg chg="del">
          <pc:chgData name="Aurelien Domont" userId="6da7715ce44349b3" providerId="LiveId" clId="{30A766B1-982E-4295-BCAD-093FA0E8E566}" dt="2023-01-18T05:32:05.033" v="14548" actId="2696"/>
          <pc:sldLayoutMkLst>
            <pc:docMk/>
            <pc:sldMasterMk cId="3116712778" sldId="2147483814"/>
            <pc:sldLayoutMk cId="2375495319" sldId="2147483819"/>
          </pc:sldLayoutMkLst>
        </pc:sldLayoutChg>
        <pc:sldLayoutChg chg="del">
          <pc:chgData name="Aurelien Domont" userId="6da7715ce44349b3" providerId="LiveId" clId="{30A766B1-982E-4295-BCAD-093FA0E8E566}" dt="2023-01-18T05:32:05.034" v="14549" actId="2696"/>
          <pc:sldLayoutMkLst>
            <pc:docMk/>
            <pc:sldMasterMk cId="3116712778" sldId="2147483814"/>
            <pc:sldLayoutMk cId="91497570" sldId="2147483820"/>
          </pc:sldLayoutMkLst>
        </pc:sldLayoutChg>
        <pc:sldLayoutChg chg="del">
          <pc:chgData name="Aurelien Domont" userId="6da7715ce44349b3" providerId="LiveId" clId="{30A766B1-982E-4295-BCAD-093FA0E8E566}" dt="2023-01-18T05:32:05.035" v="14550" actId="2696"/>
          <pc:sldLayoutMkLst>
            <pc:docMk/>
            <pc:sldMasterMk cId="3116712778" sldId="2147483814"/>
            <pc:sldLayoutMk cId="2623183865" sldId="2147483821"/>
          </pc:sldLayoutMkLst>
        </pc:sldLayoutChg>
        <pc:sldLayoutChg chg="del">
          <pc:chgData name="Aurelien Domont" userId="6da7715ce44349b3" providerId="LiveId" clId="{30A766B1-982E-4295-BCAD-093FA0E8E566}" dt="2023-01-18T05:32:05.035" v="14551" actId="2696"/>
          <pc:sldLayoutMkLst>
            <pc:docMk/>
            <pc:sldMasterMk cId="3116712778" sldId="2147483814"/>
            <pc:sldLayoutMk cId="3674564976" sldId="2147483822"/>
          </pc:sldLayoutMkLst>
        </pc:sldLayoutChg>
      </pc:sldMasterChg>
      <pc:sldMasterChg chg="del delSldLayout">
        <pc:chgData name="Aurelien Domont" userId="6da7715ce44349b3" providerId="LiveId" clId="{30A766B1-982E-4295-BCAD-093FA0E8E566}" dt="2023-01-18T05:32:05.145" v="14633" actId="2696"/>
        <pc:sldMasterMkLst>
          <pc:docMk/>
          <pc:sldMasterMk cId="2722183749" sldId="2147483823"/>
        </pc:sldMasterMkLst>
        <pc:sldLayoutChg chg="del">
          <pc:chgData name="Aurelien Domont" userId="6da7715ce44349b3" providerId="LiveId" clId="{30A766B1-982E-4295-BCAD-093FA0E8E566}" dt="2023-01-18T05:32:05.136" v="14625" actId="2696"/>
          <pc:sldLayoutMkLst>
            <pc:docMk/>
            <pc:sldMasterMk cId="2722183749" sldId="2147483823"/>
            <pc:sldLayoutMk cId="547793531" sldId="2147483824"/>
          </pc:sldLayoutMkLst>
        </pc:sldLayoutChg>
        <pc:sldLayoutChg chg="del">
          <pc:chgData name="Aurelien Domont" userId="6da7715ce44349b3" providerId="LiveId" clId="{30A766B1-982E-4295-BCAD-093FA0E8E566}" dt="2023-01-18T05:32:05.137" v="14626" actId="2696"/>
          <pc:sldLayoutMkLst>
            <pc:docMk/>
            <pc:sldMasterMk cId="2722183749" sldId="2147483823"/>
            <pc:sldLayoutMk cId="2525224072" sldId="2147483825"/>
          </pc:sldLayoutMkLst>
        </pc:sldLayoutChg>
        <pc:sldLayoutChg chg="del">
          <pc:chgData name="Aurelien Domont" userId="6da7715ce44349b3" providerId="LiveId" clId="{30A766B1-982E-4295-BCAD-093FA0E8E566}" dt="2023-01-18T05:32:05.138" v="14627" actId="2696"/>
          <pc:sldLayoutMkLst>
            <pc:docMk/>
            <pc:sldMasterMk cId="2722183749" sldId="2147483823"/>
            <pc:sldLayoutMk cId="3885016277" sldId="2147483826"/>
          </pc:sldLayoutMkLst>
        </pc:sldLayoutChg>
        <pc:sldLayoutChg chg="del">
          <pc:chgData name="Aurelien Domont" userId="6da7715ce44349b3" providerId="LiveId" clId="{30A766B1-982E-4295-BCAD-093FA0E8E566}" dt="2023-01-18T05:32:05.139" v="14628" actId="2696"/>
          <pc:sldLayoutMkLst>
            <pc:docMk/>
            <pc:sldMasterMk cId="2722183749" sldId="2147483823"/>
            <pc:sldLayoutMk cId="1992670619" sldId="2147483827"/>
          </pc:sldLayoutMkLst>
        </pc:sldLayoutChg>
        <pc:sldLayoutChg chg="del">
          <pc:chgData name="Aurelien Domont" userId="6da7715ce44349b3" providerId="LiveId" clId="{30A766B1-982E-4295-BCAD-093FA0E8E566}" dt="2023-01-18T05:32:05.140" v="14629" actId="2696"/>
          <pc:sldLayoutMkLst>
            <pc:docMk/>
            <pc:sldMasterMk cId="2722183749" sldId="2147483823"/>
            <pc:sldLayoutMk cId="4231683251" sldId="2147483828"/>
          </pc:sldLayoutMkLst>
        </pc:sldLayoutChg>
        <pc:sldLayoutChg chg="del">
          <pc:chgData name="Aurelien Domont" userId="6da7715ce44349b3" providerId="LiveId" clId="{30A766B1-982E-4295-BCAD-093FA0E8E566}" dt="2023-01-18T05:32:05.141" v="14630" actId="2696"/>
          <pc:sldLayoutMkLst>
            <pc:docMk/>
            <pc:sldMasterMk cId="2722183749" sldId="2147483823"/>
            <pc:sldLayoutMk cId="1517131808" sldId="2147483829"/>
          </pc:sldLayoutMkLst>
        </pc:sldLayoutChg>
        <pc:sldLayoutChg chg="del">
          <pc:chgData name="Aurelien Domont" userId="6da7715ce44349b3" providerId="LiveId" clId="{30A766B1-982E-4295-BCAD-093FA0E8E566}" dt="2023-01-18T05:32:05.142" v="14631" actId="2696"/>
          <pc:sldLayoutMkLst>
            <pc:docMk/>
            <pc:sldMasterMk cId="2722183749" sldId="2147483823"/>
            <pc:sldLayoutMk cId="3447012614" sldId="2147483830"/>
          </pc:sldLayoutMkLst>
        </pc:sldLayoutChg>
        <pc:sldLayoutChg chg="del">
          <pc:chgData name="Aurelien Domont" userId="6da7715ce44349b3" providerId="LiveId" clId="{30A766B1-982E-4295-BCAD-093FA0E8E566}" dt="2023-01-18T05:32:05.143" v="14632" actId="2696"/>
          <pc:sldLayoutMkLst>
            <pc:docMk/>
            <pc:sldMasterMk cId="2722183749" sldId="2147483823"/>
            <pc:sldLayoutMk cId="3417595930" sldId="2147483831"/>
          </pc:sldLayoutMkLst>
        </pc:sldLayoutChg>
      </pc:sldMasterChg>
      <pc:sldMasterChg chg="del delSldLayout">
        <pc:chgData name="Aurelien Domont" userId="6da7715ce44349b3" providerId="LiveId" clId="{30A766B1-982E-4295-BCAD-093FA0E8E566}" dt="2023-01-18T05:32:05.254" v="14714" actId="2696"/>
        <pc:sldMasterMkLst>
          <pc:docMk/>
          <pc:sldMasterMk cId="3146760186" sldId="2147483832"/>
        </pc:sldMasterMkLst>
        <pc:sldLayoutChg chg="del">
          <pc:chgData name="Aurelien Domont" userId="6da7715ce44349b3" providerId="LiveId" clId="{30A766B1-982E-4295-BCAD-093FA0E8E566}" dt="2023-01-18T05:32:05.245" v="14706" actId="2696"/>
          <pc:sldLayoutMkLst>
            <pc:docMk/>
            <pc:sldMasterMk cId="3146760186" sldId="2147483832"/>
            <pc:sldLayoutMk cId="3109085496" sldId="2147483833"/>
          </pc:sldLayoutMkLst>
        </pc:sldLayoutChg>
        <pc:sldLayoutChg chg="del">
          <pc:chgData name="Aurelien Domont" userId="6da7715ce44349b3" providerId="LiveId" clId="{30A766B1-982E-4295-BCAD-093FA0E8E566}" dt="2023-01-18T05:32:05.247" v="14707" actId="2696"/>
          <pc:sldLayoutMkLst>
            <pc:docMk/>
            <pc:sldMasterMk cId="3146760186" sldId="2147483832"/>
            <pc:sldLayoutMk cId="625623067" sldId="2147483834"/>
          </pc:sldLayoutMkLst>
        </pc:sldLayoutChg>
        <pc:sldLayoutChg chg="del">
          <pc:chgData name="Aurelien Domont" userId="6da7715ce44349b3" providerId="LiveId" clId="{30A766B1-982E-4295-BCAD-093FA0E8E566}" dt="2023-01-18T05:32:05.248" v="14708" actId="2696"/>
          <pc:sldLayoutMkLst>
            <pc:docMk/>
            <pc:sldMasterMk cId="3146760186" sldId="2147483832"/>
            <pc:sldLayoutMk cId="996859581" sldId="2147483835"/>
          </pc:sldLayoutMkLst>
        </pc:sldLayoutChg>
        <pc:sldLayoutChg chg="del">
          <pc:chgData name="Aurelien Domont" userId="6da7715ce44349b3" providerId="LiveId" clId="{30A766B1-982E-4295-BCAD-093FA0E8E566}" dt="2023-01-18T05:32:05.249" v="14709" actId="2696"/>
          <pc:sldLayoutMkLst>
            <pc:docMk/>
            <pc:sldMasterMk cId="3146760186" sldId="2147483832"/>
            <pc:sldLayoutMk cId="1376812967" sldId="2147483836"/>
          </pc:sldLayoutMkLst>
        </pc:sldLayoutChg>
        <pc:sldLayoutChg chg="del">
          <pc:chgData name="Aurelien Domont" userId="6da7715ce44349b3" providerId="LiveId" clId="{30A766B1-982E-4295-BCAD-093FA0E8E566}" dt="2023-01-18T05:32:05.250" v="14710" actId="2696"/>
          <pc:sldLayoutMkLst>
            <pc:docMk/>
            <pc:sldMasterMk cId="3146760186" sldId="2147483832"/>
            <pc:sldLayoutMk cId="845663476" sldId="2147483837"/>
          </pc:sldLayoutMkLst>
        </pc:sldLayoutChg>
        <pc:sldLayoutChg chg="del">
          <pc:chgData name="Aurelien Domont" userId="6da7715ce44349b3" providerId="LiveId" clId="{30A766B1-982E-4295-BCAD-093FA0E8E566}" dt="2023-01-18T05:32:05.250" v="14711" actId="2696"/>
          <pc:sldLayoutMkLst>
            <pc:docMk/>
            <pc:sldMasterMk cId="3146760186" sldId="2147483832"/>
            <pc:sldLayoutMk cId="3837350650" sldId="2147483838"/>
          </pc:sldLayoutMkLst>
        </pc:sldLayoutChg>
        <pc:sldLayoutChg chg="del">
          <pc:chgData name="Aurelien Domont" userId="6da7715ce44349b3" providerId="LiveId" clId="{30A766B1-982E-4295-BCAD-093FA0E8E566}" dt="2023-01-18T05:32:05.251" v="14712" actId="2696"/>
          <pc:sldLayoutMkLst>
            <pc:docMk/>
            <pc:sldMasterMk cId="3146760186" sldId="2147483832"/>
            <pc:sldLayoutMk cId="1078659030" sldId="2147483839"/>
          </pc:sldLayoutMkLst>
        </pc:sldLayoutChg>
        <pc:sldLayoutChg chg="del">
          <pc:chgData name="Aurelien Domont" userId="6da7715ce44349b3" providerId="LiveId" clId="{30A766B1-982E-4295-BCAD-093FA0E8E566}" dt="2023-01-18T05:32:05.252" v="14713" actId="2696"/>
          <pc:sldLayoutMkLst>
            <pc:docMk/>
            <pc:sldMasterMk cId="3146760186" sldId="2147483832"/>
            <pc:sldLayoutMk cId="2254371186" sldId="2147483840"/>
          </pc:sldLayoutMkLst>
        </pc:sldLayoutChg>
      </pc:sldMasterChg>
      <pc:sldMasterChg chg="del delSldLayout">
        <pc:chgData name="Aurelien Domont" userId="6da7715ce44349b3" providerId="LiveId" clId="{30A766B1-982E-4295-BCAD-093FA0E8E566}" dt="2023-01-18T05:32:05.360" v="14792" actId="2696"/>
        <pc:sldMasterMkLst>
          <pc:docMk/>
          <pc:sldMasterMk cId="2195204325" sldId="2147483841"/>
        </pc:sldMasterMkLst>
        <pc:sldLayoutChg chg="del">
          <pc:chgData name="Aurelien Domont" userId="6da7715ce44349b3" providerId="LiveId" clId="{30A766B1-982E-4295-BCAD-093FA0E8E566}" dt="2023-01-18T05:32:05.350" v="14785" actId="2696"/>
          <pc:sldLayoutMkLst>
            <pc:docMk/>
            <pc:sldMasterMk cId="2195204325" sldId="2147483841"/>
            <pc:sldLayoutMk cId="2256756291" sldId="2147483842"/>
          </pc:sldLayoutMkLst>
        </pc:sldLayoutChg>
        <pc:sldLayoutChg chg="del">
          <pc:chgData name="Aurelien Domont" userId="6da7715ce44349b3" providerId="LiveId" clId="{30A766B1-982E-4295-BCAD-093FA0E8E566}" dt="2023-01-18T05:32:05.352" v="14786" actId="2696"/>
          <pc:sldLayoutMkLst>
            <pc:docMk/>
            <pc:sldMasterMk cId="2195204325" sldId="2147483841"/>
            <pc:sldLayoutMk cId="3570158396" sldId="2147483843"/>
          </pc:sldLayoutMkLst>
        </pc:sldLayoutChg>
        <pc:sldLayoutChg chg="del">
          <pc:chgData name="Aurelien Domont" userId="6da7715ce44349b3" providerId="LiveId" clId="{30A766B1-982E-4295-BCAD-093FA0E8E566}" dt="2023-01-18T05:32:05.354" v="14787" actId="2696"/>
          <pc:sldLayoutMkLst>
            <pc:docMk/>
            <pc:sldMasterMk cId="2195204325" sldId="2147483841"/>
            <pc:sldLayoutMk cId="1952127409" sldId="2147483844"/>
          </pc:sldLayoutMkLst>
        </pc:sldLayoutChg>
        <pc:sldLayoutChg chg="del">
          <pc:chgData name="Aurelien Domont" userId="6da7715ce44349b3" providerId="LiveId" clId="{30A766B1-982E-4295-BCAD-093FA0E8E566}" dt="2023-01-18T05:32:05.355" v="14788" actId="2696"/>
          <pc:sldLayoutMkLst>
            <pc:docMk/>
            <pc:sldMasterMk cId="2195204325" sldId="2147483841"/>
            <pc:sldLayoutMk cId="156128594" sldId="2147483845"/>
          </pc:sldLayoutMkLst>
        </pc:sldLayoutChg>
        <pc:sldLayoutChg chg="del">
          <pc:chgData name="Aurelien Domont" userId="6da7715ce44349b3" providerId="LiveId" clId="{30A766B1-982E-4295-BCAD-093FA0E8E566}" dt="2023-01-18T05:32:05.356" v="14789" actId="2696"/>
          <pc:sldLayoutMkLst>
            <pc:docMk/>
            <pc:sldMasterMk cId="2195204325" sldId="2147483841"/>
            <pc:sldLayoutMk cId="3808436924" sldId="2147483846"/>
          </pc:sldLayoutMkLst>
        </pc:sldLayoutChg>
        <pc:sldLayoutChg chg="del">
          <pc:chgData name="Aurelien Domont" userId="6da7715ce44349b3" providerId="LiveId" clId="{30A766B1-982E-4295-BCAD-093FA0E8E566}" dt="2023-01-18T05:32:05.358" v="14790" actId="2696"/>
          <pc:sldLayoutMkLst>
            <pc:docMk/>
            <pc:sldMasterMk cId="2195204325" sldId="2147483841"/>
            <pc:sldLayoutMk cId="588074046" sldId="2147483847"/>
          </pc:sldLayoutMkLst>
        </pc:sldLayoutChg>
        <pc:sldLayoutChg chg="del">
          <pc:chgData name="Aurelien Domont" userId="6da7715ce44349b3" providerId="LiveId" clId="{30A766B1-982E-4295-BCAD-093FA0E8E566}" dt="2023-01-18T05:32:05.359" v="14791" actId="2696"/>
          <pc:sldLayoutMkLst>
            <pc:docMk/>
            <pc:sldMasterMk cId="2195204325" sldId="2147483841"/>
            <pc:sldLayoutMk cId="49656397" sldId="2147483848"/>
          </pc:sldLayoutMkLst>
        </pc:sldLayoutChg>
      </pc:sldMasterChg>
      <pc:sldMasterChg chg="del delSldLayout">
        <pc:chgData name="Aurelien Domont" userId="6da7715ce44349b3" providerId="LiveId" clId="{30A766B1-982E-4295-BCAD-093FA0E8E566}" dt="2023-01-18T05:32:05.483" v="14871" actId="2696"/>
        <pc:sldMasterMkLst>
          <pc:docMk/>
          <pc:sldMasterMk cId="3756693576" sldId="2147483849"/>
        </pc:sldMasterMkLst>
        <pc:sldLayoutChg chg="del">
          <pc:chgData name="Aurelien Domont" userId="6da7715ce44349b3" providerId="LiveId" clId="{30A766B1-982E-4295-BCAD-093FA0E8E566}" dt="2023-01-18T05:32:05.470" v="14863" actId="2696"/>
          <pc:sldLayoutMkLst>
            <pc:docMk/>
            <pc:sldMasterMk cId="3756693576" sldId="2147483849"/>
            <pc:sldLayoutMk cId="1901680783" sldId="2147483850"/>
          </pc:sldLayoutMkLst>
        </pc:sldLayoutChg>
        <pc:sldLayoutChg chg="del">
          <pc:chgData name="Aurelien Domont" userId="6da7715ce44349b3" providerId="LiveId" clId="{30A766B1-982E-4295-BCAD-093FA0E8E566}" dt="2023-01-18T05:32:05.471" v="14864" actId="2696"/>
          <pc:sldLayoutMkLst>
            <pc:docMk/>
            <pc:sldMasterMk cId="3756693576" sldId="2147483849"/>
            <pc:sldLayoutMk cId="1490083896" sldId="2147483851"/>
          </pc:sldLayoutMkLst>
        </pc:sldLayoutChg>
        <pc:sldLayoutChg chg="del">
          <pc:chgData name="Aurelien Domont" userId="6da7715ce44349b3" providerId="LiveId" clId="{30A766B1-982E-4295-BCAD-093FA0E8E566}" dt="2023-01-18T05:32:05.474" v="14865" actId="2696"/>
          <pc:sldLayoutMkLst>
            <pc:docMk/>
            <pc:sldMasterMk cId="3756693576" sldId="2147483849"/>
            <pc:sldLayoutMk cId="2704479634" sldId="2147483852"/>
          </pc:sldLayoutMkLst>
        </pc:sldLayoutChg>
        <pc:sldLayoutChg chg="del">
          <pc:chgData name="Aurelien Domont" userId="6da7715ce44349b3" providerId="LiveId" clId="{30A766B1-982E-4295-BCAD-093FA0E8E566}" dt="2023-01-18T05:32:05.476" v="14866" actId="2696"/>
          <pc:sldLayoutMkLst>
            <pc:docMk/>
            <pc:sldMasterMk cId="3756693576" sldId="2147483849"/>
            <pc:sldLayoutMk cId="2153356485" sldId="2147483853"/>
          </pc:sldLayoutMkLst>
        </pc:sldLayoutChg>
        <pc:sldLayoutChg chg="del">
          <pc:chgData name="Aurelien Domont" userId="6da7715ce44349b3" providerId="LiveId" clId="{30A766B1-982E-4295-BCAD-093FA0E8E566}" dt="2023-01-18T05:32:05.477" v="14867" actId="2696"/>
          <pc:sldLayoutMkLst>
            <pc:docMk/>
            <pc:sldMasterMk cId="3756693576" sldId="2147483849"/>
            <pc:sldLayoutMk cId="488807785" sldId="2147483854"/>
          </pc:sldLayoutMkLst>
        </pc:sldLayoutChg>
        <pc:sldLayoutChg chg="del">
          <pc:chgData name="Aurelien Domont" userId="6da7715ce44349b3" providerId="LiveId" clId="{30A766B1-982E-4295-BCAD-093FA0E8E566}" dt="2023-01-18T05:32:05.478" v="14868" actId="2696"/>
          <pc:sldLayoutMkLst>
            <pc:docMk/>
            <pc:sldMasterMk cId="3756693576" sldId="2147483849"/>
            <pc:sldLayoutMk cId="4245953132" sldId="2147483855"/>
          </pc:sldLayoutMkLst>
        </pc:sldLayoutChg>
        <pc:sldLayoutChg chg="del">
          <pc:chgData name="Aurelien Domont" userId="6da7715ce44349b3" providerId="LiveId" clId="{30A766B1-982E-4295-BCAD-093FA0E8E566}" dt="2023-01-18T05:32:05.479" v="14869" actId="2696"/>
          <pc:sldLayoutMkLst>
            <pc:docMk/>
            <pc:sldMasterMk cId="3756693576" sldId="2147483849"/>
            <pc:sldLayoutMk cId="4293824384" sldId="2147483856"/>
          </pc:sldLayoutMkLst>
        </pc:sldLayoutChg>
        <pc:sldLayoutChg chg="del">
          <pc:chgData name="Aurelien Domont" userId="6da7715ce44349b3" providerId="LiveId" clId="{30A766B1-982E-4295-BCAD-093FA0E8E566}" dt="2023-01-18T05:32:05.480" v="14870" actId="2696"/>
          <pc:sldLayoutMkLst>
            <pc:docMk/>
            <pc:sldMasterMk cId="3756693576" sldId="2147483849"/>
            <pc:sldLayoutMk cId="4184741274" sldId="2147483857"/>
          </pc:sldLayoutMkLst>
        </pc:sldLayoutChg>
      </pc:sldMasterChg>
      <pc:sldMasterChg chg="del delSldLayout">
        <pc:chgData name="Aurelien Domont" userId="6da7715ce44349b3" providerId="LiveId" clId="{30A766B1-982E-4295-BCAD-093FA0E8E566}" dt="2023-01-18T05:32:05.051" v="14561" actId="2696"/>
        <pc:sldMasterMkLst>
          <pc:docMk/>
          <pc:sldMasterMk cId="69636476" sldId="2147483858"/>
        </pc:sldMasterMkLst>
        <pc:sldLayoutChg chg="del">
          <pc:chgData name="Aurelien Domont" userId="6da7715ce44349b3" providerId="LiveId" clId="{30A766B1-982E-4295-BCAD-093FA0E8E566}" dt="2023-01-18T05:32:05.039" v="14553" actId="2696"/>
          <pc:sldLayoutMkLst>
            <pc:docMk/>
            <pc:sldMasterMk cId="69636476" sldId="2147483858"/>
            <pc:sldLayoutMk cId="3375827843" sldId="2147483859"/>
          </pc:sldLayoutMkLst>
        </pc:sldLayoutChg>
        <pc:sldLayoutChg chg="del">
          <pc:chgData name="Aurelien Domont" userId="6da7715ce44349b3" providerId="LiveId" clId="{30A766B1-982E-4295-BCAD-093FA0E8E566}" dt="2023-01-18T05:32:05.040" v="14554" actId="2696"/>
          <pc:sldLayoutMkLst>
            <pc:docMk/>
            <pc:sldMasterMk cId="69636476" sldId="2147483858"/>
            <pc:sldLayoutMk cId="73333632" sldId="2147483860"/>
          </pc:sldLayoutMkLst>
        </pc:sldLayoutChg>
        <pc:sldLayoutChg chg="del">
          <pc:chgData name="Aurelien Domont" userId="6da7715ce44349b3" providerId="LiveId" clId="{30A766B1-982E-4295-BCAD-093FA0E8E566}" dt="2023-01-18T05:32:05.043" v="14555" actId="2696"/>
          <pc:sldLayoutMkLst>
            <pc:docMk/>
            <pc:sldMasterMk cId="69636476" sldId="2147483858"/>
            <pc:sldLayoutMk cId="1263693615" sldId="2147483861"/>
          </pc:sldLayoutMkLst>
        </pc:sldLayoutChg>
        <pc:sldLayoutChg chg="del">
          <pc:chgData name="Aurelien Domont" userId="6da7715ce44349b3" providerId="LiveId" clId="{30A766B1-982E-4295-BCAD-093FA0E8E566}" dt="2023-01-18T05:32:05.044" v="14556" actId="2696"/>
          <pc:sldLayoutMkLst>
            <pc:docMk/>
            <pc:sldMasterMk cId="69636476" sldId="2147483858"/>
            <pc:sldLayoutMk cId="2643721266" sldId="2147483862"/>
          </pc:sldLayoutMkLst>
        </pc:sldLayoutChg>
        <pc:sldLayoutChg chg="del">
          <pc:chgData name="Aurelien Domont" userId="6da7715ce44349b3" providerId="LiveId" clId="{30A766B1-982E-4295-BCAD-093FA0E8E566}" dt="2023-01-18T05:32:05.046" v="14557" actId="2696"/>
          <pc:sldLayoutMkLst>
            <pc:docMk/>
            <pc:sldMasterMk cId="69636476" sldId="2147483858"/>
            <pc:sldLayoutMk cId="2226110622" sldId="2147483863"/>
          </pc:sldLayoutMkLst>
        </pc:sldLayoutChg>
        <pc:sldLayoutChg chg="del">
          <pc:chgData name="Aurelien Domont" userId="6da7715ce44349b3" providerId="LiveId" clId="{30A766B1-982E-4295-BCAD-093FA0E8E566}" dt="2023-01-18T05:32:05.047" v="14558" actId="2696"/>
          <pc:sldLayoutMkLst>
            <pc:docMk/>
            <pc:sldMasterMk cId="69636476" sldId="2147483858"/>
            <pc:sldLayoutMk cId="1209841001" sldId="2147483864"/>
          </pc:sldLayoutMkLst>
        </pc:sldLayoutChg>
        <pc:sldLayoutChg chg="del">
          <pc:chgData name="Aurelien Domont" userId="6da7715ce44349b3" providerId="LiveId" clId="{30A766B1-982E-4295-BCAD-093FA0E8E566}" dt="2023-01-18T05:32:05.048" v="14559" actId="2696"/>
          <pc:sldLayoutMkLst>
            <pc:docMk/>
            <pc:sldMasterMk cId="69636476" sldId="2147483858"/>
            <pc:sldLayoutMk cId="1917145445" sldId="2147483865"/>
          </pc:sldLayoutMkLst>
        </pc:sldLayoutChg>
        <pc:sldLayoutChg chg="del">
          <pc:chgData name="Aurelien Domont" userId="6da7715ce44349b3" providerId="LiveId" clId="{30A766B1-982E-4295-BCAD-093FA0E8E566}" dt="2023-01-18T05:32:05.049" v="14560" actId="2696"/>
          <pc:sldLayoutMkLst>
            <pc:docMk/>
            <pc:sldMasterMk cId="69636476" sldId="2147483858"/>
            <pc:sldLayoutMk cId="3887970302" sldId="2147483866"/>
          </pc:sldLayoutMkLst>
        </pc:sldLayoutChg>
      </pc:sldMasterChg>
      <pc:sldMasterChg chg="del delSldLayout">
        <pc:chgData name="Aurelien Domont" userId="6da7715ce44349b3" providerId="LiveId" clId="{30A766B1-982E-4295-BCAD-093FA0E8E566}" dt="2023-01-18T05:32:05.158" v="14642" actId="2696"/>
        <pc:sldMasterMkLst>
          <pc:docMk/>
          <pc:sldMasterMk cId="3758966413" sldId="2147483867"/>
        </pc:sldMasterMkLst>
        <pc:sldLayoutChg chg="del">
          <pc:chgData name="Aurelien Domont" userId="6da7715ce44349b3" providerId="LiveId" clId="{30A766B1-982E-4295-BCAD-093FA0E8E566}" dt="2023-01-18T05:32:05.147" v="14634" actId="2696"/>
          <pc:sldLayoutMkLst>
            <pc:docMk/>
            <pc:sldMasterMk cId="3758966413" sldId="2147483867"/>
            <pc:sldLayoutMk cId="1738247919" sldId="2147483868"/>
          </pc:sldLayoutMkLst>
        </pc:sldLayoutChg>
        <pc:sldLayoutChg chg="del">
          <pc:chgData name="Aurelien Domont" userId="6da7715ce44349b3" providerId="LiveId" clId="{30A766B1-982E-4295-BCAD-093FA0E8E566}" dt="2023-01-18T05:32:05.148" v="14635" actId="2696"/>
          <pc:sldLayoutMkLst>
            <pc:docMk/>
            <pc:sldMasterMk cId="3758966413" sldId="2147483867"/>
            <pc:sldLayoutMk cId="1286894456" sldId="2147483869"/>
          </pc:sldLayoutMkLst>
        </pc:sldLayoutChg>
        <pc:sldLayoutChg chg="del">
          <pc:chgData name="Aurelien Domont" userId="6da7715ce44349b3" providerId="LiveId" clId="{30A766B1-982E-4295-BCAD-093FA0E8E566}" dt="2023-01-18T05:32:05.150" v="14636" actId="2696"/>
          <pc:sldLayoutMkLst>
            <pc:docMk/>
            <pc:sldMasterMk cId="3758966413" sldId="2147483867"/>
            <pc:sldLayoutMk cId="1016208736" sldId="2147483870"/>
          </pc:sldLayoutMkLst>
        </pc:sldLayoutChg>
        <pc:sldLayoutChg chg="del">
          <pc:chgData name="Aurelien Domont" userId="6da7715ce44349b3" providerId="LiveId" clId="{30A766B1-982E-4295-BCAD-093FA0E8E566}" dt="2023-01-18T05:32:05.151" v="14637" actId="2696"/>
          <pc:sldLayoutMkLst>
            <pc:docMk/>
            <pc:sldMasterMk cId="3758966413" sldId="2147483867"/>
            <pc:sldLayoutMk cId="4196854637" sldId="2147483871"/>
          </pc:sldLayoutMkLst>
        </pc:sldLayoutChg>
        <pc:sldLayoutChg chg="del">
          <pc:chgData name="Aurelien Domont" userId="6da7715ce44349b3" providerId="LiveId" clId="{30A766B1-982E-4295-BCAD-093FA0E8E566}" dt="2023-01-18T05:32:05.153" v="14638" actId="2696"/>
          <pc:sldLayoutMkLst>
            <pc:docMk/>
            <pc:sldMasterMk cId="3758966413" sldId="2147483867"/>
            <pc:sldLayoutMk cId="1456674599" sldId="2147483872"/>
          </pc:sldLayoutMkLst>
        </pc:sldLayoutChg>
        <pc:sldLayoutChg chg="del">
          <pc:chgData name="Aurelien Domont" userId="6da7715ce44349b3" providerId="LiveId" clId="{30A766B1-982E-4295-BCAD-093FA0E8E566}" dt="2023-01-18T05:32:05.154" v="14639" actId="2696"/>
          <pc:sldLayoutMkLst>
            <pc:docMk/>
            <pc:sldMasterMk cId="3758966413" sldId="2147483867"/>
            <pc:sldLayoutMk cId="2010622637" sldId="2147483873"/>
          </pc:sldLayoutMkLst>
        </pc:sldLayoutChg>
        <pc:sldLayoutChg chg="del">
          <pc:chgData name="Aurelien Domont" userId="6da7715ce44349b3" providerId="LiveId" clId="{30A766B1-982E-4295-BCAD-093FA0E8E566}" dt="2023-01-18T05:32:05.155" v="14640" actId="2696"/>
          <pc:sldLayoutMkLst>
            <pc:docMk/>
            <pc:sldMasterMk cId="3758966413" sldId="2147483867"/>
            <pc:sldLayoutMk cId="1430162900" sldId="2147483874"/>
          </pc:sldLayoutMkLst>
        </pc:sldLayoutChg>
        <pc:sldLayoutChg chg="del">
          <pc:chgData name="Aurelien Domont" userId="6da7715ce44349b3" providerId="LiveId" clId="{30A766B1-982E-4295-BCAD-093FA0E8E566}" dt="2023-01-18T05:32:05.156" v="14641" actId="2696"/>
          <pc:sldLayoutMkLst>
            <pc:docMk/>
            <pc:sldMasterMk cId="3758966413" sldId="2147483867"/>
            <pc:sldLayoutMk cId="3376697404" sldId="2147483875"/>
          </pc:sldLayoutMkLst>
        </pc:sldLayoutChg>
      </pc:sldMasterChg>
      <pc:sldMasterChg chg="del delSldLayout">
        <pc:chgData name="Aurelien Domont" userId="6da7715ce44349b3" providerId="LiveId" clId="{30A766B1-982E-4295-BCAD-093FA0E8E566}" dt="2023-01-18T05:32:05.267" v="14723" actId="2696"/>
        <pc:sldMasterMkLst>
          <pc:docMk/>
          <pc:sldMasterMk cId="2662506061" sldId="2147483876"/>
        </pc:sldMasterMkLst>
        <pc:sldLayoutChg chg="del">
          <pc:chgData name="Aurelien Domont" userId="6da7715ce44349b3" providerId="LiveId" clId="{30A766B1-982E-4295-BCAD-093FA0E8E566}" dt="2023-01-18T05:32:05.255" v="14715" actId="2696"/>
          <pc:sldLayoutMkLst>
            <pc:docMk/>
            <pc:sldMasterMk cId="2662506061" sldId="2147483876"/>
            <pc:sldLayoutMk cId="2017027208" sldId="2147483877"/>
          </pc:sldLayoutMkLst>
        </pc:sldLayoutChg>
        <pc:sldLayoutChg chg="del">
          <pc:chgData name="Aurelien Domont" userId="6da7715ce44349b3" providerId="LiveId" clId="{30A766B1-982E-4295-BCAD-093FA0E8E566}" dt="2023-01-18T05:32:05.256" v="14716" actId="2696"/>
          <pc:sldLayoutMkLst>
            <pc:docMk/>
            <pc:sldMasterMk cId="2662506061" sldId="2147483876"/>
            <pc:sldLayoutMk cId="3516558254" sldId="2147483878"/>
          </pc:sldLayoutMkLst>
        </pc:sldLayoutChg>
        <pc:sldLayoutChg chg="del">
          <pc:chgData name="Aurelien Domont" userId="6da7715ce44349b3" providerId="LiveId" clId="{30A766B1-982E-4295-BCAD-093FA0E8E566}" dt="2023-01-18T05:32:05.258" v="14717" actId="2696"/>
          <pc:sldLayoutMkLst>
            <pc:docMk/>
            <pc:sldMasterMk cId="2662506061" sldId="2147483876"/>
            <pc:sldLayoutMk cId="1578994221" sldId="2147483879"/>
          </pc:sldLayoutMkLst>
        </pc:sldLayoutChg>
        <pc:sldLayoutChg chg="del">
          <pc:chgData name="Aurelien Domont" userId="6da7715ce44349b3" providerId="LiveId" clId="{30A766B1-982E-4295-BCAD-093FA0E8E566}" dt="2023-01-18T05:32:05.260" v="14718" actId="2696"/>
          <pc:sldLayoutMkLst>
            <pc:docMk/>
            <pc:sldMasterMk cId="2662506061" sldId="2147483876"/>
            <pc:sldLayoutMk cId="126563918" sldId="2147483880"/>
          </pc:sldLayoutMkLst>
        </pc:sldLayoutChg>
        <pc:sldLayoutChg chg="del">
          <pc:chgData name="Aurelien Domont" userId="6da7715ce44349b3" providerId="LiveId" clId="{30A766B1-982E-4295-BCAD-093FA0E8E566}" dt="2023-01-18T05:32:05.262" v="14719" actId="2696"/>
          <pc:sldLayoutMkLst>
            <pc:docMk/>
            <pc:sldMasterMk cId="2662506061" sldId="2147483876"/>
            <pc:sldLayoutMk cId="517947622" sldId="2147483881"/>
          </pc:sldLayoutMkLst>
        </pc:sldLayoutChg>
        <pc:sldLayoutChg chg="del">
          <pc:chgData name="Aurelien Domont" userId="6da7715ce44349b3" providerId="LiveId" clId="{30A766B1-982E-4295-BCAD-093FA0E8E566}" dt="2023-01-18T05:32:05.263" v="14720" actId="2696"/>
          <pc:sldLayoutMkLst>
            <pc:docMk/>
            <pc:sldMasterMk cId="2662506061" sldId="2147483876"/>
            <pc:sldLayoutMk cId="2778919833" sldId="2147483882"/>
          </pc:sldLayoutMkLst>
        </pc:sldLayoutChg>
        <pc:sldLayoutChg chg="del">
          <pc:chgData name="Aurelien Domont" userId="6da7715ce44349b3" providerId="LiveId" clId="{30A766B1-982E-4295-BCAD-093FA0E8E566}" dt="2023-01-18T05:32:05.264" v="14721" actId="2696"/>
          <pc:sldLayoutMkLst>
            <pc:docMk/>
            <pc:sldMasterMk cId="2662506061" sldId="2147483876"/>
            <pc:sldLayoutMk cId="66886828" sldId="2147483883"/>
          </pc:sldLayoutMkLst>
        </pc:sldLayoutChg>
        <pc:sldLayoutChg chg="del">
          <pc:chgData name="Aurelien Domont" userId="6da7715ce44349b3" providerId="LiveId" clId="{30A766B1-982E-4295-BCAD-093FA0E8E566}" dt="2023-01-18T05:32:05.265" v="14722" actId="2696"/>
          <pc:sldLayoutMkLst>
            <pc:docMk/>
            <pc:sldMasterMk cId="2662506061" sldId="2147483876"/>
            <pc:sldLayoutMk cId="934186047" sldId="2147483884"/>
          </pc:sldLayoutMkLst>
        </pc:sldLayoutChg>
      </pc:sldMasterChg>
      <pc:sldMasterChg chg="del delSldLayout">
        <pc:chgData name="Aurelien Domont" userId="6da7715ce44349b3" providerId="LiveId" clId="{30A766B1-982E-4295-BCAD-093FA0E8E566}" dt="2023-01-18T05:32:05.371" v="14801" actId="2696"/>
        <pc:sldMasterMkLst>
          <pc:docMk/>
          <pc:sldMasterMk cId="3231462034" sldId="2147483885"/>
        </pc:sldMasterMkLst>
        <pc:sldLayoutChg chg="del">
          <pc:chgData name="Aurelien Domont" userId="6da7715ce44349b3" providerId="LiveId" clId="{30A766B1-982E-4295-BCAD-093FA0E8E566}" dt="2023-01-18T05:32:05.361" v="14793" actId="2696"/>
          <pc:sldLayoutMkLst>
            <pc:docMk/>
            <pc:sldMasterMk cId="3231462034" sldId="2147483885"/>
            <pc:sldLayoutMk cId="3962238946" sldId="2147483886"/>
          </pc:sldLayoutMkLst>
        </pc:sldLayoutChg>
        <pc:sldLayoutChg chg="del">
          <pc:chgData name="Aurelien Domont" userId="6da7715ce44349b3" providerId="LiveId" clId="{30A766B1-982E-4295-BCAD-093FA0E8E566}" dt="2023-01-18T05:32:05.363" v="14794" actId="2696"/>
          <pc:sldLayoutMkLst>
            <pc:docMk/>
            <pc:sldMasterMk cId="3231462034" sldId="2147483885"/>
            <pc:sldLayoutMk cId="2509730189" sldId="2147483887"/>
          </pc:sldLayoutMkLst>
        </pc:sldLayoutChg>
        <pc:sldLayoutChg chg="del">
          <pc:chgData name="Aurelien Domont" userId="6da7715ce44349b3" providerId="LiveId" clId="{30A766B1-982E-4295-BCAD-093FA0E8E566}" dt="2023-01-18T05:32:05.364" v="14795" actId="2696"/>
          <pc:sldLayoutMkLst>
            <pc:docMk/>
            <pc:sldMasterMk cId="3231462034" sldId="2147483885"/>
            <pc:sldLayoutMk cId="3648888047" sldId="2147483888"/>
          </pc:sldLayoutMkLst>
        </pc:sldLayoutChg>
        <pc:sldLayoutChg chg="del">
          <pc:chgData name="Aurelien Domont" userId="6da7715ce44349b3" providerId="LiveId" clId="{30A766B1-982E-4295-BCAD-093FA0E8E566}" dt="2023-01-18T05:32:05.365" v="14796" actId="2696"/>
          <pc:sldLayoutMkLst>
            <pc:docMk/>
            <pc:sldMasterMk cId="3231462034" sldId="2147483885"/>
            <pc:sldLayoutMk cId="2735548184" sldId="2147483889"/>
          </pc:sldLayoutMkLst>
        </pc:sldLayoutChg>
        <pc:sldLayoutChg chg="del">
          <pc:chgData name="Aurelien Domont" userId="6da7715ce44349b3" providerId="LiveId" clId="{30A766B1-982E-4295-BCAD-093FA0E8E566}" dt="2023-01-18T05:32:05.366" v="14797" actId="2696"/>
          <pc:sldLayoutMkLst>
            <pc:docMk/>
            <pc:sldMasterMk cId="3231462034" sldId="2147483885"/>
            <pc:sldLayoutMk cId="158222190" sldId="2147483890"/>
          </pc:sldLayoutMkLst>
        </pc:sldLayoutChg>
        <pc:sldLayoutChg chg="del">
          <pc:chgData name="Aurelien Domont" userId="6da7715ce44349b3" providerId="LiveId" clId="{30A766B1-982E-4295-BCAD-093FA0E8E566}" dt="2023-01-18T05:32:05.367" v="14798" actId="2696"/>
          <pc:sldLayoutMkLst>
            <pc:docMk/>
            <pc:sldMasterMk cId="3231462034" sldId="2147483885"/>
            <pc:sldLayoutMk cId="853167020" sldId="2147483891"/>
          </pc:sldLayoutMkLst>
        </pc:sldLayoutChg>
        <pc:sldLayoutChg chg="del">
          <pc:chgData name="Aurelien Domont" userId="6da7715ce44349b3" providerId="LiveId" clId="{30A766B1-982E-4295-BCAD-093FA0E8E566}" dt="2023-01-18T05:32:05.368" v="14799" actId="2696"/>
          <pc:sldLayoutMkLst>
            <pc:docMk/>
            <pc:sldMasterMk cId="3231462034" sldId="2147483885"/>
            <pc:sldLayoutMk cId="1051784428" sldId="2147483892"/>
          </pc:sldLayoutMkLst>
        </pc:sldLayoutChg>
        <pc:sldLayoutChg chg="del">
          <pc:chgData name="Aurelien Domont" userId="6da7715ce44349b3" providerId="LiveId" clId="{30A766B1-982E-4295-BCAD-093FA0E8E566}" dt="2023-01-18T05:32:05.369" v="14800" actId="2696"/>
          <pc:sldLayoutMkLst>
            <pc:docMk/>
            <pc:sldMasterMk cId="3231462034" sldId="2147483885"/>
            <pc:sldLayoutMk cId="108581143" sldId="2147483893"/>
          </pc:sldLayoutMkLst>
        </pc:sldLayoutChg>
      </pc:sldMasterChg>
      <pc:sldMasterChg chg="del delSldLayout">
        <pc:chgData name="Aurelien Domont" userId="6da7715ce44349b3" providerId="LiveId" clId="{30A766B1-982E-4295-BCAD-093FA0E8E566}" dt="2023-01-18T05:32:05.508" v="14889" actId="2696"/>
        <pc:sldMasterMkLst>
          <pc:docMk/>
          <pc:sldMasterMk cId="2601450054" sldId="2147483894"/>
        </pc:sldMasterMkLst>
        <pc:sldLayoutChg chg="del">
          <pc:chgData name="Aurelien Domont" userId="6da7715ce44349b3" providerId="LiveId" clId="{30A766B1-982E-4295-BCAD-093FA0E8E566}" dt="2023-01-18T05:32:05.496" v="14881" actId="2696"/>
          <pc:sldLayoutMkLst>
            <pc:docMk/>
            <pc:sldMasterMk cId="2601450054" sldId="2147483894"/>
            <pc:sldLayoutMk cId="3510696009" sldId="2147483895"/>
          </pc:sldLayoutMkLst>
        </pc:sldLayoutChg>
        <pc:sldLayoutChg chg="del">
          <pc:chgData name="Aurelien Domont" userId="6da7715ce44349b3" providerId="LiveId" clId="{30A766B1-982E-4295-BCAD-093FA0E8E566}" dt="2023-01-18T05:32:05.498" v="14882" actId="2696"/>
          <pc:sldLayoutMkLst>
            <pc:docMk/>
            <pc:sldMasterMk cId="2601450054" sldId="2147483894"/>
            <pc:sldLayoutMk cId="529214048" sldId="2147483896"/>
          </pc:sldLayoutMkLst>
        </pc:sldLayoutChg>
        <pc:sldLayoutChg chg="del">
          <pc:chgData name="Aurelien Domont" userId="6da7715ce44349b3" providerId="LiveId" clId="{30A766B1-982E-4295-BCAD-093FA0E8E566}" dt="2023-01-18T05:32:05.499" v="14883" actId="2696"/>
          <pc:sldLayoutMkLst>
            <pc:docMk/>
            <pc:sldMasterMk cId="2601450054" sldId="2147483894"/>
            <pc:sldLayoutMk cId="1957249364" sldId="2147483897"/>
          </pc:sldLayoutMkLst>
        </pc:sldLayoutChg>
        <pc:sldLayoutChg chg="del">
          <pc:chgData name="Aurelien Domont" userId="6da7715ce44349b3" providerId="LiveId" clId="{30A766B1-982E-4295-BCAD-093FA0E8E566}" dt="2023-01-18T05:32:05.500" v="14884" actId="2696"/>
          <pc:sldLayoutMkLst>
            <pc:docMk/>
            <pc:sldMasterMk cId="2601450054" sldId="2147483894"/>
            <pc:sldLayoutMk cId="3592154188" sldId="2147483898"/>
          </pc:sldLayoutMkLst>
        </pc:sldLayoutChg>
        <pc:sldLayoutChg chg="del">
          <pc:chgData name="Aurelien Domont" userId="6da7715ce44349b3" providerId="LiveId" clId="{30A766B1-982E-4295-BCAD-093FA0E8E566}" dt="2023-01-18T05:32:05.501" v="14885" actId="2696"/>
          <pc:sldLayoutMkLst>
            <pc:docMk/>
            <pc:sldMasterMk cId="2601450054" sldId="2147483894"/>
            <pc:sldLayoutMk cId="3674217975" sldId="2147483899"/>
          </pc:sldLayoutMkLst>
        </pc:sldLayoutChg>
        <pc:sldLayoutChg chg="del">
          <pc:chgData name="Aurelien Domont" userId="6da7715ce44349b3" providerId="LiveId" clId="{30A766B1-982E-4295-BCAD-093FA0E8E566}" dt="2023-01-18T05:32:05.502" v="14886" actId="2696"/>
          <pc:sldLayoutMkLst>
            <pc:docMk/>
            <pc:sldMasterMk cId="2601450054" sldId="2147483894"/>
            <pc:sldLayoutMk cId="4107720080" sldId="2147483900"/>
          </pc:sldLayoutMkLst>
        </pc:sldLayoutChg>
        <pc:sldLayoutChg chg="del">
          <pc:chgData name="Aurelien Domont" userId="6da7715ce44349b3" providerId="LiveId" clId="{30A766B1-982E-4295-BCAD-093FA0E8E566}" dt="2023-01-18T05:32:05.504" v="14887" actId="2696"/>
          <pc:sldLayoutMkLst>
            <pc:docMk/>
            <pc:sldMasterMk cId="2601450054" sldId="2147483894"/>
            <pc:sldLayoutMk cId="3551989132" sldId="2147483901"/>
          </pc:sldLayoutMkLst>
        </pc:sldLayoutChg>
        <pc:sldLayoutChg chg="del">
          <pc:chgData name="Aurelien Domont" userId="6da7715ce44349b3" providerId="LiveId" clId="{30A766B1-982E-4295-BCAD-093FA0E8E566}" dt="2023-01-18T05:32:05.505" v="14888" actId="2696"/>
          <pc:sldLayoutMkLst>
            <pc:docMk/>
            <pc:sldMasterMk cId="2601450054" sldId="2147483894"/>
            <pc:sldLayoutMk cId="2613304387" sldId="2147483902"/>
          </pc:sldLayoutMkLst>
        </pc:sldLayoutChg>
      </pc:sldMasterChg>
      <pc:sldMasterChg chg="del delSldLayout">
        <pc:chgData name="Aurelien Domont" userId="6da7715ce44349b3" providerId="LiveId" clId="{30A766B1-982E-4295-BCAD-093FA0E8E566}" dt="2023-01-18T05:32:05.060" v="14570" actId="2696"/>
        <pc:sldMasterMkLst>
          <pc:docMk/>
          <pc:sldMasterMk cId="2303736675" sldId="2147483903"/>
        </pc:sldMasterMkLst>
        <pc:sldLayoutChg chg="del">
          <pc:chgData name="Aurelien Domont" userId="6da7715ce44349b3" providerId="LiveId" clId="{30A766B1-982E-4295-BCAD-093FA0E8E566}" dt="2023-01-18T05:32:05.052" v="14562" actId="2696"/>
          <pc:sldLayoutMkLst>
            <pc:docMk/>
            <pc:sldMasterMk cId="2303736675" sldId="2147483903"/>
            <pc:sldLayoutMk cId="4049569803" sldId="2147483904"/>
          </pc:sldLayoutMkLst>
        </pc:sldLayoutChg>
        <pc:sldLayoutChg chg="del">
          <pc:chgData name="Aurelien Domont" userId="6da7715ce44349b3" providerId="LiveId" clId="{30A766B1-982E-4295-BCAD-093FA0E8E566}" dt="2023-01-18T05:32:05.052" v="14563" actId="2696"/>
          <pc:sldLayoutMkLst>
            <pc:docMk/>
            <pc:sldMasterMk cId="2303736675" sldId="2147483903"/>
            <pc:sldLayoutMk cId="1792220711" sldId="2147483905"/>
          </pc:sldLayoutMkLst>
        </pc:sldLayoutChg>
        <pc:sldLayoutChg chg="del">
          <pc:chgData name="Aurelien Domont" userId="6da7715ce44349b3" providerId="LiveId" clId="{30A766B1-982E-4295-BCAD-093FA0E8E566}" dt="2023-01-18T05:32:05.054" v="14564" actId="2696"/>
          <pc:sldLayoutMkLst>
            <pc:docMk/>
            <pc:sldMasterMk cId="2303736675" sldId="2147483903"/>
            <pc:sldLayoutMk cId="1708966056" sldId="2147483906"/>
          </pc:sldLayoutMkLst>
        </pc:sldLayoutChg>
        <pc:sldLayoutChg chg="del">
          <pc:chgData name="Aurelien Domont" userId="6da7715ce44349b3" providerId="LiveId" clId="{30A766B1-982E-4295-BCAD-093FA0E8E566}" dt="2023-01-18T05:32:05.055" v="14565" actId="2696"/>
          <pc:sldLayoutMkLst>
            <pc:docMk/>
            <pc:sldMasterMk cId="2303736675" sldId="2147483903"/>
            <pc:sldLayoutMk cId="577810044" sldId="2147483907"/>
          </pc:sldLayoutMkLst>
        </pc:sldLayoutChg>
        <pc:sldLayoutChg chg="del">
          <pc:chgData name="Aurelien Domont" userId="6da7715ce44349b3" providerId="LiveId" clId="{30A766B1-982E-4295-BCAD-093FA0E8E566}" dt="2023-01-18T05:32:05.056" v="14566" actId="2696"/>
          <pc:sldLayoutMkLst>
            <pc:docMk/>
            <pc:sldMasterMk cId="2303736675" sldId="2147483903"/>
            <pc:sldLayoutMk cId="214782824" sldId="2147483908"/>
          </pc:sldLayoutMkLst>
        </pc:sldLayoutChg>
        <pc:sldLayoutChg chg="del">
          <pc:chgData name="Aurelien Domont" userId="6da7715ce44349b3" providerId="LiveId" clId="{30A766B1-982E-4295-BCAD-093FA0E8E566}" dt="2023-01-18T05:32:05.056" v="14567" actId="2696"/>
          <pc:sldLayoutMkLst>
            <pc:docMk/>
            <pc:sldMasterMk cId="2303736675" sldId="2147483903"/>
            <pc:sldLayoutMk cId="3287194076" sldId="2147483909"/>
          </pc:sldLayoutMkLst>
        </pc:sldLayoutChg>
        <pc:sldLayoutChg chg="del">
          <pc:chgData name="Aurelien Domont" userId="6da7715ce44349b3" providerId="LiveId" clId="{30A766B1-982E-4295-BCAD-093FA0E8E566}" dt="2023-01-18T05:32:05.057" v="14568" actId="2696"/>
          <pc:sldLayoutMkLst>
            <pc:docMk/>
            <pc:sldMasterMk cId="2303736675" sldId="2147483903"/>
            <pc:sldLayoutMk cId="4210504961" sldId="2147483910"/>
          </pc:sldLayoutMkLst>
        </pc:sldLayoutChg>
        <pc:sldLayoutChg chg="del">
          <pc:chgData name="Aurelien Domont" userId="6da7715ce44349b3" providerId="LiveId" clId="{30A766B1-982E-4295-BCAD-093FA0E8E566}" dt="2023-01-18T05:32:05.058" v="14569" actId="2696"/>
          <pc:sldLayoutMkLst>
            <pc:docMk/>
            <pc:sldMasterMk cId="2303736675" sldId="2147483903"/>
            <pc:sldLayoutMk cId="3418453172" sldId="2147483911"/>
          </pc:sldLayoutMkLst>
        </pc:sldLayoutChg>
      </pc:sldMasterChg>
      <pc:sldMasterChg chg="del delSldLayout">
        <pc:chgData name="Aurelien Domont" userId="6da7715ce44349b3" providerId="LiveId" clId="{30A766B1-982E-4295-BCAD-093FA0E8E566}" dt="2023-01-18T05:32:05.168" v="14651" actId="2696"/>
        <pc:sldMasterMkLst>
          <pc:docMk/>
          <pc:sldMasterMk cId="1103747743" sldId="2147483912"/>
        </pc:sldMasterMkLst>
        <pc:sldLayoutChg chg="del">
          <pc:chgData name="Aurelien Domont" userId="6da7715ce44349b3" providerId="LiveId" clId="{30A766B1-982E-4295-BCAD-093FA0E8E566}" dt="2023-01-18T05:32:05.159" v="14643" actId="2696"/>
          <pc:sldLayoutMkLst>
            <pc:docMk/>
            <pc:sldMasterMk cId="1103747743" sldId="2147483912"/>
            <pc:sldLayoutMk cId="1771153459" sldId="2147483913"/>
          </pc:sldLayoutMkLst>
        </pc:sldLayoutChg>
        <pc:sldLayoutChg chg="del">
          <pc:chgData name="Aurelien Domont" userId="6da7715ce44349b3" providerId="LiveId" clId="{30A766B1-982E-4295-BCAD-093FA0E8E566}" dt="2023-01-18T05:32:05.160" v="14644" actId="2696"/>
          <pc:sldLayoutMkLst>
            <pc:docMk/>
            <pc:sldMasterMk cId="1103747743" sldId="2147483912"/>
            <pc:sldLayoutMk cId="1497989126" sldId="2147483914"/>
          </pc:sldLayoutMkLst>
        </pc:sldLayoutChg>
        <pc:sldLayoutChg chg="del">
          <pc:chgData name="Aurelien Domont" userId="6da7715ce44349b3" providerId="LiveId" clId="{30A766B1-982E-4295-BCAD-093FA0E8E566}" dt="2023-01-18T05:32:05.162" v="14645" actId="2696"/>
          <pc:sldLayoutMkLst>
            <pc:docMk/>
            <pc:sldMasterMk cId="1103747743" sldId="2147483912"/>
            <pc:sldLayoutMk cId="3256794929" sldId="2147483915"/>
          </pc:sldLayoutMkLst>
        </pc:sldLayoutChg>
        <pc:sldLayoutChg chg="del">
          <pc:chgData name="Aurelien Domont" userId="6da7715ce44349b3" providerId="LiveId" clId="{30A766B1-982E-4295-BCAD-093FA0E8E566}" dt="2023-01-18T05:32:05.163" v="14646" actId="2696"/>
          <pc:sldLayoutMkLst>
            <pc:docMk/>
            <pc:sldMasterMk cId="1103747743" sldId="2147483912"/>
            <pc:sldLayoutMk cId="1702750948" sldId="2147483916"/>
          </pc:sldLayoutMkLst>
        </pc:sldLayoutChg>
        <pc:sldLayoutChg chg="del">
          <pc:chgData name="Aurelien Domont" userId="6da7715ce44349b3" providerId="LiveId" clId="{30A766B1-982E-4295-BCAD-093FA0E8E566}" dt="2023-01-18T05:32:05.164" v="14647" actId="2696"/>
          <pc:sldLayoutMkLst>
            <pc:docMk/>
            <pc:sldMasterMk cId="1103747743" sldId="2147483912"/>
            <pc:sldLayoutMk cId="4002274165" sldId="2147483917"/>
          </pc:sldLayoutMkLst>
        </pc:sldLayoutChg>
        <pc:sldLayoutChg chg="del">
          <pc:chgData name="Aurelien Domont" userId="6da7715ce44349b3" providerId="LiveId" clId="{30A766B1-982E-4295-BCAD-093FA0E8E566}" dt="2023-01-18T05:32:05.165" v="14648" actId="2696"/>
          <pc:sldLayoutMkLst>
            <pc:docMk/>
            <pc:sldMasterMk cId="1103747743" sldId="2147483912"/>
            <pc:sldLayoutMk cId="404085134" sldId="2147483918"/>
          </pc:sldLayoutMkLst>
        </pc:sldLayoutChg>
        <pc:sldLayoutChg chg="del">
          <pc:chgData name="Aurelien Domont" userId="6da7715ce44349b3" providerId="LiveId" clId="{30A766B1-982E-4295-BCAD-093FA0E8E566}" dt="2023-01-18T05:32:05.165" v="14649" actId="2696"/>
          <pc:sldLayoutMkLst>
            <pc:docMk/>
            <pc:sldMasterMk cId="1103747743" sldId="2147483912"/>
            <pc:sldLayoutMk cId="4006456282" sldId="2147483919"/>
          </pc:sldLayoutMkLst>
        </pc:sldLayoutChg>
        <pc:sldLayoutChg chg="del">
          <pc:chgData name="Aurelien Domont" userId="6da7715ce44349b3" providerId="LiveId" clId="{30A766B1-982E-4295-BCAD-093FA0E8E566}" dt="2023-01-18T05:32:05.166" v="14650" actId="2696"/>
          <pc:sldLayoutMkLst>
            <pc:docMk/>
            <pc:sldMasterMk cId="1103747743" sldId="2147483912"/>
            <pc:sldLayoutMk cId="3056184832" sldId="2147483920"/>
          </pc:sldLayoutMkLst>
        </pc:sldLayoutChg>
      </pc:sldMasterChg>
      <pc:sldMasterChg chg="del delSldLayout">
        <pc:chgData name="Aurelien Domont" userId="6da7715ce44349b3" providerId="LiveId" clId="{30A766B1-982E-4295-BCAD-093FA0E8E566}" dt="2023-01-18T05:32:05.384" v="14810" actId="2696"/>
        <pc:sldMasterMkLst>
          <pc:docMk/>
          <pc:sldMasterMk cId="2503626868" sldId="2147483929"/>
        </pc:sldMasterMkLst>
        <pc:sldLayoutChg chg="del">
          <pc:chgData name="Aurelien Domont" userId="6da7715ce44349b3" providerId="LiveId" clId="{30A766B1-982E-4295-BCAD-093FA0E8E566}" dt="2023-01-18T05:32:05.372" v="14802" actId="2696"/>
          <pc:sldLayoutMkLst>
            <pc:docMk/>
            <pc:sldMasterMk cId="2503626868" sldId="2147483929"/>
            <pc:sldLayoutMk cId="1172753313" sldId="2147483930"/>
          </pc:sldLayoutMkLst>
        </pc:sldLayoutChg>
        <pc:sldLayoutChg chg="del">
          <pc:chgData name="Aurelien Domont" userId="6da7715ce44349b3" providerId="LiveId" clId="{30A766B1-982E-4295-BCAD-093FA0E8E566}" dt="2023-01-18T05:32:05.375" v="14803" actId="2696"/>
          <pc:sldLayoutMkLst>
            <pc:docMk/>
            <pc:sldMasterMk cId="2503626868" sldId="2147483929"/>
            <pc:sldLayoutMk cId="2625236247" sldId="2147483931"/>
          </pc:sldLayoutMkLst>
        </pc:sldLayoutChg>
        <pc:sldLayoutChg chg="del">
          <pc:chgData name="Aurelien Domont" userId="6da7715ce44349b3" providerId="LiveId" clId="{30A766B1-982E-4295-BCAD-093FA0E8E566}" dt="2023-01-18T05:32:05.376" v="14804" actId="2696"/>
          <pc:sldLayoutMkLst>
            <pc:docMk/>
            <pc:sldMasterMk cId="2503626868" sldId="2147483929"/>
            <pc:sldLayoutMk cId="2666335352" sldId="2147483932"/>
          </pc:sldLayoutMkLst>
        </pc:sldLayoutChg>
        <pc:sldLayoutChg chg="del">
          <pc:chgData name="Aurelien Domont" userId="6da7715ce44349b3" providerId="LiveId" clId="{30A766B1-982E-4295-BCAD-093FA0E8E566}" dt="2023-01-18T05:32:05.378" v="14805" actId="2696"/>
          <pc:sldLayoutMkLst>
            <pc:docMk/>
            <pc:sldMasterMk cId="2503626868" sldId="2147483929"/>
            <pc:sldLayoutMk cId="3575676633" sldId="2147483933"/>
          </pc:sldLayoutMkLst>
        </pc:sldLayoutChg>
        <pc:sldLayoutChg chg="del">
          <pc:chgData name="Aurelien Domont" userId="6da7715ce44349b3" providerId="LiveId" clId="{30A766B1-982E-4295-BCAD-093FA0E8E566}" dt="2023-01-18T05:32:05.379" v="14806" actId="2696"/>
          <pc:sldLayoutMkLst>
            <pc:docMk/>
            <pc:sldMasterMk cId="2503626868" sldId="2147483929"/>
            <pc:sldLayoutMk cId="27178951" sldId="2147483934"/>
          </pc:sldLayoutMkLst>
        </pc:sldLayoutChg>
        <pc:sldLayoutChg chg="del">
          <pc:chgData name="Aurelien Domont" userId="6da7715ce44349b3" providerId="LiveId" clId="{30A766B1-982E-4295-BCAD-093FA0E8E566}" dt="2023-01-18T05:32:05.380" v="14807" actId="2696"/>
          <pc:sldLayoutMkLst>
            <pc:docMk/>
            <pc:sldMasterMk cId="2503626868" sldId="2147483929"/>
            <pc:sldLayoutMk cId="3086256664" sldId="2147483935"/>
          </pc:sldLayoutMkLst>
        </pc:sldLayoutChg>
        <pc:sldLayoutChg chg="del">
          <pc:chgData name="Aurelien Domont" userId="6da7715ce44349b3" providerId="LiveId" clId="{30A766B1-982E-4295-BCAD-093FA0E8E566}" dt="2023-01-18T05:32:05.381" v="14808" actId="2696"/>
          <pc:sldLayoutMkLst>
            <pc:docMk/>
            <pc:sldMasterMk cId="2503626868" sldId="2147483929"/>
            <pc:sldLayoutMk cId="2153815393" sldId="2147483936"/>
          </pc:sldLayoutMkLst>
        </pc:sldLayoutChg>
        <pc:sldLayoutChg chg="del">
          <pc:chgData name="Aurelien Domont" userId="6da7715ce44349b3" providerId="LiveId" clId="{30A766B1-982E-4295-BCAD-093FA0E8E566}" dt="2023-01-18T05:32:05.382" v="14809" actId="2696"/>
          <pc:sldLayoutMkLst>
            <pc:docMk/>
            <pc:sldMasterMk cId="2503626868" sldId="2147483929"/>
            <pc:sldLayoutMk cId="1942213134" sldId="2147483937"/>
          </pc:sldLayoutMkLst>
        </pc:sldLayoutChg>
      </pc:sldMasterChg>
      <pc:sldMasterChg chg="del delSldLayout">
        <pc:chgData name="Aurelien Domont" userId="6da7715ce44349b3" providerId="LiveId" clId="{30A766B1-982E-4295-BCAD-093FA0E8E566}" dt="2023-01-18T05:32:05.525" v="14898" actId="2696"/>
        <pc:sldMasterMkLst>
          <pc:docMk/>
          <pc:sldMasterMk cId="1019125022" sldId="2147483938"/>
        </pc:sldMasterMkLst>
        <pc:sldLayoutChg chg="del">
          <pc:chgData name="Aurelien Domont" userId="6da7715ce44349b3" providerId="LiveId" clId="{30A766B1-982E-4295-BCAD-093FA0E8E566}" dt="2023-01-18T05:32:05.510" v="14890" actId="2696"/>
          <pc:sldLayoutMkLst>
            <pc:docMk/>
            <pc:sldMasterMk cId="1019125022" sldId="2147483938"/>
            <pc:sldLayoutMk cId="2439662140" sldId="2147483939"/>
          </pc:sldLayoutMkLst>
        </pc:sldLayoutChg>
        <pc:sldLayoutChg chg="del">
          <pc:chgData name="Aurelien Domont" userId="6da7715ce44349b3" providerId="LiveId" clId="{30A766B1-982E-4295-BCAD-093FA0E8E566}" dt="2023-01-18T05:32:05.511" v="14891" actId="2696"/>
          <pc:sldLayoutMkLst>
            <pc:docMk/>
            <pc:sldMasterMk cId="1019125022" sldId="2147483938"/>
            <pc:sldLayoutMk cId="324078384" sldId="2147483940"/>
          </pc:sldLayoutMkLst>
        </pc:sldLayoutChg>
        <pc:sldLayoutChg chg="del">
          <pc:chgData name="Aurelien Domont" userId="6da7715ce44349b3" providerId="LiveId" clId="{30A766B1-982E-4295-BCAD-093FA0E8E566}" dt="2023-01-18T05:32:05.513" v="14892" actId="2696"/>
          <pc:sldLayoutMkLst>
            <pc:docMk/>
            <pc:sldMasterMk cId="1019125022" sldId="2147483938"/>
            <pc:sldLayoutMk cId="1531897575" sldId="2147483941"/>
          </pc:sldLayoutMkLst>
        </pc:sldLayoutChg>
        <pc:sldLayoutChg chg="del">
          <pc:chgData name="Aurelien Domont" userId="6da7715ce44349b3" providerId="LiveId" clId="{30A766B1-982E-4295-BCAD-093FA0E8E566}" dt="2023-01-18T05:32:05.515" v="14893" actId="2696"/>
          <pc:sldLayoutMkLst>
            <pc:docMk/>
            <pc:sldMasterMk cId="1019125022" sldId="2147483938"/>
            <pc:sldLayoutMk cId="2649590993" sldId="2147483942"/>
          </pc:sldLayoutMkLst>
        </pc:sldLayoutChg>
        <pc:sldLayoutChg chg="del">
          <pc:chgData name="Aurelien Domont" userId="6da7715ce44349b3" providerId="LiveId" clId="{30A766B1-982E-4295-BCAD-093FA0E8E566}" dt="2023-01-18T05:32:05.517" v="14894" actId="2696"/>
          <pc:sldLayoutMkLst>
            <pc:docMk/>
            <pc:sldMasterMk cId="1019125022" sldId="2147483938"/>
            <pc:sldLayoutMk cId="1551786219" sldId="2147483943"/>
          </pc:sldLayoutMkLst>
        </pc:sldLayoutChg>
        <pc:sldLayoutChg chg="del">
          <pc:chgData name="Aurelien Domont" userId="6da7715ce44349b3" providerId="LiveId" clId="{30A766B1-982E-4295-BCAD-093FA0E8E566}" dt="2023-01-18T05:32:05.518" v="14895" actId="2696"/>
          <pc:sldLayoutMkLst>
            <pc:docMk/>
            <pc:sldMasterMk cId="1019125022" sldId="2147483938"/>
            <pc:sldLayoutMk cId="1982278711" sldId="2147483944"/>
          </pc:sldLayoutMkLst>
        </pc:sldLayoutChg>
        <pc:sldLayoutChg chg="del">
          <pc:chgData name="Aurelien Domont" userId="6da7715ce44349b3" providerId="LiveId" clId="{30A766B1-982E-4295-BCAD-093FA0E8E566}" dt="2023-01-18T05:32:05.520" v="14896" actId="2696"/>
          <pc:sldLayoutMkLst>
            <pc:docMk/>
            <pc:sldMasterMk cId="1019125022" sldId="2147483938"/>
            <pc:sldLayoutMk cId="4102702285" sldId="2147483945"/>
          </pc:sldLayoutMkLst>
        </pc:sldLayoutChg>
        <pc:sldLayoutChg chg="del">
          <pc:chgData name="Aurelien Domont" userId="6da7715ce44349b3" providerId="LiveId" clId="{30A766B1-982E-4295-BCAD-093FA0E8E566}" dt="2023-01-18T05:32:05.521" v="14897" actId="2696"/>
          <pc:sldLayoutMkLst>
            <pc:docMk/>
            <pc:sldMasterMk cId="1019125022" sldId="2147483938"/>
            <pc:sldLayoutMk cId="1998937205" sldId="2147483946"/>
          </pc:sldLayoutMkLst>
        </pc:sldLayoutChg>
      </pc:sldMasterChg>
      <pc:sldMasterChg chg="del delSldLayout">
        <pc:chgData name="Aurelien Domont" userId="6da7715ce44349b3" providerId="LiveId" clId="{30A766B1-982E-4295-BCAD-093FA0E8E566}" dt="2023-01-18T05:32:05.075" v="14579" actId="2696"/>
        <pc:sldMasterMkLst>
          <pc:docMk/>
          <pc:sldMasterMk cId="1699065741" sldId="2147483947"/>
        </pc:sldMasterMkLst>
        <pc:sldLayoutChg chg="del">
          <pc:chgData name="Aurelien Domont" userId="6da7715ce44349b3" providerId="LiveId" clId="{30A766B1-982E-4295-BCAD-093FA0E8E566}" dt="2023-01-18T05:32:05.062" v="14571" actId="2696"/>
          <pc:sldLayoutMkLst>
            <pc:docMk/>
            <pc:sldMasterMk cId="1699065741" sldId="2147483947"/>
            <pc:sldLayoutMk cId="3752053168" sldId="2147483948"/>
          </pc:sldLayoutMkLst>
        </pc:sldLayoutChg>
        <pc:sldLayoutChg chg="del">
          <pc:chgData name="Aurelien Domont" userId="6da7715ce44349b3" providerId="LiveId" clId="{30A766B1-982E-4295-BCAD-093FA0E8E566}" dt="2023-01-18T05:32:05.063" v="14572" actId="2696"/>
          <pc:sldLayoutMkLst>
            <pc:docMk/>
            <pc:sldMasterMk cId="1699065741" sldId="2147483947"/>
            <pc:sldLayoutMk cId="3542313388" sldId="2147483949"/>
          </pc:sldLayoutMkLst>
        </pc:sldLayoutChg>
        <pc:sldLayoutChg chg="del">
          <pc:chgData name="Aurelien Domont" userId="6da7715ce44349b3" providerId="LiveId" clId="{30A766B1-982E-4295-BCAD-093FA0E8E566}" dt="2023-01-18T05:32:05.065" v="14573" actId="2696"/>
          <pc:sldLayoutMkLst>
            <pc:docMk/>
            <pc:sldMasterMk cId="1699065741" sldId="2147483947"/>
            <pc:sldLayoutMk cId="1124148130" sldId="2147483950"/>
          </pc:sldLayoutMkLst>
        </pc:sldLayoutChg>
        <pc:sldLayoutChg chg="del">
          <pc:chgData name="Aurelien Domont" userId="6da7715ce44349b3" providerId="LiveId" clId="{30A766B1-982E-4295-BCAD-093FA0E8E566}" dt="2023-01-18T05:32:05.066" v="14574" actId="2696"/>
          <pc:sldLayoutMkLst>
            <pc:docMk/>
            <pc:sldMasterMk cId="1699065741" sldId="2147483947"/>
            <pc:sldLayoutMk cId="4284768405" sldId="2147483951"/>
          </pc:sldLayoutMkLst>
        </pc:sldLayoutChg>
        <pc:sldLayoutChg chg="del">
          <pc:chgData name="Aurelien Domont" userId="6da7715ce44349b3" providerId="LiveId" clId="{30A766B1-982E-4295-BCAD-093FA0E8E566}" dt="2023-01-18T05:32:05.068" v="14575" actId="2696"/>
          <pc:sldLayoutMkLst>
            <pc:docMk/>
            <pc:sldMasterMk cId="1699065741" sldId="2147483947"/>
            <pc:sldLayoutMk cId="4042663090" sldId="2147483952"/>
          </pc:sldLayoutMkLst>
        </pc:sldLayoutChg>
        <pc:sldLayoutChg chg="del">
          <pc:chgData name="Aurelien Domont" userId="6da7715ce44349b3" providerId="LiveId" clId="{30A766B1-982E-4295-BCAD-093FA0E8E566}" dt="2023-01-18T05:32:05.069" v="14576" actId="2696"/>
          <pc:sldLayoutMkLst>
            <pc:docMk/>
            <pc:sldMasterMk cId="1699065741" sldId="2147483947"/>
            <pc:sldLayoutMk cId="1202375204" sldId="2147483953"/>
          </pc:sldLayoutMkLst>
        </pc:sldLayoutChg>
        <pc:sldLayoutChg chg="del">
          <pc:chgData name="Aurelien Domont" userId="6da7715ce44349b3" providerId="LiveId" clId="{30A766B1-982E-4295-BCAD-093FA0E8E566}" dt="2023-01-18T05:32:05.070" v="14577" actId="2696"/>
          <pc:sldLayoutMkLst>
            <pc:docMk/>
            <pc:sldMasterMk cId="1699065741" sldId="2147483947"/>
            <pc:sldLayoutMk cId="378115944" sldId="2147483954"/>
          </pc:sldLayoutMkLst>
        </pc:sldLayoutChg>
        <pc:sldLayoutChg chg="del">
          <pc:chgData name="Aurelien Domont" userId="6da7715ce44349b3" providerId="LiveId" clId="{30A766B1-982E-4295-BCAD-093FA0E8E566}" dt="2023-01-18T05:32:05.071" v="14578" actId="2696"/>
          <pc:sldLayoutMkLst>
            <pc:docMk/>
            <pc:sldMasterMk cId="1699065741" sldId="2147483947"/>
            <pc:sldLayoutMk cId="1949611331" sldId="2147483955"/>
          </pc:sldLayoutMkLst>
        </pc:sldLayoutChg>
      </pc:sldMasterChg>
      <pc:sldMasterChg chg="del delSldLayout">
        <pc:chgData name="Aurelien Domont" userId="6da7715ce44349b3" providerId="LiveId" clId="{30A766B1-982E-4295-BCAD-093FA0E8E566}" dt="2023-01-18T05:32:05.183" v="14660" actId="2696"/>
        <pc:sldMasterMkLst>
          <pc:docMk/>
          <pc:sldMasterMk cId="1603132165" sldId="2147483956"/>
        </pc:sldMasterMkLst>
        <pc:sldLayoutChg chg="del">
          <pc:chgData name="Aurelien Domont" userId="6da7715ce44349b3" providerId="LiveId" clId="{30A766B1-982E-4295-BCAD-093FA0E8E566}" dt="2023-01-18T05:32:05.169" v="14652" actId="2696"/>
          <pc:sldLayoutMkLst>
            <pc:docMk/>
            <pc:sldMasterMk cId="1603132165" sldId="2147483956"/>
            <pc:sldLayoutMk cId="3598205493" sldId="2147483957"/>
          </pc:sldLayoutMkLst>
        </pc:sldLayoutChg>
        <pc:sldLayoutChg chg="del">
          <pc:chgData name="Aurelien Domont" userId="6da7715ce44349b3" providerId="LiveId" clId="{30A766B1-982E-4295-BCAD-093FA0E8E566}" dt="2023-01-18T05:32:05.171" v="14653" actId="2696"/>
          <pc:sldLayoutMkLst>
            <pc:docMk/>
            <pc:sldMasterMk cId="1603132165" sldId="2147483956"/>
            <pc:sldLayoutMk cId="4109200069" sldId="2147483958"/>
          </pc:sldLayoutMkLst>
        </pc:sldLayoutChg>
        <pc:sldLayoutChg chg="del">
          <pc:chgData name="Aurelien Domont" userId="6da7715ce44349b3" providerId="LiveId" clId="{30A766B1-982E-4295-BCAD-093FA0E8E566}" dt="2023-01-18T05:32:05.172" v="14654" actId="2696"/>
          <pc:sldLayoutMkLst>
            <pc:docMk/>
            <pc:sldMasterMk cId="1603132165" sldId="2147483956"/>
            <pc:sldLayoutMk cId="1636058047" sldId="2147483959"/>
          </pc:sldLayoutMkLst>
        </pc:sldLayoutChg>
        <pc:sldLayoutChg chg="del">
          <pc:chgData name="Aurelien Domont" userId="6da7715ce44349b3" providerId="LiveId" clId="{30A766B1-982E-4295-BCAD-093FA0E8E566}" dt="2023-01-18T05:32:05.174" v="14655" actId="2696"/>
          <pc:sldLayoutMkLst>
            <pc:docMk/>
            <pc:sldMasterMk cId="1603132165" sldId="2147483956"/>
            <pc:sldLayoutMk cId="3024548915" sldId="2147483960"/>
          </pc:sldLayoutMkLst>
        </pc:sldLayoutChg>
        <pc:sldLayoutChg chg="del">
          <pc:chgData name="Aurelien Domont" userId="6da7715ce44349b3" providerId="LiveId" clId="{30A766B1-982E-4295-BCAD-093FA0E8E566}" dt="2023-01-18T05:32:05.176" v="14656" actId="2696"/>
          <pc:sldLayoutMkLst>
            <pc:docMk/>
            <pc:sldMasterMk cId="1603132165" sldId="2147483956"/>
            <pc:sldLayoutMk cId="489857442" sldId="2147483961"/>
          </pc:sldLayoutMkLst>
        </pc:sldLayoutChg>
        <pc:sldLayoutChg chg="del">
          <pc:chgData name="Aurelien Domont" userId="6da7715ce44349b3" providerId="LiveId" clId="{30A766B1-982E-4295-BCAD-093FA0E8E566}" dt="2023-01-18T05:32:05.177" v="14657" actId="2696"/>
          <pc:sldLayoutMkLst>
            <pc:docMk/>
            <pc:sldMasterMk cId="1603132165" sldId="2147483956"/>
            <pc:sldLayoutMk cId="3677282287" sldId="2147483962"/>
          </pc:sldLayoutMkLst>
        </pc:sldLayoutChg>
        <pc:sldLayoutChg chg="del">
          <pc:chgData name="Aurelien Domont" userId="6da7715ce44349b3" providerId="LiveId" clId="{30A766B1-982E-4295-BCAD-093FA0E8E566}" dt="2023-01-18T05:32:05.179" v="14658" actId="2696"/>
          <pc:sldLayoutMkLst>
            <pc:docMk/>
            <pc:sldMasterMk cId="1603132165" sldId="2147483956"/>
            <pc:sldLayoutMk cId="3059336265" sldId="2147483963"/>
          </pc:sldLayoutMkLst>
        </pc:sldLayoutChg>
        <pc:sldLayoutChg chg="del">
          <pc:chgData name="Aurelien Domont" userId="6da7715ce44349b3" providerId="LiveId" clId="{30A766B1-982E-4295-BCAD-093FA0E8E566}" dt="2023-01-18T05:32:05.180" v="14659" actId="2696"/>
          <pc:sldLayoutMkLst>
            <pc:docMk/>
            <pc:sldMasterMk cId="1603132165" sldId="2147483956"/>
            <pc:sldLayoutMk cId="893941935" sldId="2147483964"/>
          </pc:sldLayoutMkLst>
        </pc:sldLayoutChg>
      </pc:sldMasterChg>
      <pc:sldMasterChg chg="del delSldLayout">
        <pc:chgData name="Aurelien Domont" userId="6da7715ce44349b3" providerId="LiveId" clId="{30A766B1-982E-4295-BCAD-093FA0E8E566}" dt="2023-01-18T05:32:05.292" v="14740" actId="2696"/>
        <pc:sldMasterMkLst>
          <pc:docMk/>
          <pc:sldMasterMk cId="1890090882" sldId="2147483965"/>
        </pc:sldMasterMkLst>
        <pc:sldLayoutChg chg="del">
          <pc:chgData name="Aurelien Domont" userId="6da7715ce44349b3" providerId="LiveId" clId="{30A766B1-982E-4295-BCAD-093FA0E8E566}" dt="2023-01-18T05:32:05.281" v="14732" actId="2696"/>
          <pc:sldLayoutMkLst>
            <pc:docMk/>
            <pc:sldMasterMk cId="1890090882" sldId="2147483965"/>
            <pc:sldLayoutMk cId="3840880840" sldId="2147483966"/>
          </pc:sldLayoutMkLst>
        </pc:sldLayoutChg>
        <pc:sldLayoutChg chg="del">
          <pc:chgData name="Aurelien Domont" userId="6da7715ce44349b3" providerId="LiveId" clId="{30A766B1-982E-4295-BCAD-093FA0E8E566}" dt="2023-01-18T05:32:05.283" v="14733" actId="2696"/>
          <pc:sldLayoutMkLst>
            <pc:docMk/>
            <pc:sldMasterMk cId="1890090882" sldId="2147483965"/>
            <pc:sldLayoutMk cId="2608627368" sldId="2147483967"/>
          </pc:sldLayoutMkLst>
        </pc:sldLayoutChg>
        <pc:sldLayoutChg chg="del">
          <pc:chgData name="Aurelien Domont" userId="6da7715ce44349b3" providerId="LiveId" clId="{30A766B1-982E-4295-BCAD-093FA0E8E566}" dt="2023-01-18T05:32:05.284" v="14734" actId="2696"/>
          <pc:sldLayoutMkLst>
            <pc:docMk/>
            <pc:sldMasterMk cId="1890090882" sldId="2147483965"/>
            <pc:sldLayoutMk cId="1170806807" sldId="2147483968"/>
          </pc:sldLayoutMkLst>
        </pc:sldLayoutChg>
        <pc:sldLayoutChg chg="del">
          <pc:chgData name="Aurelien Domont" userId="6da7715ce44349b3" providerId="LiveId" clId="{30A766B1-982E-4295-BCAD-093FA0E8E566}" dt="2023-01-18T05:32:05.286" v="14735" actId="2696"/>
          <pc:sldLayoutMkLst>
            <pc:docMk/>
            <pc:sldMasterMk cId="1890090882" sldId="2147483965"/>
            <pc:sldLayoutMk cId="3625874133" sldId="2147483969"/>
          </pc:sldLayoutMkLst>
        </pc:sldLayoutChg>
        <pc:sldLayoutChg chg="del">
          <pc:chgData name="Aurelien Domont" userId="6da7715ce44349b3" providerId="LiveId" clId="{30A766B1-982E-4295-BCAD-093FA0E8E566}" dt="2023-01-18T05:32:05.287" v="14736" actId="2696"/>
          <pc:sldLayoutMkLst>
            <pc:docMk/>
            <pc:sldMasterMk cId="1890090882" sldId="2147483965"/>
            <pc:sldLayoutMk cId="4187115157" sldId="2147483970"/>
          </pc:sldLayoutMkLst>
        </pc:sldLayoutChg>
        <pc:sldLayoutChg chg="del">
          <pc:chgData name="Aurelien Domont" userId="6da7715ce44349b3" providerId="LiveId" clId="{30A766B1-982E-4295-BCAD-093FA0E8E566}" dt="2023-01-18T05:32:05.288" v="14737" actId="2696"/>
          <pc:sldLayoutMkLst>
            <pc:docMk/>
            <pc:sldMasterMk cId="1890090882" sldId="2147483965"/>
            <pc:sldLayoutMk cId="2470289388" sldId="2147483971"/>
          </pc:sldLayoutMkLst>
        </pc:sldLayoutChg>
        <pc:sldLayoutChg chg="del">
          <pc:chgData name="Aurelien Domont" userId="6da7715ce44349b3" providerId="LiveId" clId="{30A766B1-982E-4295-BCAD-093FA0E8E566}" dt="2023-01-18T05:32:05.289" v="14738" actId="2696"/>
          <pc:sldLayoutMkLst>
            <pc:docMk/>
            <pc:sldMasterMk cId="1890090882" sldId="2147483965"/>
            <pc:sldLayoutMk cId="260060164" sldId="2147483972"/>
          </pc:sldLayoutMkLst>
        </pc:sldLayoutChg>
        <pc:sldLayoutChg chg="del">
          <pc:chgData name="Aurelien Domont" userId="6da7715ce44349b3" providerId="LiveId" clId="{30A766B1-982E-4295-BCAD-093FA0E8E566}" dt="2023-01-18T05:32:05.290" v="14739" actId="2696"/>
          <pc:sldLayoutMkLst>
            <pc:docMk/>
            <pc:sldMasterMk cId="1890090882" sldId="2147483965"/>
            <pc:sldLayoutMk cId="1164338612" sldId="2147483973"/>
          </pc:sldLayoutMkLst>
        </pc:sldLayoutChg>
      </pc:sldMasterChg>
      <pc:sldMasterChg chg="del delSldLayout">
        <pc:chgData name="Aurelien Domont" userId="6da7715ce44349b3" providerId="LiveId" clId="{30A766B1-982E-4295-BCAD-093FA0E8E566}" dt="2023-01-18T05:32:05.411" v="14827" actId="2696"/>
        <pc:sldMasterMkLst>
          <pc:docMk/>
          <pc:sldMasterMk cId="1316110522" sldId="2147483974"/>
        </pc:sldMasterMkLst>
        <pc:sldLayoutChg chg="del">
          <pc:chgData name="Aurelien Domont" userId="6da7715ce44349b3" providerId="LiveId" clId="{30A766B1-982E-4295-BCAD-093FA0E8E566}" dt="2023-01-18T05:32:05.402" v="14819" actId="2696"/>
          <pc:sldLayoutMkLst>
            <pc:docMk/>
            <pc:sldMasterMk cId="1316110522" sldId="2147483974"/>
            <pc:sldLayoutMk cId="1379777044" sldId="2147483975"/>
          </pc:sldLayoutMkLst>
        </pc:sldLayoutChg>
        <pc:sldLayoutChg chg="del">
          <pc:chgData name="Aurelien Domont" userId="6da7715ce44349b3" providerId="LiveId" clId="{30A766B1-982E-4295-BCAD-093FA0E8E566}" dt="2023-01-18T05:32:05.403" v="14820" actId="2696"/>
          <pc:sldLayoutMkLst>
            <pc:docMk/>
            <pc:sldMasterMk cId="1316110522" sldId="2147483974"/>
            <pc:sldLayoutMk cId="1845380835" sldId="2147483976"/>
          </pc:sldLayoutMkLst>
        </pc:sldLayoutChg>
        <pc:sldLayoutChg chg="del">
          <pc:chgData name="Aurelien Domont" userId="6da7715ce44349b3" providerId="LiveId" clId="{30A766B1-982E-4295-BCAD-093FA0E8E566}" dt="2023-01-18T05:32:05.404" v="14821" actId="2696"/>
          <pc:sldLayoutMkLst>
            <pc:docMk/>
            <pc:sldMasterMk cId="1316110522" sldId="2147483974"/>
            <pc:sldLayoutMk cId="2585436420" sldId="2147483977"/>
          </pc:sldLayoutMkLst>
        </pc:sldLayoutChg>
        <pc:sldLayoutChg chg="del">
          <pc:chgData name="Aurelien Domont" userId="6da7715ce44349b3" providerId="LiveId" clId="{30A766B1-982E-4295-BCAD-093FA0E8E566}" dt="2023-01-18T05:32:05.405" v="14822" actId="2696"/>
          <pc:sldLayoutMkLst>
            <pc:docMk/>
            <pc:sldMasterMk cId="1316110522" sldId="2147483974"/>
            <pc:sldLayoutMk cId="3148429167" sldId="2147483978"/>
          </pc:sldLayoutMkLst>
        </pc:sldLayoutChg>
        <pc:sldLayoutChg chg="del">
          <pc:chgData name="Aurelien Domont" userId="6da7715ce44349b3" providerId="LiveId" clId="{30A766B1-982E-4295-BCAD-093FA0E8E566}" dt="2023-01-18T05:32:05.406" v="14823" actId="2696"/>
          <pc:sldLayoutMkLst>
            <pc:docMk/>
            <pc:sldMasterMk cId="1316110522" sldId="2147483974"/>
            <pc:sldLayoutMk cId="2023897551" sldId="2147483979"/>
          </pc:sldLayoutMkLst>
        </pc:sldLayoutChg>
        <pc:sldLayoutChg chg="del">
          <pc:chgData name="Aurelien Domont" userId="6da7715ce44349b3" providerId="LiveId" clId="{30A766B1-982E-4295-BCAD-093FA0E8E566}" dt="2023-01-18T05:32:05.407" v="14824" actId="2696"/>
          <pc:sldLayoutMkLst>
            <pc:docMk/>
            <pc:sldMasterMk cId="1316110522" sldId="2147483974"/>
            <pc:sldLayoutMk cId="2734066013" sldId="2147483980"/>
          </pc:sldLayoutMkLst>
        </pc:sldLayoutChg>
        <pc:sldLayoutChg chg="del">
          <pc:chgData name="Aurelien Domont" userId="6da7715ce44349b3" providerId="LiveId" clId="{30A766B1-982E-4295-BCAD-093FA0E8E566}" dt="2023-01-18T05:32:05.408" v="14825" actId="2696"/>
          <pc:sldLayoutMkLst>
            <pc:docMk/>
            <pc:sldMasterMk cId="1316110522" sldId="2147483974"/>
            <pc:sldLayoutMk cId="1315926188" sldId="2147483981"/>
          </pc:sldLayoutMkLst>
        </pc:sldLayoutChg>
        <pc:sldLayoutChg chg="del">
          <pc:chgData name="Aurelien Domont" userId="6da7715ce44349b3" providerId="LiveId" clId="{30A766B1-982E-4295-BCAD-093FA0E8E566}" dt="2023-01-18T05:32:05.409" v="14826" actId="2696"/>
          <pc:sldLayoutMkLst>
            <pc:docMk/>
            <pc:sldMasterMk cId="1316110522" sldId="2147483974"/>
            <pc:sldLayoutMk cId="1514457023" sldId="2147483982"/>
          </pc:sldLayoutMkLst>
        </pc:sldLayoutChg>
      </pc:sldMasterChg>
      <pc:sldMasterChg chg="del delSldLayout">
        <pc:chgData name="Aurelien Domont" userId="6da7715ce44349b3" providerId="LiveId" clId="{30A766B1-982E-4295-BCAD-093FA0E8E566}" dt="2023-01-18T05:32:05.552" v="14916" actId="2696"/>
        <pc:sldMasterMkLst>
          <pc:docMk/>
          <pc:sldMasterMk cId="4200013568" sldId="2147483983"/>
        </pc:sldMasterMkLst>
        <pc:sldLayoutChg chg="del">
          <pc:chgData name="Aurelien Domont" userId="6da7715ce44349b3" providerId="LiveId" clId="{30A766B1-982E-4295-BCAD-093FA0E8E566}" dt="2023-01-18T05:32:05.542" v="14908" actId="2696"/>
          <pc:sldLayoutMkLst>
            <pc:docMk/>
            <pc:sldMasterMk cId="4200013568" sldId="2147483983"/>
            <pc:sldLayoutMk cId="1963925961" sldId="2147483984"/>
          </pc:sldLayoutMkLst>
        </pc:sldLayoutChg>
        <pc:sldLayoutChg chg="del">
          <pc:chgData name="Aurelien Domont" userId="6da7715ce44349b3" providerId="LiveId" clId="{30A766B1-982E-4295-BCAD-093FA0E8E566}" dt="2023-01-18T05:32:05.543" v="14909" actId="2696"/>
          <pc:sldLayoutMkLst>
            <pc:docMk/>
            <pc:sldMasterMk cId="4200013568" sldId="2147483983"/>
            <pc:sldLayoutMk cId="3435023221" sldId="2147483985"/>
          </pc:sldLayoutMkLst>
        </pc:sldLayoutChg>
        <pc:sldLayoutChg chg="del">
          <pc:chgData name="Aurelien Domont" userId="6da7715ce44349b3" providerId="LiveId" clId="{30A766B1-982E-4295-BCAD-093FA0E8E566}" dt="2023-01-18T05:32:05.545" v="14910" actId="2696"/>
          <pc:sldLayoutMkLst>
            <pc:docMk/>
            <pc:sldMasterMk cId="4200013568" sldId="2147483983"/>
            <pc:sldLayoutMk cId="3000291690" sldId="2147483986"/>
          </pc:sldLayoutMkLst>
        </pc:sldLayoutChg>
        <pc:sldLayoutChg chg="del">
          <pc:chgData name="Aurelien Domont" userId="6da7715ce44349b3" providerId="LiveId" clId="{30A766B1-982E-4295-BCAD-093FA0E8E566}" dt="2023-01-18T05:32:05.546" v="14911" actId="2696"/>
          <pc:sldLayoutMkLst>
            <pc:docMk/>
            <pc:sldMasterMk cId="4200013568" sldId="2147483983"/>
            <pc:sldLayoutMk cId="1960391987" sldId="2147483987"/>
          </pc:sldLayoutMkLst>
        </pc:sldLayoutChg>
        <pc:sldLayoutChg chg="del">
          <pc:chgData name="Aurelien Domont" userId="6da7715ce44349b3" providerId="LiveId" clId="{30A766B1-982E-4295-BCAD-093FA0E8E566}" dt="2023-01-18T05:32:05.547" v="14912" actId="2696"/>
          <pc:sldLayoutMkLst>
            <pc:docMk/>
            <pc:sldMasterMk cId="4200013568" sldId="2147483983"/>
            <pc:sldLayoutMk cId="2337605518" sldId="2147483988"/>
          </pc:sldLayoutMkLst>
        </pc:sldLayoutChg>
        <pc:sldLayoutChg chg="del">
          <pc:chgData name="Aurelien Domont" userId="6da7715ce44349b3" providerId="LiveId" clId="{30A766B1-982E-4295-BCAD-093FA0E8E566}" dt="2023-01-18T05:32:05.548" v="14913" actId="2696"/>
          <pc:sldLayoutMkLst>
            <pc:docMk/>
            <pc:sldMasterMk cId="4200013568" sldId="2147483983"/>
            <pc:sldLayoutMk cId="2543155820" sldId="2147483989"/>
          </pc:sldLayoutMkLst>
        </pc:sldLayoutChg>
        <pc:sldLayoutChg chg="del">
          <pc:chgData name="Aurelien Domont" userId="6da7715ce44349b3" providerId="LiveId" clId="{30A766B1-982E-4295-BCAD-093FA0E8E566}" dt="2023-01-18T05:32:05.549" v="14914" actId="2696"/>
          <pc:sldLayoutMkLst>
            <pc:docMk/>
            <pc:sldMasterMk cId="4200013568" sldId="2147483983"/>
            <pc:sldLayoutMk cId="61477270" sldId="2147483990"/>
          </pc:sldLayoutMkLst>
        </pc:sldLayoutChg>
        <pc:sldLayoutChg chg="del">
          <pc:chgData name="Aurelien Domont" userId="6da7715ce44349b3" providerId="LiveId" clId="{30A766B1-982E-4295-BCAD-093FA0E8E566}" dt="2023-01-18T05:32:05.550" v="14915" actId="2696"/>
          <pc:sldLayoutMkLst>
            <pc:docMk/>
            <pc:sldMasterMk cId="4200013568" sldId="2147483983"/>
            <pc:sldLayoutMk cId="1805310722" sldId="2147483991"/>
          </pc:sldLayoutMkLst>
        </pc:sldLayoutChg>
      </pc:sldMasterChg>
      <pc:sldMasterChg chg="del delSldLayout">
        <pc:chgData name="Aurelien Domont" userId="6da7715ce44349b3" providerId="LiveId" clId="{30A766B1-982E-4295-BCAD-093FA0E8E566}" dt="2023-01-18T05:32:05.098" v="14597" actId="2696"/>
        <pc:sldMasterMkLst>
          <pc:docMk/>
          <pc:sldMasterMk cId="768717851" sldId="2147483992"/>
        </pc:sldMasterMkLst>
        <pc:sldLayoutChg chg="del">
          <pc:chgData name="Aurelien Domont" userId="6da7715ce44349b3" providerId="LiveId" clId="{30A766B1-982E-4295-BCAD-093FA0E8E566}" dt="2023-01-18T05:32:05.089" v="14589" actId="2696"/>
          <pc:sldLayoutMkLst>
            <pc:docMk/>
            <pc:sldMasterMk cId="768717851" sldId="2147483992"/>
            <pc:sldLayoutMk cId="2052869483" sldId="2147483993"/>
          </pc:sldLayoutMkLst>
        </pc:sldLayoutChg>
        <pc:sldLayoutChg chg="del">
          <pc:chgData name="Aurelien Domont" userId="6da7715ce44349b3" providerId="LiveId" clId="{30A766B1-982E-4295-BCAD-093FA0E8E566}" dt="2023-01-18T05:32:05.090" v="14590" actId="2696"/>
          <pc:sldLayoutMkLst>
            <pc:docMk/>
            <pc:sldMasterMk cId="768717851" sldId="2147483992"/>
            <pc:sldLayoutMk cId="220767427" sldId="2147483994"/>
          </pc:sldLayoutMkLst>
        </pc:sldLayoutChg>
        <pc:sldLayoutChg chg="del">
          <pc:chgData name="Aurelien Domont" userId="6da7715ce44349b3" providerId="LiveId" clId="{30A766B1-982E-4295-BCAD-093FA0E8E566}" dt="2023-01-18T05:32:05.092" v="14591" actId="2696"/>
          <pc:sldLayoutMkLst>
            <pc:docMk/>
            <pc:sldMasterMk cId="768717851" sldId="2147483992"/>
            <pc:sldLayoutMk cId="2941307924" sldId="2147483995"/>
          </pc:sldLayoutMkLst>
        </pc:sldLayoutChg>
        <pc:sldLayoutChg chg="del">
          <pc:chgData name="Aurelien Domont" userId="6da7715ce44349b3" providerId="LiveId" clId="{30A766B1-982E-4295-BCAD-093FA0E8E566}" dt="2023-01-18T05:32:05.093" v="14592" actId="2696"/>
          <pc:sldLayoutMkLst>
            <pc:docMk/>
            <pc:sldMasterMk cId="768717851" sldId="2147483992"/>
            <pc:sldLayoutMk cId="2027906457" sldId="2147483996"/>
          </pc:sldLayoutMkLst>
        </pc:sldLayoutChg>
        <pc:sldLayoutChg chg="del">
          <pc:chgData name="Aurelien Domont" userId="6da7715ce44349b3" providerId="LiveId" clId="{30A766B1-982E-4295-BCAD-093FA0E8E566}" dt="2023-01-18T05:32:05.094" v="14593" actId="2696"/>
          <pc:sldLayoutMkLst>
            <pc:docMk/>
            <pc:sldMasterMk cId="768717851" sldId="2147483992"/>
            <pc:sldLayoutMk cId="2047286858" sldId="2147483997"/>
          </pc:sldLayoutMkLst>
        </pc:sldLayoutChg>
        <pc:sldLayoutChg chg="del">
          <pc:chgData name="Aurelien Domont" userId="6da7715ce44349b3" providerId="LiveId" clId="{30A766B1-982E-4295-BCAD-093FA0E8E566}" dt="2023-01-18T05:32:05.095" v="14594" actId="2696"/>
          <pc:sldLayoutMkLst>
            <pc:docMk/>
            <pc:sldMasterMk cId="768717851" sldId="2147483992"/>
            <pc:sldLayoutMk cId="3927841812" sldId="2147483998"/>
          </pc:sldLayoutMkLst>
        </pc:sldLayoutChg>
        <pc:sldLayoutChg chg="del">
          <pc:chgData name="Aurelien Domont" userId="6da7715ce44349b3" providerId="LiveId" clId="{30A766B1-982E-4295-BCAD-093FA0E8E566}" dt="2023-01-18T05:32:05.095" v="14595" actId="2696"/>
          <pc:sldLayoutMkLst>
            <pc:docMk/>
            <pc:sldMasterMk cId="768717851" sldId="2147483992"/>
            <pc:sldLayoutMk cId="2097365062" sldId="2147483999"/>
          </pc:sldLayoutMkLst>
        </pc:sldLayoutChg>
        <pc:sldLayoutChg chg="del">
          <pc:chgData name="Aurelien Domont" userId="6da7715ce44349b3" providerId="LiveId" clId="{30A766B1-982E-4295-BCAD-093FA0E8E566}" dt="2023-01-18T05:32:05.096" v="14596" actId="2696"/>
          <pc:sldLayoutMkLst>
            <pc:docMk/>
            <pc:sldMasterMk cId="768717851" sldId="2147483992"/>
            <pc:sldLayoutMk cId="257134649" sldId="2147484000"/>
          </pc:sldLayoutMkLst>
        </pc:sldLayoutChg>
      </pc:sldMasterChg>
      <pc:sldMasterChg chg="del delSldLayout">
        <pc:chgData name="Aurelien Domont" userId="6da7715ce44349b3" providerId="LiveId" clId="{30A766B1-982E-4295-BCAD-093FA0E8E566}" dt="2023-01-18T05:32:05.211" v="14678" actId="2696"/>
        <pc:sldMasterMkLst>
          <pc:docMk/>
          <pc:sldMasterMk cId="565845794" sldId="2147484001"/>
        </pc:sldMasterMkLst>
        <pc:sldLayoutChg chg="del">
          <pc:chgData name="Aurelien Domont" userId="6da7715ce44349b3" providerId="LiveId" clId="{30A766B1-982E-4295-BCAD-093FA0E8E566}" dt="2023-01-18T05:32:05.199" v="14670" actId="2696"/>
          <pc:sldLayoutMkLst>
            <pc:docMk/>
            <pc:sldMasterMk cId="565845794" sldId="2147484001"/>
            <pc:sldLayoutMk cId="1194241241" sldId="2147484002"/>
          </pc:sldLayoutMkLst>
        </pc:sldLayoutChg>
        <pc:sldLayoutChg chg="del">
          <pc:chgData name="Aurelien Domont" userId="6da7715ce44349b3" providerId="LiveId" clId="{30A766B1-982E-4295-BCAD-093FA0E8E566}" dt="2023-01-18T05:32:05.200" v="14671" actId="2696"/>
          <pc:sldLayoutMkLst>
            <pc:docMk/>
            <pc:sldMasterMk cId="565845794" sldId="2147484001"/>
            <pc:sldLayoutMk cId="2884796606" sldId="2147484003"/>
          </pc:sldLayoutMkLst>
        </pc:sldLayoutChg>
        <pc:sldLayoutChg chg="del">
          <pc:chgData name="Aurelien Domont" userId="6da7715ce44349b3" providerId="LiveId" clId="{30A766B1-982E-4295-BCAD-093FA0E8E566}" dt="2023-01-18T05:32:05.202" v="14672" actId="2696"/>
          <pc:sldLayoutMkLst>
            <pc:docMk/>
            <pc:sldMasterMk cId="565845794" sldId="2147484001"/>
            <pc:sldLayoutMk cId="2673389207" sldId="2147484004"/>
          </pc:sldLayoutMkLst>
        </pc:sldLayoutChg>
        <pc:sldLayoutChg chg="del">
          <pc:chgData name="Aurelien Domont" userId="6da7715ce44349b3" providerId="LiveId" clId="{30A766B1-982E-4295-BCAD-093FA0E8E566}" dt="2023-01-18T05:32:05.203" v="14673" actId="2696"/>
          <pc:sldLayoutMkLst>
            <pc:docMk/>
            <pc:sldMasterMk cId="565845794" sldId="2147484001"/>
            <pc:sldLayoutMk cId="1497672047" sldId="2147484005"/>
          </pc:sldLayoutMkLst>
        </pc:sldLayoutChg>
        <pc:sldLayoutChg chg="del">
          <pc:chgData name="Aurelien Domont" userId="6da7715ce44349b3" providerId="LiveId" clId="{30A766B1-982E-4295-BCAD-093FA0E8E566}" dt="2023-01-18T05:32:05.205" v="14674" actId="2696"/>
          <pc:sldLayoutMkLst>
            <pc:docMk/>
            <pc:sldMasterMk cId="565845794" sldId="2147484001"/>
            <pc:sldLayoutMk cId="2384122826" sldId="2147484006"/>
          </pc:sldLayoutMkLst>
        </pc:sldLayoutChg>
        <pc:sldLayoutChg chg="del">
          <pc:chgData name="Aurelien Domont" userId="6da7715ce44349b3" providerId="LiveId" clId="{30A766B1-982E-4295-BCAD-093FA0E8E566}" dt="2023-01-18T05:32:05.206" v="14675" actId="2696"/>
          <pc:sldLayoutMkLst>
            <pc:docMk/>
            <pc:sldMasterMk cId="565845794" sldId="2147484001"/>
            <pc:sldLayoutMk cId="2044123255" sldId="2147484007"/>
          </pc:sldLayoutMkLst>
        </pc:sldLayoutChg>
        <pc:sldLayoutChg chg="del">
          <pc:chgData name="Aurelien Domont" userId="6da7715ce44349b3" providerId="LiveId" clId="{30A766B1-982E-4295-BCAD-093FA0E8E566}" dt="2023-01-18T05:32:05.207" v="14676" actId="2696"/>
          <pc:sldLayoutMkLst>
            <pc:docMk/>
            <pc:sldMasterMk cId="565845794" sldId="2147484001"/>
            <pc:sldLayoutMk cId="4191504557" sldId="2147484008"/>
          </pc:sldLayoutMkLst>
        </pc:sldLayoutChg>
        <pc:sldLayoutChg chg="del">
          <pc:chgData name="Aurelien Domont" userId="6da7715ce44349b3" providerId="LiveId" clId="{30A766B1-982E-4295-BCAD-093FA0E8E566}" dt="2023-01-18T05:32:05.209" v="14677" actId="2696"/>
          <pc:sldLayoutMkLst>
            <pc:docMk/>
            <pc:sldMasterMk cId="565845794" sldId="2147484001"/>
            <pc:sldLayoutMk cId="3931150277" sldId="2147484009"/>
          </pc:sldLayoutMkLst>
        </pc:sldLayoutChg>
      </pc:sldMasterChg>
      <pc:sldMasterChg chg="del delSldLayout">
        <pc:chgData name="Aurelien Domont" userId="6da7715ce44349b3" providerId="LiveId" clId="{30A766B1-982E-4295-BCAD-093FA0E8E566}" dt="2023-01-18T05:32:05.316" v="14758" actId="2696"/>
        <pc:sldMasterMkLst>
          <pc:docMk/>
          <pc:sldMasterMk cId="1126506949" sldId="2147484010"/>
        </pc:sldMasterMkLst>
        <pc:sldLayoutChg chg="del">
          <pc:chgData name="Aurelien Domont" userId="6da7715ce44349b3" providerId="LiveId" clId="{30A766B1-982E-4295-BCAD-093FA0E8E566}" dt="2023-01-18T05:32:05.305" v="14750" actId="2696"/>
          <pc:sldLayoutMkLst>
            <pc:docMk/>
            <pc:sldMasterMk cId="1126506949" sldId="2147484010"/>
            <pc:sldLayoutMk cId="1343046501" sldId="2147484011"/>
          </pc:sldLayoutMkLst>
        </pc:sldLayoutChg>
        <pc:sldLayoutChg chg="del">
          <pc:chgData name="Aurelien Domont" userId="6da7715ce44349b3" providerId="LiveId" clId="{30A766B1-982E-4295-BCAD-093FA0E8E566}" dt="2023-01-18T05:32:05.307" v="14751" actId="2696"/>
          <pc:sldLayoutMkLst>
            <pc:docMk/>
            <pc:sldMasterMk cId="1126506949" sldId="2147484010"/>
            <pc:sldLayoutMk cId="2971599115" sldId="2147484012"/>
          </pc:sldLayoutMkLst>
        </pc:sldLayoutChg>
        <pc:sldLayoutChg chg="del">
          <pc:chgData name="Aurelien Domont" userId="6da7715ce44349b3" providerId="LiveId" clId="{30A766B1-982E-4295-BCAD-093FA0E8E566}" dt="2023-01-18T05:32:05.308" v="14752" actId="2696"/>
          <pc:sldLayoutMkLst>
            <pc:docMk/>
            <pc:sldMasterMk cId="1126506949" sldId="2147484010"/>
            <pc:sldLayoutMk cId="4041252020" sldId="2147484013"/>
          </pc:sldLayoutMkLst>
        </pc:sldLayoutChg>
        <pc:sldLayoutChg chg="del">
          <pc:chgData name="Aurelien Domont" userId="6da7715ce44349b3" providerId="LiveId" clId="{30A766B1-982E-4295-BCAD-093FA0E8E566}" dt="2023-01-18T05:32:05.310" v="14753" actId="2696"/>
          <pc:sldLayoutMkLst>
            <pc:docMk/>
            <pc:sldMasterMk cId="1126506949" sldId="2147484010"/>
            <pc:sldLayoutMk cId="2575005541" sldId="2147484014"/>
          </pc:sldLayoutMkLst>
        </pc:sldLayoutChg>
        <pc:sldLayoutChg chg="del">
          <pc:chgData name="Aurelien Domont" userId="6da7715ce44349b3" providerId="LiveId" clId="{30A766B1-982E-4295-BCAD-093FA0E8E566}" dt="2023-01-18T05:32:05.311" v="14754" actId="2696"/>
          <pc:sldLayoutMkLst>
            <pc:docMk/>
            <pc:sldMasterMk cId="1126506949" sldId="2147484010"/>
            <pc:sldLayoutMk cId="3091345638" sldId="2147484015"/>
          </pc:sldLayoutMkLst>
        </pc:sldLayoutChg>
        <pc:sldLayoutChg chg="del">
          <pc:chgData name="Aurelien Domont" userId="6da7715ce44349b3" providerId="LiveId" clId="{30A766B1-982E-4295-BCAD-093FA0E8E566}" dt="2023-01-18T05:32:05.312" v="14755" actId="2696"/>
          <pc:sldLayoutMkLst>
            <pc:docMk/>
            <pc:sldMasterMk cId="1126506949" sldId="2147484010"/>
            <pc:sldLayoutMk cId="1966403579" sldId="2147484016"/>
          </pc:sldLayoutMkLst>
        </pc:sldLayoutChg>
        <pc:sldLayoutChg chg="del">
          <pc:chgData name="Aurelien Domont" userId="6da7715ce44349b3" providerId="LiveId" clId="{30A766B1-982E-4295-BCAD-093FA0E8E566}" dt="2023-01-18T05:32:05.313" v="14756" actId="2696"/>
          <pc:sldLayoutMkLst>
            <pc:docMk/>
            <pc:sldMasterMk cId="1126506949" sldId="2147484010"/>
            <pc:sldLayoutMk cId="4015865958" sldId="2147484017"/>
          </pc:sldLayoutMkLst>
        </pc:sldLayoutChg>
        <pc:sldLayoutChg chg="del">
          <pc:chgData name="Aurelien Domont" userId="6da7715ce44349b3" providerId="LiveId" clId="{30A766B1-982E-4295-BCAD-093FA0E8E566}" dt="2023-01-18T05:32:05.314" v="14757" actId="2696"/>
          <pc:sldLayoutMkLst>
            <pc:docMk/>
            <pc:sldMasterMk cId="1126506949" sldId="2147484010"/>
            <pc:sldLayoutMk cId="1125879132" sldId="2147484018"/>
          </pc:sldLayoutMkLst>
        </pc:sldLayoutChg>
      </pc:sldMasterChg>
      <pc:sldMasterChg chg="del delSldLayout">
        <pc:chgData name="Aurelien Domont" userId="6da7715ce44349b3" providerId="LiveId" clId="{30A766B1-982E-4295-BCAD-093FA0E8E566}" dt="2023-01-18T05:32:05.455" v="14853" actId="2696"/>
        <pc:sldMasterMkLst>
          <pc:docMk/>
          <pc:sldMasterMk cId="2755371940" sldId="2147484019"/>
        </pc:sldMasterMkLst>
        <pc:sldLayoutChg chg="del">
          <pc:chgData name="Aurelien Domont" userId="6da7715ce44349b3" providerId="LiveId" clId="{30A766B1-982E-4295-BCAD-093FA0E8E566}" dt="2023-01-18T05:32:05.445" v="14845" actId="2696"/>
          <pc:sldLayoutMkLst>
            <pc:docMk/>
            <pc:sldMasterMk cId="2755371940" sldId="2147484019"/>
            <pc:sldLayoutMk cId="4245302328" sldId="2147484020"/>
          </pc:sldLayoutMkLst>
        </pc:sldLayoutChg>
        <pc:sldLayoutChg chg="del">
          <pc:chgData name="Aurelien Domont" userId="6da7715ce44349b3" providerId="LiveId" clId="{30A766B1-982E-4295-BCAD-093FA0E8E566}" dt="2023-01-18T05:32:05.446" v="14846" actId="2696"/>
          <pc:sldLayoutMkLst>
            <pc:docMk/>
            <pc:sldMasterMk cId="2755371940" sldId="2147484019"/>
            <pc:sldLayoutMk cId="1554147094" sldId="2147484021"/>
          </pc:sldLayoutMkLst>
        </pc:sldLayoutChg>
        <pc:sldLayoutChg chg="del">
          <pc:chgData name="Aurelien Domont" userId="6da7715ce44349b3" providerId="LiveId" clId="{30A766B1-982E-4295-BCAD-093FA0E8E566}" dt="2023-01-18T05:32:05.447" v="14847" actId="2696"/>
          <pc:sldLayoutMkLst>
            <pc:docMk/>
            <pc:sldMasterMk cId="2755371940" sldId="2147484019"/>
            <pc:sldLayoutMk cId="1391477441" sldId="2147484022"/>
          </pc:sldLayoutMkLst>
        </pc:sldLayoutChg>
        <pc:sldLayoutChg chg="del">
          <pc:chgData name="Aurelien Domont" userId="6da7715ce44349b3" providerId="LiveId" clId="{30A766B1-982E-4295-BCAD-093FA0E8E566}" dt="2023-01-18T05:32:05.449" v="14848" actId="2696"/>
          <pc:sldLayoutMkLst>
            <pc:docMk/>
            <pc:sldMasterMk cId="2755371940" sldId="2147484019"/>
            <pc:sldLayoutMk cId="2272375298" sldId="2147484023"/>
          </pc:sldLayoutMkLst>
        </pc:sldLayoutChg>
        <pc:sldLayoutChg chg="del">
          <pc:chgData name="Aurelien Domont" userId="6da7715ce44349b3" providerId="LiveId" clId="{30A766B1-982E-4295-BCAD-093FA0E8E566}" dt="2023-01-18T05:32:05.450" v="14849" actId="2696"/>
          <pc:sldLayoutMkLst>
            <pc:docMk/>
            <pc:sldMasterMk cId="2755371940" sldId="2147484019"/>
            <pc:sldLayoutMk cId="3077059190" sldId="2147484024"/>
          </pc:sldLayoutMkLst>
        </pc:sldLayoutChg>
        <pc:sldLayoutChg chg="del">
          <pc:chgData name="Aurelien Domont" userId="6da7715ce44349b3" providerId="LiveId" clId="{30A766B1-982E-4295-BCAD-093FA0E8E566}" dt="2023-01-18T05:32:05.451" v="14850" actId="2696"/>
          <pc:sldLayoutMkLst>
            <pc:docMk/>
            <pc:sldMasterMk cId="2755371940" sldId="2147484019"/>
            <pc:sldLayoutMk cId="3637146510" sldId="2147484025"/>
          </pc:sldLayoutMkLst>
        </pc:sldLayoutChg>
        <pc:sldLayoutChg chg="del">
          <pc:chgData name="Aurelien Domont" userId="6da7715ce44349b3" providerId="LiveId" clId="{30A766B1-982E-4295-BCAD-093FA0E8E566}" dt="2023-01-18T05:32:05.452" v="14851" actId="2696"/>
          <pc:sldLayoutMkLst>
            <pc:docMk/>
            <pc:sldMasterMk cId="2755371940" sldId="2147484019"/>
            <pc:sldLayoutMk cId="743707173" sldId="2147484026"/>
          </pc:sldLayoutMkLst>
        </pc:sldLayoutChg>
        <pc:sldLayoutChg chg="del">
          <pc:chgData name="Aurelien Domont" userId="6da7715ce44349b3" providerId="LiveId" clId="{30A766B1-982E-4295-BCAD-093FA0E8E566}" dt="2023-01-18T05:32:05.453" v="14852" actId="2696"/>
          <pc:sldLayoutMkLst>
            <pc:docMk/>
            <pc:sldMasterMk cId="2755371940" sldId="2147484019"/>
            <pc:sldLayoutMk cId="2872758429" sldId="2147484027"/>
          </pc:sldLayoutMkLst>
        </pc:sldLayoutChg>
      </pc:sldMasterChg>
      <pc:sldMasterChg chg="del delSldLayout">
        <pc:chgData name="Aurelien Domont" userId="6da7715ce44349b3" providerId="LiveId" clId="{30A766B1-982E-4295-BCAD-093FA0E8E566}" dt="2023-01-18T05:32:05.027" v="14543" actId="2696"/>
        <pc:sldMasterMkLst>
          <pc:docMk/>
          <pc:sldMasterMk cId="2799331560" sldId="2147484028"/>
        </pc:sldMasterMkLst>
        <pc:sldLayoutChg chg="del">
          <pc:chgData name="Aurelien Domont" userId="6da7715ce44349b3" providerId="LiveId" clId="{30A766B1-982E-4295-BCAD-093FA0E8E566}" dt="2023-01-18T05:32:05.013" v="14535" actId="2696"/>
          <pc:sldLayoutMkLst>
            <pc:docMk/>
            <pc:sldMasterMk cId="2799331560" sldId="2147484028"/>
            <pc:sldLayoutMk cId="2728000995" sldId="2147484029"/>
          </pc:sldLayoutMkLst>
        </pc:sldLayoutChg>
        <pc:sldLayoutChg chg="del">
          <pc:chgData name="Aurelien Domont" userId="6da7715ce44349b3" providerId="LiveId" clId="{30A766B1-982E-4295-BCAD-093FA0E8E566}" dt="2023-01-18T05:32:05.015" v="14536" actId="2696"/>
          <pc:sldLayoutMkLst>
            <pc:docMk/>
            <pc:sldMasterMk cId="2799331560" sldId="2147484028"/>
            <pc:sldLayoutMk cId="3606598304" sldId="2147484030"/>
          </pc:sldLayoutMkLst>
        </pc:sldLayoutChg>
        <pc:sldLayoutChg chg="del">
          <pc:chgData name="Aurelien Domont" userId="6da7715ce44349b3" providerId="LiveId" clId="{30A766B1-982E-4295-BCAD-093FA0E8E566}" dt="2023-01-18T05:32:05.016" v="14537" actId="2696"/>
          <pc:sldLayoutMkLst>
            <pc:docMk/>
            <pc:sldMasterMk cId="2799331560" sldId="2147484028"/>
            <pc:sldLayoutMk cId="576355081" sldId="2147484031"/>
          </pc:sldLayoutMkLst>
        </pc:sldLayoutChg>
        <pc:sldLayoutChg chg="del">
          <pc:chgData name="Aurelien Domont" userId="6da7715ce44349b3" providerId="LiveId" clId="{30A766B1-982E-4295-BCAD-093FA0E8E566}" dt="2023-01-18T05:32:05.018" v="14538" actId="2696"/>
          <pc:sldLayoutMkLst>
            <pc:docMk/>
            <pc:sldMasterMk cId="2799331560" sldId="2147484028"/>
            <pc:sldLayoutMk cId="1570976088" sldId="2147484032"/>
          </pc:sldLayoutMkLst>
        </pc:sldLayoutChg>
        <pc:sldLayoutChg chg="del">
          <pc:chgData name="Aurelien Domont" userId="6da7715ce44349b3" providerId="LiveId" clId="{30A766B1-982E-4295-BCAD-093FA0E8E566}" dt="2023-01-18T05:32:05.020" v="14539" actId="2696"/>
          <pc:sldLayoutMkLst>
            <pc:docMk/>
            <pc:sldMasterMk cId="2799331560" sldId="2147484028"/>
            <pc:sldLayoutMk cId="3837396509" sldId="2147484033"/>
          </pc:sldLayoutMkLst>
        </pc:sldLayoutChg>
        <pc:sldLayoutChg chg="del">
          <pc:chgData name="Aurelien Domont" userId="6da7715ce44349b3" providerId="LiveId" clId="{30A766B1-982E-4295-BCAD-093FA0E8E566}" dt="2023-01-18T05:32:05.021" v="14540" actId="2696"/>
          <pc:sldLayoutMkLst>
            <pc:docMk/>
            <pc:sldMasterMk cId="2799331560" sldId="2147484028"/>
            <pc:sldLayoutMk cId="4182855902" sldId="2147484034"/>
          </pc:sldLayoutMkLst>
        </pc:sldLayoutChg>
        <pc:sldLayoutChg chg="del">
          <pc:chgData name="Aurelien Domont" userId="6da7715ce44349b3" providerId="LiveId" clId="{30A766B1-982E-4295-BCAD-093FA0E8E566}" dt="2023-01-18T05:32:05.023" v="14541" actId="2696"/>
          <pc:sldLayoutMkLst>
            <pc:docMk/>
            <pc:sldMasterMk cId="2799331560" sldId="2147484028"/>
            <pc:sldLayoutMk cId="1569637418" sldId="2147484035"/>
          </pc:sldLayoutMkLst>
        </pc:sldLayoutChg>
        <pc:sldLayoutChg chg="del">
          <pc:chgData name="Aurelien Domont" userId="6da7715ce44349b3" providerId="LiveId" clId="{30A766B1-982E-4295-BCAD-093FA0E8E566}" dt="2023-01-18T05:32:05.025" v="14542" actId="2696"/>
          <pc:sldLayoutMkLst>
            <pc:docMk/>
            <pc:sldMasterMk cId="2799331560" sldId="2147484028"/>
            <pc:sldLayoutMk cId="946874459" sldId="2147484036"/>
          </pc:sldLayoutMkLst>
        </pc:sldLayoutChg>
      </pc:sldMasterChg>
      <pc:sldMasterChg chg="del delSldLayout">
        <pc:chgData name="Aurelien Domont" userId="6da7715ce44349b3" providerId="LiveId" clId="{30A766B1-982E-4295-BCAD-093FA0E8E566}" dt="2023-01-18T05:32:05.135" v="14624" actId="2696"/>
        <pc:sldMasterMkLst>
          <pc:docMk/>
          <pc:sldMasterMk cId="1781313246" sldId="2147484037"/>
        </pc:sldMasterMkLst>
        <pc:sldLayoutChg chg="del">
          <pc:chgData name="Aurelien Domont" userId="6da7715ce44349b3" providerId="LiveId" clId="{30A766B1-982E-4295-BCAD-093FA0E8E566}" dt="2023-01-18T05:32:05.122" v="14616" actId="2696"/>
          <pc:sldLayoutMkLst>
            <pc:docMk/>
            <pc:sldMasterMk cId="1781313246" sldId="2147484037"/>
            <pc:sldLayoutMk cId="16668606" sldId="2147484038"/>
          </pc:sldLayoutMkLst>
        </pc:sldLayoutChg>
        <pc:sldLayoutChg chg="del">
          <pc:chgData name="Aurelien Domont" userId="6da7715ce44349b3" providerId="LiveId" clId="{30A766B1-982E-4295-BCAD-093FA0E8E566}" dt="2023-01-18T05:32:05.124" v="14617" actId="2696"/>
          <pc:sldLayoutMkLst>
            <pc:docMk/>
            <pc:sldMasterMk cId="1781313246" sldId="2147484037"/>
            <pc:sldLayoutMk cId="1600107079" sldId="2147484039"/>
          </pc:sldLayoutMkLst>
        </pc:sldLayoutChg>
        <pc:sldLayoutChg chg="del">
          <pc:chgData name="Aurelien Domont" userId="6da7715ce44349b3" providerId="LiveId" clId="{30A766B1-982E-4295-BCAD-093FA0E8E566}" dt="2023-01-18T05:32:05.126" v="14618" actId="2696"/>
          <pc:sldLayoutMkLst>
            <pc:docMk/>
            <pc:sldMasterMk cId="1781313246" sldId="2147484037"/>
            <pc:sldLayoutMk cId="1064480170" sldId="2147484040"/>
          </pc:sldLayoutMkLst>
        </pc:sldLayoutChg>
        <pc:sldLayoutChg chg="del">
          <pc:chgData name="Aurelien Domont" userId="6da7715ce44349b3" providerId="LiveId" clId="{30A766B1-982E-4295-BCAD-093FA0E8E566}" dt="2023-01-18T05:32:05.128" v="14619" actId="2696"/>
          <pc:sldLayoutMkLst>
            <pc:docMk/>
            <pc:sldMasterMk cId="1781313246" sldId="2147484037"/>
            <pc:sldLayoutMk cId="1573626994" sldId="2147484041"/>
          </pc:sldLayoutMkLst>
        </pc:sldLayoutChg>
        <pc:sldLayoutChg chg="del">
          <pc:chgData name="Aurelien Domont" userId="6da7715ce44349b3" providerId="LiveId" clId="{30A766B1-982E-4295-BCAD-093FA0E8E566}" dt="2023-01-18T05:32:05.129" v="14620" actId="2696"/>
          <pc:sldLayoutMkLst>
            <pc:docMk/>
            <pc:sldMasterMk cId="1781313246" sldId="2147484037"/>
            <pc:sldLayoutMk cId="4143286220" sldId="2147484042"/>
          </pc:sldLayoutMkLst>
        </pc:sldLayoutChg>
        <pc:sldLayoutChg chg="del">
          <pc:chgData name="Aurelien Domont" userId="6da7715ce44349b3" providerId="LiveId" clId="{30A766B1-982E-4295-BCAD-093FA0E8E566}" dt="2023-01-18T05:32:05.131" v="14621" actId="2696"/>
          <pc:sldLayoutMkLst>
            <pc:docMk/>
            <pc:sldMasterMk cId="1781313246" sldId="2147484037"/>
            <pc:sldLayoutMk cId="411213600" sldId="2147484043"/>
          </pc:sldLayoutMkLst>
        </pc:sldLayoutChg>
        <pc:sldLayoutChg chg="del">
          <pc:chgData name="Aurelien Domont" userId="6da7715ce44349b3" providerId="LiveId" clId="{30A766B1-982E-4295-BCAD-093FA0E8E566}" dt="2023-01-18T05:32:05.132" v="14622" actId="2696"/>
          <pc:sldLayoutMkLst>
            <pc:docMk/>
            <pc:sldMasterMk cId="1781313246" sldId="2147484037"/>
            <pc:sldLayoutMk cId="3563779684" sldId="2147484044"/>
          </pc:sldLayoutMkLst>
        </pc:sldLayoutChg>
        <pc:sldLayoutChg chg="del">
          <pc:chgData name="Aurelien Domont" userId="6da7715ce44349b3" providerId="LiveId" clId="{30A766B1-982E-4295-BCAD-093FA0E8E566}" dt="2023-01-18T05:32:05.133" v="14623" actId="2696"/>
          <pc:sldLayoutMkLst>
            <pc:docMk/>
            <pc:sldMasterMk cId="1781313246" sldId="2147484037"/>
            <pc:sldLayoutMk cId="3247752852" sldId="2147484045"/>
          </pc:sldLayoutMkLst>
        </pc:sldLayoutChg>
      </pc:sldMasterChg>
      <pc:sldMasterChg chg="del delSldLayout">
        <pc:chgData name="Aurelien Domont" userId="6da7715ce44349b3" providerId="LiveId" clId="{30A766B1-982E-4295-BCAD-093FA0E8E566}" dt="2023-01-18T05:32:05.244" v="14705" actId="2696"/>
        <pc:sldMasterMkLst>
          <pc:docMk/>
          <pc:sldMasterMk cId="3899230155" sldId="2147484046"/>
        </pc:sldMasterMkLst>
        <pc:sldLayoutChg chg="del">
          <pc:chgData name="Aurelien Domont" userId="6da7715ce44349b3" providerId="LiveId" clId="{30A766B1-982E-4295-BCAD-093FA0E8E566}" dt="2023-01-18T05:32:05.235" v="14697" actId="2696"/>
          <pc:sldLayoutMkLst>
            <pc:docMk/>
            <pc:sldMasterMk cId="3899230155" sldId="2147484046"/>
            <pc:sldLayoutMk cId="2839904324" sldId="2147484047"/>
          </pc:sldLayoutMkLst>
        </pc:sldLayoutChg>
        <pc:sldLayoutChg chg="del">
          <pc:chgData name="Aurelien Domont" userId="6da7715ce44349b3" providerId="LiveId" clId="{30A766B1-982E-4295-BCAD-093FA0E8E566}" dt="2023-01-18T05:32:05.237" v="14698" actId="2696"/>
          <pc:sldLayoutMkLst>
            <pc:docMk/>
            <pc:sldMasterMk cId="3899230155" sldId="2147484046"/>
            <pc:sldLayoutMk cId="876025999" sldId="2147484048"/>
          </pc:sldLayoutMkLst>
        </pc:sldLayoutChg>
        <pc:sldLayoutChg chg="del">
          <pc:chgData name="Aurelien Domont" userId="6da7715ce44349b3" providerId="LiveId" clId="{30A766B1-982E-4295-BCAD-093FA0E8E566}" dt="2023-01-18T05:32:05.238" v="14699" actId="2696"/>
          <pc:sldLayoutMkLst>
            <pc:docMk/>
            <pc:sldMasterMk cId="3899230155" sldId="2147484046"/>
            <pc:sldLayoutMk cId="1072906247" sldId="2147484049"/>
          </pc:sldLayoutMkLst>
        </pc:sldLayoutChg>
        <pc:sldLayoutChg chg="del">
          <pc:chgData name="Aurelien Domont" userId="6da7715ce44349b3" providerId="LiveId" clId="{30A766B1-982E-4295-BCAD-093FA0E8E566}" dt="2023-01-18T05:32:05.239" v="14700" actId="2696"/>
          <pc:sldLayoutMkLst>
            <pc:docMk/>
            <pc:sldMasterMk cId="3899230155" sldId="2147484046"/>
            <pc:sldLayoutMk cId="1715277918" sldId="2147484050"/>
          </pc:sldLayoutMkLst>
        </pc:sldLayoutChg>
        <pc:sldLayoutChg chg="del">
          <pc:chgData name="Aurelien Domont" userId="6da7715ce44349b3" providerId="LiveId" clId="{30A766B1-982E-4295-BCAD-093FA0E8E566}" dt="2023-01-18T05:32:05.239" v="14701" actId="2696"/>
          <pc:sldLayoutMkLst>
            <pc:docMk/>
            <pc:sldMasterMk cId="3899230155" sldId="2147484046"/>
            <pc:sldLayoutMk cId="1934509675" sldId="2147484051"/>
          </pc:sldLayoutMkLst>
        </pc:sldLayoutChg>
        <pc:sldLayoutChg chg="del">
          <pc:chgData name="Aurelien Domont" userId="6da7715ce44349b3" providerId="LiveId" clId="{30A766B1-982E-4295-BCAD-093FA0E8E566}" dt="2023-01-18T05:32:05.241" v="14702" actId="2696"/>
          <pc:sldLayoutMkLst>
            <pc:docMk/>
            <pc:sldMasterMk cId="3899230155" sldId="2147484046"/>
            <pc:sldLayoutMk cId="1773149562" sldId="2147484052"/>
          </pc:sldLayoutMkLst>
        </pc:sldLayoutChg>
        <pc:sldLayoutChg chg="del">
          <pc:chgData name="Aurelien Domont" userId="6da7715ce44349b3" providerId="LiveId" clId="{30A766B1-982E-4295-BCAD-093FA0E8E566}" dt="2023-01-18T05:32:05.242" v="14703" actId="2696"/>
          <pc:sldLayoutMkLst>
            <pc:docMk/>
            <pc:sldMasterMk cId="3899230155" sldId="2147484046"/>
            <pc:sldLayoutMk cId="472816811" sldId="2147484053"/>
          </pc:sldLayoutMkLst>
        </pc:sldLayoutChg>
        <pc:sldLayoutChg chg="del">
          <pc:chgData name="Aurelien Domont" userId="6da7715ce44349b3" providerId="LiveId" clId="{30A766B1-982E-4295-BCAD-093FA0E8E566}" dt="2023-01-18T05:32:05.242" v="14704" actId="2696"/>
          <pc:sldLayoutMkLst>
            <pc:docMk/>
            <pc:sldMasterMk cId="3899230155" sldId="2147484046"/>
            <pc:sldLayoutMk cId="3736752378" sldId="2147484054"/>
          </pc:sldLayoutMkLst>
        </pc:sldLayoutChg>
      </pc:sldMasterChg>
      <pc:sldMasterChg chg="del delSldLayout">
        <pc:chgData name="Aurelien Domont" userId="6da7715ce44349b3" providerId="LiveId" clId="{30A766B1-982E-4295-BCAD-093FA0E8E566}" dt="2023-01-18T05:32:05.349" v="14784" actId="2696"/>
        <pc:sldMasterMkLst>
          <pc:docMk/>
          <pc:sldMasterMk cId="3007903986" sldId="2147484055"/>
        </pc:sldMasterMkLst>
        <pc:sldLayoutChg chg="del">
          <pc:chgData name="Aurelien Domont" userId="6da7715ce44349b3" providerId="LiveId" clId="{30A766B1-982E-4295-BCAD-093FA0E8E566}" dt="2023-01-18T05:32:05.342" v="14776" actId="2696"/>
          <pc:sldLayoutMkLst>
            <pc:docMk/>
            <pc:sldMasterMk cId="3007903986" sldId="2147484055"/>
            <pc:sldLayoutMk cId="1378697274" sldId="2147484056"/>
          </pc:sldLayoutMkLst>
        </pc:sldLayoutChg>
        <pc:sldLayoutChg chg="del">
          <pc:chgData name="Aurelien Domont" userId="6da7715ce44349b3" providerId="LiveId" clId="{30A766B1-982E-4295-BCAD-093FA0E8E566}" dt="2023-01-18T05:32:05.343" v="14777" actId="2696"/>
          <pc:sldLayoutMkLst>
            <pc:docMk/>
            <pc:sldMasterMk cId="3007903986" sldId="2147484055"/>
            <pc:sldLayoutMk cId="4118061454" sldId="2147484057"/>
          </pc:sldLayoutMkLst>
        </pc:sldLayoutChg>
        <pc:sldLayoutChg chg="del">
          <pc:chgData name="Aurelien Domont" userId="6da7715ce44349b3" providerId="LiveId" clId="{30A766B1-982E-4295-BCAD-093FA0E8E566}" dt="2023-01-18T05:32:05.345" v="14778" actId="2696"/>
          <pc:sldLayoutMkLst>
            <pc:docMk/>
            <pc:sldMasterMk cId="3007903986" sldId="2147484055"/>
            <pc:sldLayoutMk cId="1777300545" sldId="2147484058"/>
          </pc:sldLayoutMkLst>
        </pc:sldLayoutChg>
        <pc:sldLayoutChg chg="del">
          <pc:chgData name="Aurelien Domont" userId="6da7715ce44349b3" providerId="LiveId" clId="{30A766B1-982E-4295-BCAD-093FA0E8E566}" dt="2023-01-18T05:32:05.346" v="14779" actId="2696"/>
          <pc:sldLayoutMkLst>
            <pc:docMk/>
            <pc:sldMasterMk cId="3007903986" sldId="2147484055"/>
            <pc:sldLayoutMk cId="1726453502" sldId="2147484059"/>
          </pc:sldLayoutMkLst>
        </pc:sldLayoutChg>
        <pc:sldLayoutChg chg="del">
          <pc:chgData name="Aurelien Domont" userId="6da7715ce44349b3" providerId="LiveId" clId="{30A766B1-982E-4295-BCAD-093FA0E8E566}" dt="2023-01-18T05:32:05.347" v="14780" actId="2696"/>
          <pc:sldLayoutMkLst>
            <pc:docMk/>
            <pc:sldMasterMk cId="3007903986" sldId="2147484055"/>
            <pc:sldLayoutMk cId="207152214" sldId="2147484060"/>
          </pc:sldLayoutMkLst>
        </pc:sldLayoutChg>
        <pc:sldLayoutChg chg="del">
          <pc:chgData name="Aurelien Domont" userId="6da7715ce44349b3" providerId="LiveId" clId="{30A766B1-982E-4295-BCAD-093FA0E8E566}" dt="2023-01-18T05:32:05.347" v="14781" actId="2696"/>
          <pc:sldLayoutMkLst>
            <pc:docMk/>
            <pc:sldMasterMk cId="3007903986" sldId="2147484055"/>
            <pc:sldLayoutMk cId="2134186899" sldId="2147484061"/>
          </pc:sldLayoutMkLst>
        </pc:sldLayoutChg>
        <pc:sldLayoutChg chg="del">
          <pc:chgData name="Aurelien Domont" userId="6da7715ce44349b3" providerId="LiveId" clId="{30A766B1-982E-4295-BCAD-093FA0E8E566}" dt="2023-01-18T05:32:05.348" v="14782" actId="2696"/>
          <pc:sldLayoutMkLst>
            <pc:docMk/>
            <pc:sldMasterMk cId="3007903986" sldId="2147484055"/>
            <pc:sldLayoutMk cId="2642869016" sldId="2147484062"/>
          </pc:sldLayoutMkLst>
        </pc:sldLayoutChg>
        <pc:sldLayoutChg chg="del">
          <pc:chgData name="Aurelien Domont" userId="6da7715ce44349b3" providerId="LiveId" clId="{30A766B1-982E-4295-BCAD-093FA0E8E566}" dt="2023-01-18T05:32:05.348" v="14783" actId="2696"/>
          <pc:sldLayoutMkLst>
            <pc:docMk/>
            <pc:sldMasterMk cId="3007903986" sldId="2147484055"/>
            <pc:sldLayoutMk cId="3497780019" sldId="2147484063"/>
          </pc:sldLayoutMkLst>
        </pc:sldLayoutChg>
      </pc:sldMasterChg>
      <pc:sldMasterChg chg="del delSldLayout">
        <pc:chgData name="Aurelien Domont" userId="6da7715ce44349b3" providerId="LiveId" clId="{30A766B1-982E-4295-BCAD-093FA0E8E566}" dt="2023-01-18T05:32:05.495" v="14880" actId="2696"/>
        <pc:sldMasterMkLst>
          <pc:docMk/>
          <pc:sldMasterMk cId="879794493" sldId="2147484064"/>
        </pc:sldMasterMkLst>
        <pc:sldLayoutChg chg="del">
          <pc:chgData name="Aurelien Domont" userId="6da7715ce44349b3" providerId="LiveId" clId="{30A766B1-982E-4295-BCAD-093FA0E8E566}" dt="2023-01-18T05:32:05.484" v="14872" actId="2696"/>
          <pc:sldLayoutMkLst>
            <pc:docMk/>
            <pc:sldMasterMk cId="879794493" sldId="2147484064"/>
            <pc:sldLayoutMk cId="1216859356" sldId="2147484065"/>
          </pc:sldLayoutMkLst>
        </pc:sldLayoutChg>
        <pc:sldLayoutChg chg="del">
          <pc:chgData name="Aurelien Domont" userId="6da7715ce44349b3" providerId="LiveId" clId="{30A766B1-982E-4295-BCAD-093FA0E8E566}" dt="2023-01-18T05:32:05.485" v="14873" actId="2696"/>
          <pc:sldLayoutMkLst>
            <pc:docMk/>
            <pc:sldMasterMk cId="879794493" sldId="2147484064"/>
            <pc:sldLayoutMk cId="2015533138" sldId="2147484066"/>
          </pc:sldLayoutMkLst>
        </pc:sldLayoutChg>
        <pc:sldLayoutChg chg="del">
          <pc:chgData name="Aurelien Domont" userId="6da7715ce44349b3" providerId="LiveId" clId="{30A766B1-982E-4295-BCAD-093FA0E8E566}" dt="2023-01-18T05:32:05.487" v="14874" actId="2696"/>
          <pc:sldLayoutMkLst>
            <pc:docMk/>
            <pc:sldMasterMk cId="879794493" sldId="2147484064"/>
            <pc:sldLayoutMk cId="837884960" sldId="2147484067"/>
          </pc:sldLayoutMkLst>
        </pc:sldLayoutChg>
        <pc:sldLayoutChg chg="del">
          <pc:chgData name="Aurelien Domont" userId="6da7715ce44349b3" providerId="LiveId" clId="{30A766B1-982E-4295-BCAD-093FA0E8E566}" dt="2023-01-18T05:32:05.488" v="14875" actId="2696"/>
          <pc:sldLayoutMkLst>
            <pc:docMk/>
            <pc:sldMasterMk cId="879794493" sldId="2147484064"/>
            <pc:sldLayoutMk cId="1904851221" sldId="2147484068"/>
          </pc:sldLayoutMkLst>
        </pc:sldLayoutChg>
        <pc:sldLayoutChg chg="del">
          <pc:chgData name="Aurelien Domont" userId="6da7715ce44349b3" providerId="LiveId" clId="{30A766B1-982E-4295-BCAD-093FA0E8E566}" dt="2023-01-18T05:32:05.490" v="14876" actId="2696"/>
          <pc:sldLayoutMkLst>
            <pc:docMk/>
            <pc:sldMasterMk cId="879794493" sldId="2147484064"/>
            <pc:sldLayoutMk cId="178629039" sldId="2147484069"/>
          </pc:sldLayoutMkLst>
        </pc:sldLayoutChg>
        <pc:sldLayoutChg chg="del">
          <pc:chgData name="Aurelien Domont" userId="6da7715ce44349b3" providerId="LiveId" clId="{30A766B1-982E-4295-BCAD-093FA0E8E566}" dt="2023-01-18T05:32:05.491" v="14877" actId="2696"/>
          <pc:sldLayoutMkLst>
            <pc:docMk/>
            <pc:sldMasterMk cId="879794493" sldId="2147484064"/>
            <pc:sldLayoutMk cId="3865426739" sldId="2147484070"/>
          </pc:sldLayoutMkLst>
        </pc:sldLayoutChg>
        <pc:sldLayoutChg chg="del">
          <pc:chgData name="Aurelien Domont" userId="6da7715ce44349b3" providerId="LiveId" clId="{30A766B1-982E-4295-BCAD-093FA0E8E566}" dt="2023-01-18T05:32:05.492" v="14878" actId="2696"/>
          <pc:sldLayoutMkLst>
            <pc:docMk/>
            <pc:sldMasterMk cId="879794493" sldId="2147484064"/>
            <pc:sldLayoutMk cId="2625459852" sldId="2147484071"/>
          </pc:sldLayoutMkLst>
        </pc:sldLayoutChg>
        <pc:sldLayoutChg chg="del">
          <pc:chgData name="Aurelien Domont" userId="6da7715ce44349b3" providerId="LiveId" clId="{30A766B1-982E-4295-BCAD-093FA0E8E566}" dt="2023-01-18T05:32:05.493" v="14879" actId="2696"/>
          <pc:sldLayoutMkLst>
            <pc:docMk/>
            <pc:sldMasterMk cId="879794493" sldId="2147484064"/>
            <pc:sldLayoutMk cId="564385426" sldId="2147484072"/>
          </pc:sldLayoutMkLst>
        </pc:sldLayoutChg>
      </pc:sldMasterChg>
    </pc:docChg>
  </pc:docChgLst>
  <pc:docChgLst>
    <pc:chgData name="Aurelien Domont" userId="6da7715ce44349b3" providerId="LiveId" clId="{7CD043B0-6B74-4D9A-84AE-1D8FE229AAC4}"/>
    <pc:docChg chg="undo redo custSel addSld delSld modSld sldOrd">
      <pc:chgData name="Aurelien Domont" userId="6da7715ce44349b3" providerId="LiveId" clId="{7CD043B0-6B74-4D9A-84AE-1D8FE229AAC4}" dt="2023-01-26T05:37:30.614" v="9250" actId="20577"/>
      <pc:docMkLst>
        <pc:docMk/>
      </pc:docMkLst>
      <pc:sldChg chg="addSp delSp modSp add mod">
        <pc:chgData name="Aurelien Domont" userId="6da7715ce44349b3" providerId="LiveId" clId="{7CD043B0-6B74-4D9A-84AE-1D8FE229AAC4}" dt="2023-01-20T00:01:22.687" v="835" actId="404"/>
        <pc:sldMkLst>
          <pc:docMk/>
          <pc:sldMk cId="1253290912" sldId="1747"/>
        </pc:sldMkLst>
        <pc:spChg chg="add mod ord">
          <ac:chgData name="Aurelien Domont" userId="6da7715ce44349b3" providerId="LiveId" clId="{7CD043B0-6B74-4D9A-84AE-1D8FE229AAC4}" dt="2023-01-20T00:00:17.702" v="830" actId="167"/>
          <ac:spMkLst>
            <pc:docMk/>
            <pc:sldMk cId="1253290912" sldId="1747"/>
            <ac:spMk id="2" creationId="{8E98C73D-4649-BA3F-D5BE-FF5950964B42}"/>
          </ac:spMkLst>
        </pc:spChg>
        <pc:spChg chg="mod">
          <ac:chgData name="Aurelien Domont" userId="6da7715ce44349b3" providerId="LiveId" clId="{7CD043B0-6B74-4D9A-84AE-1D8FE229AAC4}" dt="2023-01-20T00:00:12.320" v="829"/>
          <ac:spMkLst>
            <pc:docMk/>
            <pc:sldMk cId="1253290912" sldId="1747"/>
            <ac:spMk id="5" creationId="{BC6718C0-7B5A-9F6D-35A1-990F7F924A12}"/>
          </ac:spMkLst>
        </pc:spChg>
        <pc:spChg chg="del">
          <ac:chgData name="Aurelien Domont" userId="6da7715ce44349b3" providerId="LiveId" clId="{7CD043B0-6B74-4D9A-84AE-1D8FE229AAC4}" dt="2023-01-20T00:00:09.105" v="827" actId="478"/>
          <ac:spMkLst>
            <pc:docMk/>
            <pc:sldMk cId="1253290912" sldId="1747"/>
            <ac:spMk id="6" creationId="{AF525F45-B103-4035-BD0D-0444A9E68BB3}"/>
          </ac:spMkLst>
        </pc:spChg>
        <pc:spChg chg="mod">
          <ac:chgData name="Aurelien Domont" userId="6da7715ce44349b3" providerId="LiveId" clId="{7CD043B0-6B74-4D9A-84AE-1D8FE229AAC4}" dt="2023-01-20T00:00:12.320" v="829"/>
          <ac:spMkLst>
            <pc:docMk/>
            <pc:sldMk cId="1253290912" sldId="1747"/>
            <ac:spMk id="7" creationId="{2352989C-DA7F-2913-00E1-554CFD008711}"/>
          </ac:spMkLst>
        </pc:spChg>
        <pc:spChg chg="del">
          <ac:chgData name="Aurelien Domont" userId="6da7715ce44349b3" providerId="LiveId" clId="{7CD043B0-6B74-4D9A-84AE-1D8FE229AAC4}" dt="2023-01-20T00:00:11.809" v="828" actId="478"/>
          <ac:spMkLst>
            <pc:docMk/>
            <pc:sldMk cId="1253290912" sldId="1747"/>
            <ac:spMk id="8" creationId="{9B23E4AF-351C-4B77-895C-E158378CB15B}"/>
          </ac:spMkLst>
        </pc:spChg>
        <pc:spChg chg="del mod">
          <ac:chgData name="Aurelien Domont" userId="6da7715ce44349b3" providerId="LiveId" clId="{7CD043B0-6B74-4D9A-84AE-1D8FE229AAC4}" dt="2023-01-20T00:00:09.105" v="827" actId="478"/>
          <ac:spMkLst>
            <pc:docMk/>
            <pc:sldMk cId="1253290912" sldId="1747"/>
            <ac:spMk id="9" creationId="{C6EA5B3D-521F-4491-A651-8D81F56F908D}"/>
          </ac:spMkLst>
        </pc:spChg>
        <pc:spChg chg="mod">
          <ac:chgData name="Aurelien Domont" userId="6da7715ce44349b3" providerId="LiveId" clId="{7CD043B0-6B74-4D9A-84AE-1D8FE229AAC4}" dt="2023-01-20T00:00:22.232" v="832" actId="1076"/>
          <ac:spMkLst>
            <pc:docMk/>
            <pc:sldMk cId="1253290912" sldId="1747"/>
            <ac:spMk id="10" creationId="{99B7E551-9D8F-4396-B876-B10A57C204A7}"/>
          </ac:spMkLst>
        </pc:spChg>
        <pc:spChg chg="mod">
          <ac:chgData name="Aurelien Domont" userId="6da7715ce44349b3" providerId="LiveId" clId="{7CD043B0-6B74-4D9A-84AE-1D8FE229AAC4}" dt="2023-01-20T00:01:22.687" v="835" actId="404"/>
          <ac:spMkLst>
            <pc:docMk/>
            <pc:sldMk cId="1253290912" sldId="1747"/>
            <ac:spMk id="16" creationId="{6C2BB713-9637-4B9B-938F-E9768876782A}"/>
          </ac:spMkLst>
        </pc:spChg>
        <pc:grpChg chg="add mod">
          <ac:chgData name="Aurelien Domont" userId="6da7715ce44349b3" providerId="LiveId" clId="{7CD043B0-6B74-4D9A-84AE-1D8FE229AAC4}" dt="2023-01-20T00:00:12.320" v="829"/>
          <ac:grpSpMkLst>
            <pc:docMk/>
            <pc:sldMk cId="1253290912" sldId="1747"/>
            <ac:grpSpMk id="4" creationId="{43F206EC-C6B1-809C-267C-9A23891351C2}"/>
          </ac:grpSpMkLst>
        </pc:grpChg>
      </pc:sldChg>
      <pc:sldChg chg="modSp add mod">
        <pc:chgData name="Aurelien Domont" userId="6da7715ce44349b3" providerId="LiveId" clId="{7CD043B0-6B74-4D9A-84AE-1D8FE229AAC4}" dt="2023-01-20T00:00:56.473" v="833" actId="207"/>
        <pc:sldMkLst>
          <pc:docMk/>
          <pc:sldMk cId="95140043" sldId="1748"/>
        </pc:sldMkLst>
        <pc:spChg chg="mod">
          <ac:chgData name="Aurelien Domont" userId="6da7715ce44349b3" providerId="LiveId" clId="{7CD043B0-6B74-4D9A-84AE-1D8FE229AAC4}" dt="2023-01-20T00:00:56.473" v="833" actId="207"/>
          <ac:spMkLst>
            <pc:docMk/>
            <pc:sldMk cId="95140043" sldId="1748"/>
            <ac:spMk id="6" creationId="{F931E3BB-8FC3-47ED-A6E3-D1FF4A38A566}"/>
          </ac:spMkLst>
        </pc:spChg>
        <pc:spChg chg="mod">
          <ac:chgData name="Aurelien Domont" userId="6da7715ce44349b3" providerId="LiveId" clId="{7CD043B0-6B74-4D9A-84AE-1D8FE229AAC4}" dt="2023-01-20T00:00:56.473" v="833" actId="207"/>
          <ac:spMkLst>
            <pc:docMk/>
            <pc:sldMk cId="95140043" sldId="1748"/>
            <ac:spMk id="8" creationId="{1EDA113C-D294-4626-AED3-A37006029FB9}"/>
          </ac:spMkLst>
        </pc:spChg>
        <pc:spChg chg="mod">
          <ac:chgData name="Aurelien Domont" userId="6da7715ce44349b3" providerId="LiveId" clId="{7CD043B0-6B74-4D9A-84AE-1D8FE229AAC4}" dt="2023-01-20T00:00:56.473" v="833" actId="207"/>
          <ac:spMkLst>
            <pc:docMk/>
            <pc:sldMk cId="95140043" sldId="1748"/>
            <ac:spMk id="18" creationId="{0449751A-CD2A-48E5-8F84-A8CAE4C85677}"/>
          </ac:spMkLst>
        </pc:spChg>
      </pc:sldChg>
      <pc:sldChg chg="addSp delSp modSp add mod">
        <pc:chgData name="Aurelien Domont" userId="6da7715ce44349b3" providerId="LiveId" clId="{7CD043B0-6B74-4D9A-84AE-1D8FE229AAC4}" dt="2023-01-20T00:04:02.351" v="933" actId="571"/>
        <pc:sldMkLst>
          <pc:docMk/>
          <pc:sldMk cId="317099162" sldId="1749"/>
        </pc:sldMkLst>
        <pc:spChg chg="add mod">
          <ac:chgData name="Aurelien Domont" userId="6da7715ce44349b3" providerId="LiveId" clId="{7CD043B0-6B74-4D9A-84AE-1D8FE229AAC4}" dt="2023-01-20T00:03:46.712" v="931" actId="1037"/>
          <ac:spMkLst>
            <pc:docMk/>
            <pc:sldMk cId="317099162" sldId="1749"/>
            <ac:spMk id="2" creationId="{3370F8BF-3F01-358D-91E9-205C3F392B33}"/>
          </ac:spMkLst>
        </pc:spChg>
        <pc:spChg chg="add mod">
          <ac:chgData name="Aurelien Domont" userId="6da7715ce44349b3" providerId="LiveId" clId="{7CD043B0-6B74-4D9A-84AE-1D8FE229AAC4}" dt="2023-01-20T00:03:46.712" v="931" actId="1037"/>
          <ac:spMkLst>
            <pc:docMk/>
            <pc:sldMk cId="317099162" sldId="1749"/>
            <ac:spMk id="4" creationId="{D89BA30F-A9A1-4C83-9D27-28C7B0DEEFCA}"/>
          </ac:spMkLst>
        </pc:spChg>
        <pc:spChg chg="add mod">
          <ac:chgData name="Aurelien Domont" userId="6da7715ce44349b3" providerId="LiveId" clId="{7CD043B0-6B74-4D9A-84AE-1D8FE229AAC4}" dt="2023-01-20T00:02:53.286" v="885" actId="20577"/>
          <ac:spMkLst>
            <pc:docMk/>
            <pc:sldMk cId="317099162" sldId="1749"/>
            <ac:spMk id="6" creationId="{075902DB-7291-39C8-96BB-883EF3F5AC7E}"/>
          </ac:spMkLst>
        </pc:spChg>
        <pc:spChg chg="add mod">
          <ac:chgData name="Aurelien Domont" userId="6da7715ce44349b3" providerId="LiveId" clId="{7CD043B0-6B74-4D9A-84AE-1D8FE229AAC4}" dt="2023-01-20T00:02:57.143" v="892" actId="20577"/>
          <ac:spMkLst>
            <pc:docMk/>
            <pc:sldMk cId="317099162" sldId="1749"/>
            <ac:spMk id="7" creationId="{AFEBD372-D07F-37F9-A9FF-19D06C9FA0E9}"/>
          </ac:spMkLst>
        </pc:spChg>
        <pc:spChg chg="add mod">
          <ac:chgData name="Aurelien Domont" userId="6da7715ce44349b3" providerId="LiveId" clId="{7CD043B0-6B74-4D9A-84AE-1D8FE229AAC4}" dt="2023-01-20T00:03:02.143" v="894" actId="20577"/>
          <ac:spMkLst>
            <pc:docMk/>
            <pc:sldMk cId="317099162" sldId="1749"/>
            <ac:spMk id="8" creationId="{C1EBF645-8ECC-9A65-3867-7ED2AD2E88A2}"/>
          </ac:spMkLst>
        </pc:spChg>
        <pc:spChg chg="add mod">
          <ac:chgData name="Aurelien Domont" userId="6da7715ce44349b3" providerId="LiveId" clId="{7CD043B0-6B74-4D9A-84AE-1D8FE229AAC4}" dt="2023-01-20T00:03:07.158" v="897"/>
          <ac:spMkLst>
            <pc:docMk/>
            <pc:sldMk cId="317099162" sldId="1749"/>
            <ac:spMk id="9" creationId="{7BBB31E4-6FD2-EB92-5175-6DFE41E36F5E}"/>
          </ac:spMkLst>
        </pc:spChg>
        <pc:spChg chg="del mod">
          <ac:chgData name="Aurelien Domont" userId="6da7715ce44349b3" providerId="LiveId" clId="{7CD043B0-6B74-4D9A-84AE-1D8FE229AAC4}" dt="2023-01-20T00:03:20.992" v="913" actId="478"/>
          <ac:spMkLst>
            <pc:docMk/>
            <pc:sldMk cId="317099162" sldId="1749"/>
            <ac:spMk id="15" creationId="{67EB76CB-7F4E-49C1-8403-086491B50E1B}"/>
          </ac:spMkLst>
        </pc:spChg>
        <pc:spChg chg="del mod">
          <ac:chgData name="Aurelien Domont" userId="6da7715ce44349b3" providerId="LiveId" clId="{7CD043B0-6B74-4D9A-84AE-1D8FE229AAC4}" dt="2023-01-20T00:03:21.746" v="914" actId="478"/>
          <ac:spMkLst>
            <pc:docMk/>
            <pc:sldMk cId="317099162" sldId="1749"/>
            <ac:spMk id="17" creationId="{53A20221-EC80-4A1E-8916-1F482CD58B78}"/>
          </ac:spMkLst>
        </pc:spChg>
        <pc:spChg chg="del mod">
          <ac:chgData name="Aurelien Domont" userId="6da7715ce44349b3" providerId="LiveId" clId="{7CD043B0-6B74-4D9A-84AE-1D8FE229AAC4}" dt="2023-01-20T00:03:20.322" v="912" actId="478"/>
          <ac:spMkLst>
            <pc:docMk/>
            <pc:sldMk cId="317099162" sldId="1749"/>
            <ac:spMk id="20" creationId="{683E9746-B627-460A-BFF8-89764C66C9B0}"/>
          </ac:spMkLst>
        </pc:spChg>
        <pc:spChg chg="mod">
          <ac:chgData name="Aurelien Domont" userId="6da7715ce44349b3" providerId="LiveId" clId="{7CD043B0-6B74-4D9A-84AE-1D8FE229AAC4}" dt="2023-01-20T00:02:26.223" v="876" actId="1036"/>
          <ac:spMkLst>
            <pc:docMk/>
            <pc:sldMk cId="317099162" sldId="1749"/>
            <ac:spMk id="21" creationId="{C8C20EB1-1FDA-4CE3-AFB5-9ADB99E7CFFD}"/>
          </ac:spMkLst>
        </pc:spChg>
        <pc:spChg chg="mod">
          <ac:chgData name="Aurelien Domont" userId="6da7715ce44349b3" providerId="LiveId" clId="{7CD043B0-6B74-4D9A-84AE-1D8FE229AAC4}" dt="2023-01-20T00:03:17.602" v="911" actId="1038"/>
          <ac:spMkLst>
            <pc:docMk/>
            <pc:sldMk cId="317099162" sldId="1749"/>
            <ac:spMk id="22" creationId="{89CD6FD3-7922-449F-920A-F9CE5E7B87AE}"/>
          </ac:spMkLst>
        </pc:spChg>
        <pc:spChg chg="mod">
          <ac:chgData name="Aurelien Domont" userId="6da7715ce44349b3" providerId="LiveId" clId="{7CD043B0-6B74-4D9A-84AE-1D8FE229AAC4}" dt="2023-01-20T00:03:15.084" v="907" actId="1038"/>
          <ac:spMkLst>
            <pc:docMk/>
            <pc:sldMk cId="317099162" sldId="1749"/>
            <ac:spMk id="23" creationId="{EFD11494-ABEB-4E37-ADBB-FEEDA55ADFBB}"/>
          </ac:spMkLst>
        </pc:spChg>
        <pc:cxnChg chg="del mod">
          <ac:chgData name="Aurelien Domont" userId="6da7715ce44349b3" providerId="LiveId" clId="{7CD043B0-6B74-4D9A-84AE-1D8FE229AAC4}" dt="2023-01-20T00:02:32.337" v="877" actId="478"/>
          <ac:cxnSpMkLst>
            <pc:docMk/>
            <pc:sldMk cId="317099162" sldId="1749"/>
            <ac:cxnSpMk id="5" creationId="{B602CE1D-8F27-450E-860C-F3FE5051175A}"/>
          </ac:cxnSpMkLst>
        </pc:cxnChg>
        <pc:cxnChg chg="add mod">
          <ac:chgData name="Aurelien Domont" userId="6da7715ce44349b3" providerId="LiveId" clId="{7CD043B0-6B74-4D9A-84AE-1D8FE229AAC4}" dt="2023-01-20T00:03:32.272" v="925" actId="1038"/>
          <ac:cxnSpMkLst>
            <pc:docMk/>
            <pc:sldMk cId="317099162" sldId="1749"/>
            <ac:cxnSpMk id="11" creationId="{81FE2010-F692-FDAD-ECAC-B582C9A4C3B3}"/>
          </ac:cxnSpMkLst>
        </pc:cxnChg>
        <pc:cxnChg chg="add mod">
          <ac:chgData name="Aurelien Domont" userId="6da7715ce44349b3" providerId="LiveId" clId="{7CD043B0-6B74-4D9A-84AE-1D8FE229AAC4}" dt="2023-01-20T00:03:59.534" v="932" actId="571"/>
          <ac:cxnSpMkLst>
            <pc:docMk/>
            <pc:sldMk cId="317099162" sldId="1749"/>
            <ac:cxnSpMk id="12" creationId="{564F3EEA-C7DF-B164-1B35-F49DE1F7BD35}"/>
          </ac:cxnSpMkLst>
        </pc:cxnChg>
        <pc:cxnChg chg="add mod">
          <ac:chgData name="Aurelien Domont" userId="6da7715ce44349b3" providerId="LiveId" clId="{7CD043B0-6B74-4D9A-84AE-1D8FE229AAC4}" dt="2023-01-20T00:04:02.351" v="933" actId="571"/>
          <ac:cxnSpMkLst>
            <pc:docMk/>
            <pc:sldMk cId="317099162" sldId="1749"/>
            <ac:cxnSpMk id="14" creationId="{8F13FDCA-B0E7-4C3B-373D-6FE479A2D8F4}"/>
          </ac:cxnSpMkLst>
        </pc:cxnChg>
        <pc:cxnChg chg="del mod">
          <ac:chgData name="Aurelien Domont" userId="6da7715ce44349b3" providerId="LiveId" clId="{7CD043B0-6B74-4D9A-84AE-1D8FE229AAC4}" dt="2023-01-20T00:02:34.317" v="878" actId="478"/>
          <ac:cxnSpMkLst>
            <pc:docMk/>
            <pc:sldMk cId="317099162" sldId="1749"/>
            <ac:cxnSpMk id="24" creationId="{BDDA43A7-1E4B-4E57-965C-57B0CB33353D}"/>
          </ac:cxnSpMkLst>
        </pc:cxnChg>
      </pc:sldChg>
      <pc:sldChg chg="addSp delSp modSp add mod">
        <pc:chgData name="Aurelien Domont" userId="6da7715ce44349b3" providerId="LiveId" clId="{7CD043B0-6B74-4D9A-84AE-1D8FE229AAC4}" dt="2023-01-20T02:06:23.065" v="1356" actId="1035"/>
        <pc:sldMkLst>
          <pc:docMk/>
          <pc:sldMk cId="3855801452" sldId="1787"/>
        </pc:sldMkLst>
        <pc:spChg chg="mod">
          <ac:chgData name="Aurelien Domont" userId="6da7715ce44349b3" providerId="LiveId" clId="{7CD043B0-6B74-4D9A-84AE-1D8FE229AAC4}" dt="2023-01-20T02:05:35.931" v="1338" actId="14100"/>
          <ac:spMkLst>
            <pc:docMk/>
            <pc:sldMk cId="3855801452" sldId="1787"/>
            <ac:spMk id="2" creationId="{C8042D7C-02C6-41CC-9707-C9C5F6FA269D}"/>
          </ac:spMkLst>
        </pc:spChg>
        <pc:spChg chg="mod">
          <ac:chgData name="Aurelien Domont" userId="6da7715ce44349b3" providerId="LiveId" clId="{7CD043B0-6B74-4D9A-84AE-1D8FE229AAC4}" dt="2023-01-20T02:06:15.751" v="1339"/>
          <ac:spMkLst>
            <pc:docMk/>
            <pc:sldMk cId="3855801452" sldId="1787"/>
            <ac:spMk id="5" creationId="{0FE93FDE-6626-4CD2-101B-5C20F808DDEC}"/>
          </ac:spMkLst>
        </pc:spChg>
        <pc:spChg chg="mod">
          <ac:chgData name="Aurelien Domont" userId="6da7715ce44349b3" providerId="LiveId" clId="{7CD043B0-6B74-4D9A-84AE-1D8FE229AAC4}" dt="2023-01-20T02:06:15.751" v="1339"/>
          <ac:spMkLst>
            <pc:docMk/>
            <pc:sldMk cId="3855801452" sldId="1787"/>
            <ac:spMk id="6" creationId="{B0662488-E328-70CF-8C7A-9777BB8861E9}"/>
          </ac:spMkLst>
        </pc:spChg>
        <pc:spChg chg="del">
          <ac:chgData name="Aurelien Domont" userId="6da7715ce44349b3" providerId="LiveId" clId="{7CD043B0-6B74-4D9A-84AE-1D8FE229AAC4}" dt="2023-01-20T02:06:19.418" v="1341" actId="478"/>
          <ac:spMkLst>
            <pc:docMk/>
            <pc:sldMk cId="3855801452" sldId="1787"/>
            <ac:spMk id="21" creationId="{0BEBB444-0AAC-4415-AD72-D9E834A2A1CF}"/>
          </ac:spMkLst>
        </pc:spChg>
        <pc:spChg chg="del">
          <ac:chgData name="Aurelien Domont" userId="6da7715ce44349b3" providerId="LiveId" clId="{7CD043B0-6B74-4D9A-84AE-1D8FE229AAC4}" dt="2023-01-20T02:06:17.905" v="1340" actId="478"/>
          <ac:spMkLst>
            <pc:docMk/>
            <pc:sldMk cId="3855801452" sldId="1787"/>
            <ac:spMk id="22" creationId="{9451C740-A260-4E73-93AE-9A3732F37470}"/>
          </ac:spMkLst>
        </pc:spChg>
        <pc:grpChg chg="add mod">
          <ac:chgData name="Aurelien Domont" userId="6da7715ce44349b3" providerId="LiveId" clId="{7CD043B0-6B74-4D9A-84AE-1D8FE229AAC4}" dt="2023-01-20T02:06:23.065" v="1356" actId="1035"/>
          <ac:grpSpMkLst>
            <pc:docMk/>
            <pc:sldMk cId="3855801452" sldId="1787"/>
            <ac:grpSpMk id="4" creationId="{3DED05A7-81F2-C1C4-591C-6F216DD84BF4}"/>
          </ac:grpSpMkLst>
        </pc:grpChg>
      </pc:sldChg>
      <pc:sldChg chg="add">
        <pc:chgData name="Aurelien Domont" userId="6da7715ce44349b3" providerId="LiveId" clId="{7CD043B0-6B74-4D9A-84AE-1D8FE229AAC4}" dt="2023-01-20T02:04:29.762" v="1334"/>
        <pc:sldMkLst>
          <pc:docMk/>
          <pc:sldMk cId="4009885783" sldId="1788"/>
        </pc:sldMkLst>
      </pc:sldChg>
      <pc:sldChg chg="add">
        <pc:chgData name="Aurelien Domont" userId="6da7715ce44349b3" providerId="LiveId" clId="{7CD043B0-6B74-4D9A-84AE-1D8FE229AAC4}" dt="2023-01-20T02:04:29.762" v="1334"/>
        <pc:sldMkLst>
          <pc:docMk/>
          <pc:sldMk cId="1714268045" sldId="1789"/>
        </pc:sldMkLst>
      </pc:sldChg>
      <pc:sldChg chg="modSp add">
        <pc:chgData name="Aurelien Domont" userId="6da7715ce44349b3" providerId="LiveId" clId="{7CD043B0-6B74-4D9A-84AE-1D8FE229AAC4}" dt="2023-01-19T23:01:38.581" v="2"/>
        <pc:sldMkLst>
          <pc:docMk/>
          <pc:sldMk cId="1675062303" sldId="1929"/>
        </pc:sldMkLst>
        <pc:spChg chg="mod">
          <ac:chgData name="Aurelien Domont" userId="6da7715ce44349b3" providerId="LiveId" clId="{7CD043B0-6B74-4D9A-84AE-1D8FE229AAC4}" dt="2023-01-19T23:01:38.581" v="2"/>
          <ac:spMkLst>
            <pc:docMk/>
            <pc:sldMk cId="1675062303" sldId="1929"/>
            <ac:spMk id="3" creationId="{CE2529A3-BA97-486F-9E02-8DFAAA7D8D38}"/>
          </ac:spMkLst>
        </pc:spChg>
      </pc:sldChg>
      <pc:sldChg chg="modSp add">
        <pc:chgData name="Aurelien Domont" userId="6da7715ce44349b3" providerId="LiveId" clId="{7CD043B0-6B74-4D9A-84AE-1D8FE229AAC4}" dt="2023-01-19T23:01:38.581" v="2"/>
        <pc:sldMkLst>
          <pc:docMk/>
          <pc:sldMk cId="471658671" sldId="1930"/>
        </pc:sldMkLst>
        <pc:spChg chg="mod">
          <ac:chgData name="Aurelien Domont" userId="6da7715ce44349b3" providerId="LiveId" clId="{7CD043B0-6B74-4D9A-84AE-1D8FE229AAC4}" dt="2023-01-19T23:01:38.581" v="2"/>
          <ac:spMkLst>
            <pc:docMk/>
            <pc:sldMk cId="471658671" sldId="1930"/>
            <ac:spMk id="3" creationId="{CE2529A3-BA97-486F-9E02-8DFAAA7D8D38}"/>
          </ac:spMkLst>
        </pc:spChg>
        <pc:spChg chg="mod">
          <ac:chgData name="Aurelien Domont" userId="6da7715ce44349b3" providerId="LiveId" clId="{7CD043B0-6B74-4D9A-84AE-1D8FE229AAC4}" dt="2023-01-19T23:01:38.581" v="2"/>
          <ac:spMkLst>
            <pc:docMk/>
            <pc:sldMk cId="471658671" sldId="1930"/>
            <ac:spMk id="16" creationId="{6C2BB713-9637-4B9B-938F-E9768876782A}"/>
          </ac:spMkLst>
        </pc:spChg>
      </pc:sldChg>
      <pc:sldChg chg="modSp add">
        <pc:chgData name="Aurelien Domont" userId="6da7715ce44349b3" providerId="LiveId" clId="{7CD043B0-6B74-4D9A-84AE-1D8FE229AAC4}" dt="2023-01-19T23:01:38.581" v="2"/>
        <pc:sldMkLst>
          <pc:docMk/>
          <pc:sldMk cId="423301223" sldId="2148"/>
        </pc:sldMkLst>
        <pc:spChg chg="mod">
          <ac:chgData name="Aurelien Domont" userId="6da7715ce44349b3" providerId="LiveId" clId="{7CD043B0-6B74-4D9A-84AE-1D8FE229AAC4}" dt="2023-01-19T23:01:38.581" v="2"/>
          <ac:spMkLst>
            <pc:docMk/>
            <pc:sldMk cId="423301223" sldId="2148"/>
            <ac:spMk id="3" creationId="{CE2529A3-BA97-486F-9E02-8DFAAA7D8D38}"/>
          </ac:spMkLst>
        </pc:spChg>
        <pc:spChg chg="mod">
          <ac:chgData name="Aurelien Domont" userId="6da7715ce44349b3" providerId="LiveId" clId="{7CD043B0-6B74-4D9A-84AE-1D8FE229AAC4}" dt="2023-01-19T23:01:38.581" v="2"/>
          <ac:spMkLst>
            <pc:docMk/>
            <pc:sldMk cId="423301223" sldId="2148"/>
            <ac:spMk id="16" creationId="{6C2BB713-9637-4B9B-938F-E9768876782A}"/>
          </ac:spMkLst>
        </pc:spChg>
      </pc:sldChg>
      <pc:sldChg chg="modSp add">
        <pc:chgData name="Aurelien Domont" userId="6da7715ce44349b3" providerId="LiveId" clId="{7CD043B0-6B74-4D9A-84AE-1D8FE229AAC4}" dt="2023-01-19T23:01:38.581" v="2"/>
        <pc:sldMkLst>
          <pc:docMk/>
          <pc:sldMk cId="1324642353" sldId="2152"/>
        </pc:sldMkLst>
        <pc:spChg chg="mod">
          <ac:chgData name="Aurelien Domont" userId="6da7715ce44349b3" providerId="LiveId" clId="{7CD043B0-6B74-4D9A-84AE-1D8FE229AAC4}" dt="2023-01-19T23:01:38.581" v="2"/>
          <ac:spMkLst>
            <pc:docMk/>
            <pc:sldMk cId="1324642353" sldId="2152"/>
            <ac:spMk id="16" creationId="{6C2BB713-9637-4B9B-938F-E9768876782A}"/>
          </ac:spMkLst>
        </pc:spChg>
      </pc:sldChg>
      <pc:sldChg chg="modSp add">
        <pc:chgData name="Aurelien Domont" userId="6da7715ce44349b3" providerId="LiveId" clId="{7CD043B0-6B74-4D9A-84AE-1D8FE229AAC4}" dt="2023-01-19T23:01:38.581" v="2"/>
        <pc:sldMkLst>
          <pc:docMk/>
          <pc:sldMk cId="2226532108" sldId="2153"/>
        </pc:sldMkLst>
        <pc:spChg chg="mod">
          <ac:chgData name="Aurelien Domont" userId="6da7715ce44349b3" providerId="LiveId" clId="{7CD043B0-6B74-4D9A-84AE-1D8FE229AAC4}" dt="2023-01-19T23:01:38.581" v="2"/>
          <ac:spMkLst>
            <pc:docMk/>
            <pc:sldMk cId="2226532108" sldId="2153"/>
            <ac:spMk id="16" creationId="{6C2BB713-9637-4B9B-938F-E9768876782A}"/>
          </ac:spMkLst>
        </pc:spChg>
      </pc:sldChg>
      <pc:sldChg chg="modSp add">
        <pc:chgData name="Aurelien Domont" userId="6da7715ce44349b3" providerId="LiveId" clId="{7CD043B0-6B74-4D9A-84AE-1D8FE229AAC4}" dt="2023-01-19T23:01:38.581" v="2"/>
        <pc:sldMkLst>
          <pc:docMk/>
          <pc:sldMk cId="3613236081" sldId="2154"/>
        </pc:sldMkLst>
        <pc:spChg chg="mod">
          <ac:chgData name="Aurelien Domont" userId="6da7715ce44349b3" providerId="LiveId" clId="{7CD043B0-6B74-4D9A-84AE-1D8FE229AAC4}" dt="2023-01-19T23:01:38.581" v="2"/>
          <ac:spMkLst>
            <pc:docMk/>
            <pc:sldMk cId="3613236081" sldId="2154"/>
            <ac:spMk id="3" creationId="{CE2529A3-BA97-486F-9E02-8DFAAA7D8D38}"/>
          </ac:spMkLst>
        </pc:spChg>
        <pc:spChg chg="mod">
          <ac:chgData name="Aurelien Domont" userId="6da7715ce44349b3" providerId="LiveId" clId="{7CD043B0-6B74-4D9A-84AE-1D8FE229AAC4}" dt="2023-01-19T23:01:38.581" v="2"/>
          <ac:spMkLst>
            <pc:docMk/>
            <pc:sldMk cId="3613236081" sldId="2154"/>
            <ac:spMk id="16" creationId="{6C2BB713-9637-4B9B-938F-E9768876782A}"/>
          </ac:spMkLst>
        </pc:spChg>
      </pc:sldChg>
      <pc:sldChg chg="modSp add">
        <pc:chgData name="Aurelien Domont" userId="6da7715ce44349b3" providerId="LiveId" clId="{7CD043B0-6B74-4D9A-84AE-1D8FE229AAC4}" dt="2023-01-19T23:01:38.581" v="2"/>
        <pc:sldMkLst>
          <pc:docMk/>
          <pc:sldMk cId="3175191540" sldId="2155"/>
        </pc:sldMkLst>
        <pc:spChg chg="mod">
          <ac:chgData name="Aurelien Domont" userId="6da7715ce44349b3" providerId="LiveId" clId="{7CD043B0-6B74-4D9A-84AE-1D8FE229AAC4}" dt="2023-01-19T23:01:38.581" v="2"/>
          <ac:spMkLst>
            <pc:docMk/>
            <pc:sldMk cId="3175191540" sldId="2155"/>
            <ac:spMk id="3" creationId="{CE2529A3-BA97-486F-9E02-8DFAAA7D8D38}"/>
          </ac:spMkLst>
        </pc:spChg>
      </pc:sldChg>
      <pc:sldChg chg="addSp delSp modSp add mod">
        <pc:chgData name="Aurelien Domont" userId="6da7715ce44349b3" providerId="LiveId" clId="{7CD043B0-6B74-4D9A-84AE-1D8FE229AAC4}" dt="2023-01-20T00:26:31.564" v="1039" actId="790"/>
        <pc:sldMkLst>
          <pc:docMk/>
          <pc:sldMk cId="1317447165" sldId="2276"/>
        </pc:sldMkLst>
        <pc:spChg chg="del mod">
          <ac:chgData name="Aurelien Domont" userId="6da7715ce44349b3" providerId="LiveId" clId="{7CD043B0-6B74-4D9A-84AE-1D8FE229AAC4}" dt="2023-01-20T00:15:33.748" v="966" actId="478"/>
          <ac:spMkLst>
            <pc:docMk/>
            <pc:sldMk cId="1317447165" sldId="2276"/>
            <ac:spMk id="2" creationId="{36B4A7C5-9B50-41DE-9940-DBAF259C7691}"/>
          </ac:spMkLst>
        </pc:spChg>
        <pc:spChg chg="add mod">
          <ac:chgData name="Aurelien Domont" userId="6da7715ce44349b3" providerId="LiveId" clId="{7CD043B0-6B74-4D9A-84AE-1D8FE229AAC4}" dt="2023-01-20T00:17:03.449" v="973" actId="20577"/>
          <ac:spMkLst>
            <pc:docMk/>
            <pc:sldMk cId="1317447165" sldId="2276"/>
            <ac:spMk id="4" creationId="{629E74D2-4BEF-D64C-79A7-70C0556AF5EE}"/>
          </ac:spMkLst>
        </pc:spChg>
        <pc:spChg chg="mod">
          <ac:chgData name="Aurelien Domont" userId="6da7715ce44349b3" providerId="LiveId" clId="{7CD043B0-6B74-4D9A-84AE-1D8FE229AAC4}" dt="2023-01-20T00:16:24.343" v="968"/>
          <ac:spMkLst>
            <pc:docMk/>
            <pc:sldMk cId="1317447165" sldId="2276"/>
            <ac:spMk id="6" creationId="{DC1BEE01-3437-3E40-A2AA-08F306742FE9}"/>
          </ac:spMkLst>
        </pc:spChg>
        <pc:spChg chg="mod">
          <ac:chgData name="Aurelien Domont" userId="6da7715ce44349b3" providerId="LiveId" clId="{7CD043B0-6B74-4D9A-84AE-1D8FE229AAC4}" dt="2023-01-20T00:16:24.343" v="968"/>
          <ac:spMkLst>
            <pc:docMk/>
            <pc:sldMk cId="1317447165" sldId="2276"/>
            <ac:spMk id="7" creationId="{2EFECDFA-10B8-CEE5-60D2-8E88495732B2}"/>
          </ac:spMkLst>
        </pc:spChg>
        <pc:spChg chg="add mod">
          <ac:chgData name="Aurelien Domont" userId="6da7715ce44349b3" providerId="LiveId" clId="{7CD043B0-6B74-4D9A-84AE-1D8FE229AAC4}" dt="2023-01-20T00:26:31.564" v="1039" actId="790"/>
          <ac:spMkLst>
            <pc:docMk/>
            <pc:sldMk cId="1317447165" sldId="2276"/>
            <ac:spMk id="8" creationId="{01EB73AB-3B93-C179-4DA6-87CE2ABF4E69}"/>
          </ac:spMkLst>
        </pc:spChg>
        <pc:spChg chg="mod">
          <ac:chgData name="Aurelien Domont" userId="6da7715ce44349b3" providerId="LiveId" clId="{7CD043B0-6B74-4D9A-84AE-1D8FE229AAC4}" dt="2023-01-20T00:10:02.139" v="962" actId="113"/>
          <ac:spMkLst>
            <pc:docMk/>
            <pc:sldMk cId="1317447165" sldId="2276"/>
            <ac:spMk id="16" creationId="{6C2BB713-9637-4B9B-938F-E9768876782A}"/>
          </ac:spMkLst>
        </pc:spChg>
        <pc:grpChg chg="add mod">
          <ac:chgData name="Aurelien Domont" userId="6da7715ce44349b3" providerId="LiveId" clId="{7CD043B0-6B74-4D9A-84AE-1D8FE229AAC4}" dt="2023-01-20T00:16:24.343" v="968"/>
          <ac:grpSpMkLst>
            <pc:docMk/>
            <pc:sldMk cId="1317447165" sldId="2276"/>
            <ac:grpSpMk id="5" creationId="{676DD684-C666-571C-F41E-BF8EE4C26F1F}"/>
          </ac:grpSpMkLst>
        </pc:grpChg>
      </pc:sldChg>
      <pc:sldChg chg="modSp add del mod">
        <pc:chgData name="Aurelien Domont" userId="6da7715ce44349b3" providerId="LiveId" clId="{7CD043B0-6B74-4D9A-84AE-1D8FE229AAC4}" dt="2023-01-20T00:22:40.229" v="1036" actId="47"/>
        <pc:sldMkLst>
          <pc:docMk/>
          <pc:sldMk cId="3992340608" sldId="2277"/>
        </pc:sldMkLst>
        <pc:spChg chg="mod">
          <ac:chgData name="Aurelien Domont" userId="6da7715ce44349b3" providerId="LiveId" clId="{7CD043B0-6B74-4D9A-84AE-1D8FE229AAC4}" dt="2023-01-20T00:11:06.997" v="965" actId="403"/>
          <ac:spMkLst>
            <pc:docMk/>
            <pc:sldMk cId="3992340608" sldId="2277"/>
            <ac:spMk id="7" creationId="{09D775EF-D513-44A7-B51B-C7A6E665CB69}"/>
          </ac:spMkLst>
        </pc:spChg>
        <pc:spChg chg="mod">
          <ac:chgData name="Aurelien Domont" userId="6da7715ce44349b3" providerId="LiveId" clId="{7CD043B0-6B74-4D9A-84AE-1D8FE229AAC4}" dt="2023-01-20T00:11:06.997" v="965" actId="403"/>
          <ac:spMkLst>
            <pc:docMk/>
            <pc:sldMk cId="3992340608" sldId="2277"/>
            <ac:spMk id="9" creationId="{7C048F99-0F17-4773-B29E-5F4211B74F0B}"/>
          </ac:spMkLst>
        </pc:spChg>
        <pc:spChg chg="mod">
          <ac:chgData name="Aurelien Domont" userId="6da7715ce44349b3" providerId="LiveId" clId="{7CD043B0-6B74-4D9A-84AE-1D8FE229AAC4}" dt="2023-01-20T00:11:06.997" v="965" actId="403"/>
          <ac:spMkLst>
            <pc:docMk/>
            <pc:sldMk cId="3992340608" sldId="2277"/>
            <ac:spMk id="11" creationId="{290D1F8A-E32D-4B29-A11E-00FD422A08D3}"/>
          </ac:spMkLst>
        </pc:spChg>
      </pc:sldChg>
      <pc:sldChg chg="add del">
        <pc:chgData name="Aurelien Domont" userId="6da7715ce44349b3" providerId="LiveId" clId="{7CD043B0-6B74-4D9A-84AE-1D8FE229AAC4}" dt="2023-01-20T00:25:47.923" v="1037" actId="47"/>
        <pc:sldMkLst>
          <pc:docMk/>
          <pc:sldMk cId="1365897269" sldId="2278"/>
        </pc:sldMkLst>
      </pc:sldChg>
      <pc:sldChg chg="add del">
        <pc:chgData name="Aurelien Domont" userId="6da7715ce44349b3" providerId="LiveId" clId="{7CD043B0-6B74-4D9A-84AE-1D8FE229AAC4}" dt="2023-01-20T00:25:47.923" v="1037" actId="47"/>
        <pc:sldMkLst>
          <pc:docMk/>
          <pc:sldMk cId="902425012" sldId="2279"/>
        </pc:sldMkLst>
      </pc:sldChg>
      <pc:sldChg chg="modSp add del mod">
        <pc:chgData name="Aurelien Domont" userId="6da7715ce44349b3" providerId="LiveId" clId="{7CD043B0-6B74-4D9A-84AE-1D8FE229AAC4}" dt="2023-01-20T00:25:47.923" v="1037" actId="47"/>
        <pc:sldMkLst>
          <pc:docMk/>
          <pc:sldMk cId="168984500" sldId="2280"/>
        </pc:sldMkLst>
        <pc:graphicFrameChg chg="modGraphic">
          <ac:chgData name="Aurelien Domont" userId="6da7715ce44349b3" providerId="LiveId" clId="{7CD043B0-6B74-4D9A-84AE-1D8FE229AAC4}" dt="2023-01-20T00:15:55.303" v="967" actId="207"/>
          <ac:graphicFrameMkLst>
            <pc:docMk/>
            <pc:sldMk cId="168984500" sldId="2280"/>
            <ac:graphicFrameMk id="2" creationId="{31CAD9DE-9999-40A9-A4B3-F061B0E7A332}"/>
          </ac:graphicFrameMkLst>
        </pc:graphicFrameChg>
      </pc:sldChg>
      <pc:sldChg chg="add del">
        <pc:chgData name="Aurelien Domont" userId="6da7715ce44349b3" providerId="LiveId" clId="{7CD043B0-6B74-4D9A-84AE-1D8FE229AAC4}" dt="2023-01-20T00:25:47.923" v="1037" actId="47"/>
        <pc:sldMkLst>
          <pc:docMk/>
          <pc:sldMk cId="1495044065" sldId="2281"/>
        </pc:sldMkLst>
      </pc:sldChg>
      <pc:sldChg chg="del">
        <pc:chgData name="Aurelien Domont" userId="6da7715ce44349b3" providerId="LiveId" clId="{7CD043B0-6B74-4D9A-84AE-1D8FE229AAC4}" dt="2023-01-20T02:48:11.259" v="2095" actId="47"/>
        <pc:sldMkLst>
          <pc:docMk/>
          <pc:sldMk cId="974107381" sldId="2365"/>
        </pc:sldMkLst>
      </pc:sldChg>
      <pc:sldChg chg="del">
        <pc:chgData name="Aurelien Domont" userId="6da7715ce44349b3" providerId="LiveId" clId="{7CD043B0-6B74-4D9A-84AE-1D8FE229AAC4}" dt="2023-01-20T04:10:43.261" v="3299" actId="47"/>
        <pc:sldMkLst>
          <pc:docMk/>
          <pc:sldMk cId="3491690442" sldId="2367"/>
        </pc:sldMkLst>
      </pc:sldChg>
      <pc:sldChg chg="del">
        <pc:chgData name="Aurelien Domont" userId="6da7715ce44349b3" providerId="LiveId" clId="{7CD043B0-6B74-4D9A-84AE-1D8FE229AAC4}" dt="2023-01-20T02:44:21.230" v="2092" actId="47"/>
        <pc:sldMkLst>
          <pc:docMk/>
          <pc:sldMk cId="1888256250" sldId="2402"/>
        </pc:sldMkLst>
      </pc:sldChg>
      <pc:sldChg chg="modSp mod">
        <pc:chgData name="Aurelien Domont" userId="6da7715ce44349b3" providerId="LiveId" clId="{7CD043B0-6B74-4D9A-84AE-1D8FE229AAC4}" dt="2023-01-25T01:43:29.780" v="7646" actId="207"/>
        <pc:sldMkLst>
          <pc:docMk/>
          <pc:sldMk cId="3439488634" sldId="2407"/>
        </pc:sldMkLst>
        <pc:spChg chg="mod">
          <ac:chgData name="Aurelien Domont" userId="6da7715ce44349b3" providerId="LiveId" clId="{7CD043B0-6B74-4D9A-84AE-1D8FE229AAC4}" dt="2023-01-25T01:43:29.780" v="7646" actId="207"/>
          <ac:spMkLst>
            <pc:docMk/>
            <pc:sldMk cId="3439488634" sldId="2407"/>
            <ac:spMk id="2" creationId="{C2387D1D-D73C-A50B-123B-7F7ED728AC6E}"/>
          </ac:spMkLst>
        </pc:spChg>
        <pc:spChg chg="mod">
          <ac:chgData name="Aurelien Domont" userId="6da7715ce44349b3" providerId="LiveId" clId="{7CD043B0-6B74-4D9A-84AE-1D8FE229AAC4}" dt="2023-01-25T01:43:26.832" v="7645" actId="207"/>
          <ac:spMkLst>
            <pc:docMk/>
            <pc:sldMk cId="3439488634" sldId="2407"/>
            <ac:spMk id="4" creationId="{A09D6106-62E9-A015-7D7F-E4C23C7B874F}"/>
          </ac:spMkLst>
        </pc:spChg>
        <pc:spChg chg="mod">
          <ac:chgData name="Aurelien Domont" userId="6da7715ce44349b3" providerId="LiveId" clId="{7CD043B0-6B74-4D9A-84AE-1D8FE229AAC4}" dt="2023-01-25T01:43:26.832" v="7645" actId="207"/>
          <ac:spMkLst>
            <pc:docMk/>
            <pc:sldMk cId="3439488634" sldId="2407"/>
            <ac:spMk id="5" creationId="{E64A26FB-E553-1977-2809-8CF25451B7D1}"/>
          </ac:spMkLst>
        </pc:spChg>
        <pc:spChg chg="mod">
          <ac:chgData name="Aurelien Domont" userId="6da7715ce44349b3" providerId="LiveId" clId="{7CD043B0-6B74-4D9A-84AE-1D8FE229AAC4}" dt="2023-01-25T01:43:26.832" v="7645" actId="207"/>
          <ac:spMkLst>
            <pc:docMk/>
            <pc:sldMk cId="3439488634" sldId="2407"/>
            <ac:spMk id="7" creationId="{1631F16E-72B7-F72B-9B90-D149E93E69BF}"/>
          </ac:spMkLst>
        </pc:spChg>
        <pc:spChg chg="mod">
          <ac:chgData name="Aurelien Domont" userId="6da7715ce44349b3" providerId="LiveId" clId="{7CD043B0-6B74-4D9A-84AE-1D8FE229AAC4}" dt="2023-01-25T01:43:26.832" v="7645" actId="207"/>
          <ac:spMkLst>
            <pc:docMk/>
            <pc:sldMk cId="3439488634" sldId="2407"/>
            <ac:spMk id="8" creationId="{F9354733-F12A-1A72-5D96-8B7D15D355E8}"/>
          </ac:spMkLst>
        </pc:spChg>
        <pc:grpChg chg="mod">
          <ac:chgData name="Aurelien Domont" userId="6da7715ce44349b3" providerId="LiveId" clId="{7CD043B0-6B74-4D9A-84AE-1D8FE229AAC4}" dt="2023-01-25T01:43:26.832" v="7645" actId="207"/>
          <ac:grpSpMkLst>
            <pc:docMk/>
            <pc:sldMk cId="3439488634" sldId="2407"/>
            <ac:grpSpMk id="11" creationId="{F7ED036F-F987-6536-A460-0EFAE6BCAA6E}"/>
          </ac:grpSpMkLst>
        </pc:grpChg>
      </pc:sldChg>
      <pc:sldChg chg="add">
        <pc:chgData name="Aurelien Domont" userId="6da7715ce44349b3" providerId="LiveId" clId="{7CD043B0-6B74-4D9A-84AE-1D8FE229AAC4}" dt="2023-01-19T23:26:50.378" v="326"/>
        <pc:sldMkLst>
          <pc:docMk/>
          <pc:sldMk cId="1204157563" sldId="2408"/>
        </pc:sldMkLst>
      </pc:sldChg>
      <pc:sldChg chg="del">
        <pc:chgData name="Aurelien Domont" userId="6da7715ce44349b3" providerId="LiveId" clId="{7CD043B0-6B74-4D9A-84AE-1D8FE229AAC4}" dt="2023-01-19T23:26:44.597" v="325" actId="2696"/>
        <pc:sldMkLst>
          <pc:docMk/>
          <pc:sldMk cId="2605546588" sldId="2408"/>
        </pc:sldMkLst>
      </pc:sldChg>
      <pc:sldChg chg="add ord">
        <pc:chgData name="Aurelien Domont" userId="6da7715ce44349b3" providerId="LiveId" clId="{7CD043B0-6B74-4D9A-84AE-1D8FE229AAC4}" dt="2023-01-19T23:26:52.583" v="328"/>
        <pc:sldMkLst>
          <pc:docMk/>
          <pc:sldMk cId="910686556" sldId="2409"/>
        </pc:sldMkLst>
      </pc:sldChg>
      <pc:sldChg chg="del">
        <pc:chgData name="Aurelien Domont" userId="6da7715ce44349b3" providerId="LiveId" clId="{7CD043B0-6B74-4D9A-84AE-1D8FE229AAC4}" dt="2023-01-19T23:26:44.597" v="325" actId="2696"/>
        <pc:sldMkLst>
          <pc:docMk/>
          <pc:sldMk cId="2669431179" sldId="2409"/>
        </pc:sldMkLst>
      </pc:sldChg>
      <pc:sldChg chg="add">
        <pc:chgData name="Aurelien Domont" userId="6da7715ce44349b3" providerId="LiveId" clId="{7CD043B0-6B74-4D9A-84AE-1D8FE229AAC4}" dt="2023-01-19T23:27:46.509" v="345"/>
        <pc:sldMkLst>
          <pc:docMk/>
          <pc:sldMk cId="1754246506" sldId="2410"/>
        </pc:sldMkLst>
      </pc:sldChg>
      <pc:sldChg chg="del">
        <pc:chgData name="Aurelien Domont" userId="6da7715ce44349b3" providerId="LiveId" clId="{7CD043B0-6B74-4D9A-84AE-1D8FE229AAC4}" dt="2023-01-19T23:27:42.284" v="344" actId="2696"/>
        <pc:sldMkLst>
          <pc:docMk/>
          <pc:sldMk cId="4160978231" sldId="2410"/>
        </pc:sldMkLst>
      </pc:sldChg>
      <pc:sldChg chg="add">
        <pc:chgData name="Aurelien Domont" userId="6da7715ce44349b3" providerId="LiveId" clId="{7CD043B0-6B74-4D9A-84AE-1D8FE229AAC4}" dt="2023-01-19T23:27:46.509" v="345"/>
        <pc:sldMkLst>
          <pc:docMk/>
          <pc:sldMk cId="1617236116" sldId="2411"/>
        </pc:sldMkLst>
      </pc:sldChg>
      <pc:sldChg chg="del">
        <pc:chgData name="Aurelien Domont" userId="6da7715ce44349b3" providerId="LiveId" clId="{7CD043B0-6B74-4D9A-84AE-1D8FE229AAC4}" dt="2023-01-19T23:27:42.284" v="344" actId="2696"/>
        <pc:sldMkLst>
          <pc:docMk/>
          <pc:sldMk cId="3087515776" sldId="2411"/>
        </pc:sldMkLst>
      </pc:sldChg>
      <pc:sldChg chg="del">
        <pc:chgData name="Aurelien Domont" userId="6da7715ce44349b3" providerId="LiveId" clId="{7CD043B0-6B74-4D9A-84AE-1D8FE229AAC4}" dt="2023-01-19T23:27:42.284" v="344" actId="2696"/>
        <pc:sldMkLst>
          <pc:docMk/>
          <pc:sldMk cId="61296232" sldId="2412"/>
        </pc:sldMkLst>
      </pc:sldChg>
      <pc:sldChg chg="add">
        <pc:chgData name="Aurelien Domont" userId="6da7715ce44349b3" providerId="LiveId" clId="{7CD043B0-6B74-4D9A-84AE-1D8FE229AAC4}" dt="2023-01-19T23:27:46.509" v="345"/>
        <pc:sldMkLst>
          <pc:docMk/>
          <pc:sldMk cId="4164122239" sldId="2412"/>
        </pc:sldMkLst>
      </pc:sldChg>
      <pc:sldChg chg="add">
        <pc:chgData name="Aurelien Domont" userId="6da7715ce44349b3" providerId="LiveId" clId="{7CD043B0-6B74-4D9A-84AE-1D8FE229AAC4}" dt="2023-01-19T23:27:46.509" v="345"/>
        <pc:sldMkLst>
          <pc:docMk/>
          <pc:sldMk cId="177328719" sldId="2413"/>
        </pc:sldMkLst>
      </pc:sldChg>
      <pc:sldChg chg="del">
        <pc:chgData name="Aurelien Domont" userId="6da7715ce44349b3" providerId="LiveId" clId="{7CD043B0-6B74-4D9A-84AE-1D8FE229AAC4}" dt="2023-01-19T23:27:42.284" v="344" actId="2696"/>
        <pc:sldMkLst>
          <pc:docMk/>
          <pc:sldMk cId="2457475122" sldId="2413"/>
        </pc:sldMkLst>
      </pc:sldChg>
      <pc:sldChg chg="addSp delSp modSp add mod">
        <pc:chgData name="Aurelien Domont" userId="6da7715ce44349b3" providerId="LiveId" clId="{7CD043B0-6B74-4D9A-84AE-1D8FE229AAC4}" dt="2023-01-20T01:49:09.592" v="1184" actId="12"/>
        <pc:sldMkLst>
          <pc:docMk/>
          <pc:sldMk cId="1421105048" sldId="2415"/>
        </pc:sldMkLst>
        <pc:spChg chg="add del mod">
          <ac:chgData name="Aurelien Domont" userId="6da7715ce44349b3" providerId="LiveId" clId="{7CD043B0-6B74-4D9A-84AE-1D8FE229AAC4}" dt="2023-01-20T01:48:47.908" v="1179" actId="478"/>
          <ac:spMkLst>
            <pc:docMk/>
            <pc:sldMk cId="1421105048" sldId="2415"/>
            <ac:spMk id="2" creationId="{80EA2EC2-D917-B7A0-6751-71C4CDD7EE75}"/>
          </ac:spMkLst>
        </pc:spChg>
        <pc:spChg chg="add del mod">
          <ac:chgData name="Aurelien Domont" userId="6da7715ce44349b3" providerId="LiveId" clId="{7CD043B0-6B74-4D9A-84AE-1D8FE229AAC4}" dt="2023-01-20T01:48:47.908" v="1179" actId="478"/>
          <ac:spMkLst>
            <pc:docMk/>
            <pc:sldMk cId="1421105048" sldId="2415"/>
            <ac:spMk id="4" creationId="{35AD805F-004A-44B6-D2BA-277DFC3DD291}"/>
          </ac:spMkLst>
        </pc:spChg>
        <pc:spChg chg="del">
          <ac:chgData name="Aurelien Domont" userId="6da7715ce44349b3" providerId="LiveId" clId="{7CD043B0-6B74-4D9A-84AE-1D8FE229AAC4}" dt="2023-01-20T01:47:56.372" v="1162" actId="478"/>
          <ac:spMkLst>
            <pc:docMk/>
            <pc:sldMk cId="1421105048" sldId="2415"/>
            <ac:spMk id="9" creationId="{C3864419-C26A-42D5-8FDC-9A9D4A693761}"/>
          </ac:spMkLst>
        </pc:spChg>
        <pc:spChg chg="del">
          <ac:chgData name="Aurelien Domont" userId="6da7715ce44349b3" providerId="LiveId" clId="{7CD043B0-6B74-4D9A-84AE-1D8FE229AAC4}" dt="2023-01-20T01:47:56.372" v="1162" actId="478"/>
          <ac:spMkLst>
            <pc:docMk/>
            <pc:sldMk cId="1421105048" sldId="2415"/>
            <ac:spMk id="10" creationId="{1FA09F76-46EF-423B-84D2-2040684DB3C7}"/>
          </ac:spMkLst>
        </pc:spChg>
        <pc:spChg chg="del">
          <ac:chgData name="Aurelien Domont" userId="6da7715ce44349b3" providerId="LiveId" clId="{7CD043B0-6B74-4D9A-84AE-1D8FE229AAC4}" dt="2023-01-20T01:47:56.372" v="1162" actId="478"/>
          <ac:spMkLst>
            <pc:docMk/>
            <pc:sldMk cId="1421105048" sldId="2415"/>
            <ac:spMk id="11" creationId="{778198BC-D9B0-4DCB-A5D8-3A42A5E9EC5B}"/>
          </ac:spMkLst>
        </pc:spChg>
        <pc:spChg chg="del">
          <ac:chgData name="Aurelien Domont" userId="6da7715ce44349b3" providerId="LiveId" clId="{7CD043B0-6B74-4D9A-84AE-1D8FE229AAC4}" dt="2023-01-20T01:47:56.372" v="1162" actId="478"/>
          <ac:spMkLst>
            <pc:docMk/>
            <pc:sldMk cId="1421105048" sldId="2415"/>
            <ac:spMk id="12" creationId="{9E493FD2-8F33-43CD-9667-FDDF0F018EC2}"/>
          </ac:spMkLst>
        </pc:spChg>
        <pc:spChg chg="add del mod">
          <ac:chgData name="Aurelien Domont" userId="6da7715ce44349b3" providerId="LiveId" clId="{7CD043B0-6B74-4D9A-84AE-1D8FE229AAC4}" dt="2023-01-20T01:49:09.592" v="1184" actId="12"/>
          <ac:spMkLst>
            <pc:docMk/>
            <pc:sldMk cId="1421105048" sldId="2415"/>
            <ac:spMk id="14" creationId="{13687FD0-CC3D-40FD-ADD4-DE71B2DE0790}"/>
          </ac:spMkLst>
        </pc:spChg>
        <pc:spChg chg="mod">
          <ac:chgData name="Aurelien Domont" userId="6da7715ce44349b3" providerId="LiveId" clId="{7CD043B0-6B74-4D9A-84AE-1D8FE229AAC4}" dt="2023-01-20T01:47:44.124" v="1161" actId="20577"/>
          <ac:spMkLst>
            <pc:docMk/>
            <pc:sldMk cId="1421105048" sldId="2415"/>
            <ac:spMk id="16" creationId="{6C2BB713-9637-4B9B-938F-E9768876782A}"/>
          </ac:spMkLst>
        </pc:spChg>
        <pc:spChg chg="add del">
          <ac:chgData name="Aurelien Domont" userId="6da7715ce44349b3" providerId="LiveId" clId="{7CD043B0-6B74-4D9A-84AE-1D8FE229AAC4}" dt="2023-01-20T01:48:14.559" v="1171" actId="478"/>
          <ac:spMkLst>
            <pc:docMk/>
            <pc:sldMk cId="1421105048" sldId="2415"/>
            <ac:spMk id="19" creationId="{09C04015-EC95-4278-883A-356082B77501}"/>
          </ac:spMkLst>
        </pc:spChg>
        <pc:spChg chg="add del">
          <ac:chgData name="Aurelien Domont" userId="6da7715ce44349b3" providerId="LiveId" clId="{7CD043B0-6B74-4D9A-84AE-1D8FE229AAC4}" dt="2023-01-20T01:48:14.559" v="1171" actId="478"/>
          <ac:spMkLst>
            <pc:docMk/>
            <pc:sldMk cId="1421105048" sldId="2415"/>
            <ac:spMk id="20" creationId="{F87E8CBA-ED2B-46EC-ABF3-2E6AD79B83DA}"/>
          </ac:spMkLst>
        </pc:spChg>
        <pc:spChg chg="add del">
          <ac:chgData name="Aurelien Domont" userId="6da7715ce44349b3" providerId="LiveId" clId="{7CD043B0-6B74-4D9A-84AE-1D8FE229AAC4}" dt="2023-01-20T01:48:14.559" v="1171" actId="478"/>
          <ac:spMkLst>
            <pc:docMk/>
            <pc:sldMk cId="1421105048" sldId="2415"/>
            <ac:spMk id="21" creationId="{0F045C16-2460-43A5-AD15-C23D05B16BEB}"/>
          </ac:spMkLst>
        </pc:spChg>
      </pc:sldChg>
      <pc:sldChg chg="del">
        <pc:chgData name="Aurelien Domont" userId="6da7715ce44349b3" providerId="LiveId" clId="{7CD043B0-6B74-4D9A-84AE-1D8FE229AAC4}" dt="2023-01-20T01:47:18.477" v="1156" actId="2696"/>
        <pc:sldMkLst>
          <pc:docMk/>
          <pc:sldMk cId="1987086110" sldId="2415"/>
        </pc:sldMkLst>
      </pc:sldChg>
      <pc:sldChg chg="del">
        <pc:chgData name="Aurelien Domont" userId="6da7715ce44349b3" providerId="LiveId" clId="{7CD043B0-6B74-4D9A-84AE-1D8FE229AAC4}" dt="2023-01-20T01:52:22.470" v="1275" actId="2696"/>
        <pc:sldMkLst>
          <pc:docMk/>
          <pc:sldMk cId="1344979950" sldId="2416"/>
        </pc:sldMkLst>
      </pc:sldChg>
      <pc:sldChg chg="add">
        <pc:chgData name="Aurelien Domont" userId="6da7715ce44349b3" providerId="LiveId" clId="{7CD043B0-6B74-4D9A-84AE-1D8FE229AAC4}" dt="2023-01-20T01:52:25.478" v="1276"/>
        <pc:sldMkLst>
          <pc:docMk/>
          <pc:sldMk cId="2873323927" sldId="2416"/>
        </pc:sldMkLst>
      </pc:sldChg>
      <pc:sldChg chg="del">
        <pc:chgData name="Aurelien Domont" userId="6da7715ce44349b3" providerId="LiveId" clId="{7CD043B0-6B74-4D9A-84AE-1D8FE229AAC4}" dt="2023-01-20T01:52:22.470" v="1275" actId="2696"/>
        <pc:sldMkLst>
          <pc:docMk/>
          <pc:sldMk cId="1388770549" sldId="2417"/>
        </pc:sldMkLst>
      </pc:sldChg>
      <pc:sldChg chg="add">
        <pc:chgData name="Aurelien Domont" userId="6da7715ce44349b3" providerId="LiveId" clId="{7CD043B0-6B74-4D9A-84AE-1D8FE229AAC4}" dt="2023-01-20T01:52:25.478" v="1276"/>
        <pc:sldMkLst>
          <pc:docMk/>
          <pc:sldMk cId="3844453214" sldId="2417"/>
        </pc:sldMkLst>
      </pc:sldChg>
      <pc:sldChg chg="del">
        <pc:chgData name="Aurelien Domont" userId="6da7715ce44349b3" providerId="LiveId" clId="{7CD043B0-6B74-4D9A-84AE-1D8FE229AAC4}" dt="2023-01-20T01:52:22.470" v="1275" actId="2696"/>
        <pc:sldMkLst>
          <pc:docMk/>
          <pc:sldMk cId="1007313115" sldId="2420"/>
        </pc:sldMkLst>
      </pc:sldChg>
      <pc:sldChg chg="add">
        <pc:chgData name="Aurelien Domont" userId="6da7715ce44349b3" providerId="LiveId" clId="{7CD043B0-6B74-4D9A-84AE-1D8FE229AAC4}" dt="2023-01-20T01:52:25.478" v="1276"/>
        <pc:sldMkLst>
          <pc:docMk/>
          <pc:sldMk cId="1721775899" sldId="2420"/>
        </pc:sldMkLst>
      </pc:sldChg>
      <pc:sldChg chg="modSp add mod">
        <pc:chgData name="Aurelien Domont" userId="6da7715ce44349b3" providerId="LiveId" clId="{7CD043B0-6B74-4D9A-84AE-1D8FE229AAC4}" dt="2023-01-25T01:38:52.004" v="7536" actId="113"/>
        <pc:sldMkLst>
          <pc:docMk/>
          <pc:sldMk cId="1972335164" sldId="2421"/>
        </pc:sldMkLst>
        <pc:spChg chg="mod">
          <ac:chgData name="Aurelien Domont" userId="6da7715ce44349b3" providerId="LiveId" clId="{7CD043B0-6B74-4D9A-84AE-1D8FE229AAC4}" dt="2023-01-25T01:38:52.004" v="7536" actId="113"/>
          <ac:spMkLst>
            <pc:docMk/>
            <pc:sldMk cId="1972335164" sldId="2421"/>
            <ac:spMk id="16" creationId="{6C2BB713-9637-4B9B-938F-E9768876782A}"/>
          </ac:spMkLst>
        </pc:spChg>
        <pc:spChg chg="mod">
          <ac:chgData name="Aurelien Domont" userId="6da7715ce44349b3" providerId="LiveId" clId="{7CD043B0-6B74-4D9A-84AE-1D8FE229AAC4}" dt="2023-01-20T02:05:24.742" v="1335" actId="108"/>
          <ac:spMkLst>
            <pc:docMk/>
            <pc:sldMk cId="1972335164" sldId="2421"/>
            <ac:spMk id="24" creationId="{83A9CD77-ADAB-41C7-817C-8A06F22EB74B}"/>
          </ac:spMkLst>
        </pc:spChg>
      </pc:sldChg>
      <pc:sldChg chg="del">
        <pc:chgData name="Aurelien Domont" userId="6da7715ce44349b3" providerId="LiveId" clId="{7CD043B0-6B74-4D9A-84AE-1D8FE229AAC4}" dt="2023-01-20T01:52:22.470" v="1275" actId="2696"/>
        <pc:sldMkLst>
          <pc:docMk/>
          <pc:sldMk cId="2491430858" sldId="2421"/>
        </pc:sldMkLst>
      </pc:sldChg>
      <pc:sldChg chg="del">
        <pc:chgData name="Aurelien Domont" userId="6da7715ce44349b3" providerId="LiveId" clId="{7CD043B0-6B74-4D9A-84AE-1D8FE229AAC4}" dt="2023-01-20T01:52:22.470" v="1275" actId="2696"/>
        <pc:sldMkLst>
          <pc:docMk/>
          <pc:sldMk cId="2575164422" sldId="2424"/>
        </pc:sldMkLst>
      </pc:sldChg>
      <pc:sldChg chg="delSp modSp add mod">
        <pc:chgData name="Aurelien Domont" userId="6da7715ce44349b3" providerId="LiveId" clId="{7CD043B0-6B74-4D9A-84AE-1D8FE229AAC4}" dt="2023-01-25T01:39:11.614" v="7557" actId="478"/>
        <pc:sldMkLst>
          <pc:docMk/>
          <pc:sldMk cId="4013513185" sldId="2424"/>
        </pc:sldMkLst>
        <pc:spChg chg="mod">
          <ac:chgData name="Aurelien Domont" userId="6da7715ce44349b3" providerId="LiveId" clId="{7CD043B0-6B74-4D9A-84AE-1D8FE229AAC4}" dt="2023-01-25T01:39:09.848" v="7556" actId="113"/>
          <ac:spMkLst>
            <pc:docMk/>
            <pc:sldMk cId="4013513185" sldId="2424"/>
            <ac:spMk id="16" creationId="{6C2BB713-9637-4B9B-938F-E9768876782A}"/>
          </ac:spMkLst>
        </pc:spChg>
        <pc:spChg chg="del">
          <ac:chgData name="Aurelien Domont" userId="6da7715ce44349b3" providerId="LiveId" clId="{7CD043B0-6B74-4D9A-84AE-1D8FE229AAC4}" dt="2023-01-25T01:39:11.614" v="7557" actId="478"/>
          <ac:spMkLst>
            <pc:docMk/>
            <pc:sldMk cId="4013513185" sldId="2424"/>
            <ac:spMk id="24" creationId="{476E214A-0309-4764-9D8B-8F0A8890090C}"/>
          </ac:spMkLst>
        </pc:spChg>
      </pc:sldChg>
      <pc:sldChg chg="del">
        <pc:chgData name="Aurelien Domont" userId="6da7715ce44349b3" providerId="LiveId" clId="{7CD043B0-6B74-4D9A-84AE-1D8FE229AAC4}" dt="2023-01-20T01:52:22.470" v="1275" actId="2696"/>
        <pc:sldMkLst>
          <pc:docMk/>
          <pc:sldMk cId="86518636" sldId="2425"/>
        </pc:sldMkLst>
      </pc:sldChg>
      <pc:sldChg chg="modSp add mod">
        <pc:chgData name="Aurelien Domont" userId="6da7715ce44349b3" providerId="LiveId" clId="{7CD043B0-6B74-4D9A-84AE-1D8FE229AAC4}" dt="2023-01-25T01:39:02.185" v="7546" actId="113"/>
        <pc:sldMkLst>
          <pc:docMk/>
          <pc:sldMk cId="234968368" sldId="2425"/>
        </pc:sldMkLst>
        <pc:spChg chg="mod">
          <ac:chgData name="Aurelien Domont" userId="6da7715ce44349b3" providerId="LiveId" clId="{7CD043B0-6B74-4D9A-84AE-1D8FE229AAC4}" dt="2023-01-25T01:39:02.185" v="7546" actId="113"/>
          <ac:spMkLst>
            <pc:docMk/>
            <pc:sldMk cId="234968368" sldId="2425"/>
            <ac:spMk id="16" creationId="{6C2BB713-9637-4B9B-938F-E9768876782A}"/>
          </ac:spMkLst>
        </pc:spChg>
      </pc:sldChg>
      <pc:sldChg chg="delSp modSp add mod">
        <pc:chgData name="Aurelien Domont" userId="6da7715ce44349b3" providerId="LiveId" clId="{7CD043B0-6B74-4D9A-84AE-1D8FE229AAC4}" dt="2023-01-25T01:39:25.013" v="7577" actId="478"/>
        <pc:sldMkLst>
          <pc:docMk/>
          <pc:sldMk cId="811976027" sldId="2426"/>
        </pc:sldMkLst>
        <pc:spChg chg="mod">
          <ac:chgData name="Aurelien Domont" userId="6da7715ce44349b3" providerId="LiveId" clId="{7CD043B0-6B74-4D9A-84AE-1D8FE229AAC4}" dt="2023-01-25T01:39:23.168" v="7576" actId="113"/>
          <ac:spMkLst>
            <pc:docMk/>
            <pc:sldMk cId="811976027" sldId="2426"/>
            <ac:spMk id="16" creationId="{6C2BB713-9637-4B9B-938F-E9768876782A}"/>
          </ac:spMkLst>
        </pc:spChg>
        <pc:spChg chg="del">
          <ac:chgData name="Aurelien Domont" userId="6da7715ce44349b3" providerId="LiveId" clId="{7CD043B0-6B74-4D9A-84AE-1D8FE229AAC4}" dt="2023-01-25T01:39:25.013" v="7577" actId="478"/>
          <ac:spMkLst>
            <pc:docMk/>
            <pc:sldMk cId="811976027" sldId="2426"/>
            <ac:spMk id="24" creationId="{476E214A-0309-4764-9D8B-8F0A8890090C}"/>
          </ac:spMkLst>
        </pc:spChg>
      </pc:sldChg>
      <pc:sldChg chg="del">
        <pc:chgData name="Aurelien Domont" userId="6da7715ce44349b3" providerId="LiveId" clId="{7CD043B0-6B74-4D9A-84AE-1D8FE229AAC4}" dt="2023-01-20T01:52:22.470" v="1275" actId="2696"/>
        <pc:sldMkLst>
          <pc:docMk/>
          <pc:sldMk cId="2980469399" sldId="2426"/>
        </pc:sldMkLst>
      </pc:sldChg>
      <pc:sldChg chg="delSp modSp add mod">
        <pc:chgData name="Aurelien Domont" userId="6da7715ce44349b3" providerId="LiveId" clId="{7CD043B0-6B74-4D9A-84AE-1D8FE229AAC4}" dt="2023-01-25T01:39:42.028" v="7605" actId="478"/>
        <pc:sldMkLst>
          <pc:docMk/>
          <pc:sldMk cId="658684134" sldId="2427"/>
        </pc:sldMkLst>
        <pc:spChg chg="mod">
          <ac:chgData name="Aurelien Domont" userId="6da7715ce44349b3" providerId="LiveId" clId="{7CD043B0-6B74-4D9A-84AE-1D8FE229AAC4}" dt="2023-01-25T01:39:40.302" v="7604" actId="113"/>
          <ac:spMkLst>
            <pc:docMk/>
            <pc:sldMk cId="658684134" sldId="2427"/>
            <ac:spMk id="16" creationId="{6C2BB713-9637-4B9B-938F-E9768876782A}"/>
          </ac:spMkLst>
        </pc:spChg>
        <pc:spChg chg="del">
          <ac:chgData name="Aurelien Domont" userId="6da7715ce44349b3" providerId="LiveId" clId="{7CD043B0-6B74-4D9A-84AE-1D8FE229AAC4}" dt="2023-01-25T01:39:42.028" v="7605" actId="478"/>
          <ac:spMkLst>
            <pc:docMk/>
            <pc:sldMk cId="658684134" sldId="2427"/>
            <ac:spMk id="24" creationId="{476E214A-0309-4764-9D8B-8F0A8890090C}"/>
          </ac:spMkLst>
        </pc:spChg>
      </pc:sldChg>
      <pc:sldChg chg="del">
        <pc:chgData name="Aurelien Domont" userId="6da7715ce44349b3" providerId="LiveId" clId="{7CD043B0-6B74-4D9A-84AE-1D8FE229AAC4}" dt="2023-01-20T01:52:22.470" v="1275" actId="2696"/>
        <pc:sldMkLst>
          <pc:docMk/>
          <pc:sldMk cId="4226861179" sldId="2427"/>
        </pc:sldMkLst>
      </pc:sldChg>
      <pc:sldChg chg="del">
        <pc:chgData name="Aurelien Domont" userId="6da7715ce44349b3" providerId="LiveId" clId="{7CD043B0-6B74-4D9A-84AE-1D8FE229AAC4}" dt="2023-01-20T02:44:12.086" v="2085" actId="47"/>
        <pc:sldMkLst>
          <pc:docMk/>
          <pc:sldMk cId="184401917" sldId="2428"/>
        </pc:sldMkLst>
      </pc:sldChg>
      <pc:sldChg chg="addSp delSp modSp mod">
        <pc:chgData name="Aurelien Domont" userId="6da7715ce44349b3" providerId="LiveId" clId="{7CD043B0-6B74-4D9A-84AE-1D8FE229AAC4}" dt="2023-01-25T05:22:54.738" v="9233" actId="478"/>
        <pc:sldMkLst>
          <pc:docMk/>
          <pc:sldMk cId="1336290850" sldId="2429"/>
        </pc:sldMkLst>
        <pc:spChg chg="del">
          <ac:chgData name="Aurelien Domont" userId="6da7715ce44349b3" providerId="LiveId" clId="{7CD043B0-6B74-4D9A-84AE-1D8FE229AAC4}" dt="2023-01-25T05:22:54.738" v="9233" actId="478"/>
          <ac:spMkLst>
            <pc:docMk/>
            <pc:sldMk cId="1336290850" sldId="2429"/>
            <ac:spMk id="2" creationId="{C80C9E7D-AC47-08CE-AE6D-8369C61020CF}"/>
          </ac:spMkLst>
        </pc:spChg>
        <pc:spChg chg="mod">
          <ac:chgData name="Aurelien Domont" userId="6da7715ce44349b3" providerId="LiveId" clId="{7CD043B0-6B74-4D9A-84AE-1D8FE229AAC4}" dt="2023-01-19T23:11:47.255" v="115" actId="1035"/>
          <ac:spMkLst>
            <pc:docMk/>
            <pc:sldMk cId="1336290850" sldId="2429"/>
            <ac:spMk id="4" creationId="{DFDABEBC-4CDA-DE67-F7EF-3C9B292D3796}"/>
          </ac:spMkLst>
        </pc:spChg>
        <pc:spChg chg="add del mod">
          <ac:chgData name="Aurelien Domont" userId="6da7715ce44349b3" providerId="LiveId" clId="{7CD043B0-6B74-4D9A-84AE-1D8FE229AAC4}" dt="2023-01-19T23:19:36.434" v="192" actId="478"/>
          <ac:spMkLst>
            <pc:docMk/>
            <pc:sldMk cId="1336290850" sldId="2429"/>
            <ac:spMk id="6" creationId="{47100D99-EE1F-B7C2-B320-316DB92FD6E1}"/>
          </ac:spMkLst>
        </pc:spChg>
        <pc:spChg chg="mod">
          <ac:chgData name="Aurelien Domont" userId="6da7715ce44349b3" providerId="LiveId" clId="{7CD043B0-6B74-4D9A-84AE-1D8FE229AAC4}" dt="2023-01-19T23:10:24.780" v="83" actId="404"/>
          <ac:spMkLst>
            <pc:docMk/>
            <pc:sldMk cId="1336290850" sldId="2429"/>
            <ac:spMk id="8" creationId="{72A52A59-2B0C-B438-B79F-EAD1EBFD5A88}"/>
          </ac:spMkLst>
        </pc:spChg>
        <pc:spChg chg="mod">
          <ac:chgData name="Aurelien Domont" userId="6da7715ce44349b3" providerId="LiveId" clId="{7CD043B0-6B74-4D9A-84AE-1D8FE229AAC4}" dt="2023-01-19T23:29:17.724" v="364"/>
          <ac:spMkLst>
            <pc:docMk/>
            <pc:sldMk cId="1336290850" sldId="2429"/>
            <ac:spMk id="14" creationId="{85DB7984-08ED-9AB7-9778-BAC9EF667E17}"/>
          </ac:spMkLst>
        </pc:spChg>
        <pc:spChg chg="mod">
          <ac:chgData name="Aurelien Domont" userId="6da7715ce44349b3" providerId="LiveId" clId="{7CD043B0-6B74-4D9A-84AE-1D8FE229AAC4}" dt="2023-01-19T23:10:57.887" v="93" actId="1036"/>
          <ac:spMkLst>
            <pc:docMk/>
            <pc:sldMk cId="1336290850" sldId="2429"/>
            <ac:spMk id="17" creationId="{8C9A6BE3-F866-232F-A05A-29749A83B1CF}"/>
          </ac:spMkLst>
        </pc:spChg>
        <pc:spChg chg="mod">
          <ac:chgData name="Aurelien Domont" userId="6da7715ce44349b3" providerId="LiveId" clId="{7CD043B0-6B74-4D9A-84AE-1D8FE229AAC4}" dt="2023-01-20T02:49:29.904" v="2119"/>
          <ac:spMkLst>
            <pc:docMk/>
            <pc:sldMk cId="1336290850" sldId="2429"/>
            <ac:spMk id="20" creationId="{943B90E0-B674-6878-C4CE-C84145B92770}"/>
          </ac:spMkLst>
        </pc:spChg>
        <pc:spChg chg="mod">
          <ac:chgData name="Aurelien Domont" userId="6da7715ce44349b3" providerId="LiveId" clId="{7CD043B0-6B74-4D9A-84AE-1D8FE229AAC4}" dt="2023-01-20T03:57:13.897" v="3083"/>
          <ac:spMkLst>
            <pc:docMk/>
            <pc:sldMk cId="1336290850" sldId="2429"/>
            <ac:spMk id="21" creationId="{65195D31-8CD1-9CAD-EDAB-5DC5BCEFF793}"/>
          </ac:spMkLst>
        </pc:spChg>
        <pc:spChg chg="mod">
          <ac:chgData name="Aurelien Domont" userId="6da7715ce44349b3" providerId="LiveId" clId="{7CD043B0-6B74-4D9A-84AE-1D8FE229AAC4}" dt="2023-01-19T23:11:14.608" v="102" actId="1036"/>
          <ac:spMkLst>
            <pc:docMk/>
            <pc:sldMk cId="1336290850" sldId="2429"/>
            <ac:spMk id="23" creationId="{93DA698C-3A69-9CB5-3F74-216F16D103FC}"/>
          </ac:spMkLst>
        </pc:spChg>
        <pc:spChg chg="mod">
          <ac:chgData name="Aurelien Domont" userId="6da7715ce44349b3" providerId="LiveId" clId="{7CD043B0-6B74-4D9A-84AE-1D8FE229AAC4}" dt="2023-01-19T23:10:24.780" v="83" actId="404"/>
          <ac:spMkLst>
            <pc:docMk/>
            <pc:sldMk cId="1336290850" sldId="2429"/>
            <ac:spMk id="26" creationId="{60AA3177-69A2-8959-DB8F-FDAAC70C5894}"/>
          </ac:spMkLst>
        </pc:spChg>
        <pc:spChg chg="mod">
          <ac:chgData name="Aurelien Domont" userId="6da7715ce44349b3" providerId="LiveId" clId="{7CD043B0-6B74-4D9A-84AE-1D8FE229AAC4}" dt="2023-01-19T23:11:26.975" v="111" actId="1036"/>
          <ac:spMkLst>
            <pc:docMk/>
            <pc:sldMk cId="1336290850" sldId="2429"/>
            <ac:spMk id="28" creationId="{84AA7505-5048-31BF-7E45-224CBD648139}"/>
          </ac:spMkLst>
        </pc:spChg>
        <pc:spChg chg="mod">
          <ac:chgData name="Aurelien Domont" userId="6da7715ce44349b3" providerId="LiveId" clId="{7CD043B0-6B74-4D9A-84AE-1D8FE229AAC4}" dt="2023-01-19T23:20:12.228" v="196" actId="20578"/>
          <ac:spMkLst>
            <pc:docMk/>
            <pc:sldMk cId="1336290850" sldId="2429"/>
            <ac:spMk id="29" creationId="{8F984EF8-19B2-4B5E-98EC-433CCE26E2A7}"/>
          </ac:spMkLst>
        </pc:spChg>
        <pc:spChg chg="mod">
          <ac:chgData name="Aurelien Domont" userId="6da7715ce44349b3" providerId="LiveId" clId="{7CD043B0-6B74-4D9A-84AE-1D8FE229AAC4}" dt="2023-01-19T23:11:26.975" v="111" actId="1036"/>
          <ac:spMkLst>
            <pc:docMk/>
            <pc:sldMk cId="1336290850" sldId="2429"/>
            <ac:spMk id="36" creationId="{66F38449-718A-4DDB-1755-5E28AC672730}"/>
          </ac:spMkLst>
        </pc:spChg>
        <pc:spChg chg="add del mod">
          <ac:chgData name="Aurelien Domont" userId="6da7715ce44349b3" providerId="LiveId" clId="{7CD043B0-6B74-4D9A-84AE-1D8FE229AAC4}" dt="2023-01-19T23:19:36.434" v="192" actId="478"/>
          <ac:spMkLst>
            <pc:docMk/>
            <pc:sldMk cId="1336290850" sldId="2429"/>
            <ac:spMk id="37" creationId="{57895602-7E85-F50E-F5CF-EC9439AF8EC3}"/>
          </ac:spMkLst>
        </pc:spChg>
        <pc:cxnChg chg="mod">
          <ac:chgData name="Aurelien Domont" userId="6da7715ce44349b3" providerId="LiveId" clId="{7CD043B0-6B74-4D9A-84AE-1D8FE229AAC4}" dt="2023-01-19T23:11:21.930" v="107" actId="1036"/>
          <ac:cxnSpMkLst>
            <pc:docMk/>
            <pc:sldMk cId="1336290850" sldId="2429"/>
            <ac:cxnSpMk id="18" creationId="{9F678C74-3F31-06E3-3984-42342FEDB37D}"/>
          </ac:cxnSpMkLst>
        </pc:cxnChg>
      </pc:sldChg>
      <pc:sldChg chg="del">
        <pc:chgData name="Aurelien Domont" userId="6da7715ce44349b3" providerId="LiveId" clId="{7CD043B0-6B74-4D9A-84AE-1D8FE229AAC4}" dt="2023-01-20T02:44:15.327" v="2087" actId="47"/>
        <pc:sldMkLst>
          <pc:docMk/>
          <pc:sldMk cId="3624781149" sldId="2430"/>
        </pc:sldMkLst>
      </pc:sldChg>
      <pc:sldChg chg="modSp del mod">
        <pc:chgData name="Aurelien Domont" userId="6da7715ce44349b3" providerId="LiveId" clId="{7CD043B0-6B74-4D9A-84AE-1D8FE229AAC4}" dt="2023-01-25T05:16:28.626" v="9232" actId="47"/>
        <pc:sldMkLst>
          <pc:docMk/>
          <pc:sldMk cId="1310623865" sldId="2431"/>
        </pc:sldMkLst>
        <pc:spChg chg="mod">
          <ac:chgData name="Aurelien Domont" userId="6da7715ce44349b3" providerId="LiveId" clId="{7CD043B0-6B74-4D9A-84AE-1D8FE229AAC4}" dt="2023-01-24T03:32:14.116" v="6511" actId="20577"/>
          <ac:spMkLst>
            <pc:docMk/>
            <pc:sldMk cId="1310623865" sldId="2431"/>
            <ac:spMk id="6" creationId="{73F8416A-AC64-451F-8B00-C47D484A1B81}"/>
          </ac:spMkLst>
        </pc:spChg>
        <pc:spChg chg="mod">
          <ac:chgData name="Aurelien Domont" userId="6da7715ce44349b3" providerId="LiveId" clId="{7CD043B0-6B74-4D9A-84AE-1D8FE229AAC4}" dt="2023-01-24T03:31:21.869" v="6388" actId="20577"/>
          <ac:spMkLst>
            <pc:docMk/>
            <pc:sldMk cId="1310623865" sldId="2431"/>
            <ac:spMk id="16" creationId="{6C2BB713-9637-4B9B-938F-E9768876782A}"/>
          </ac:spMkLst>
        </pc:spChg>
      </pc:sldChg>
      <pc:sldChg chg="del">
        <pc:chgData name="Aurelien Domont" userId="6da7715ce44349b3" providerId="LiveId" clId="{7CD043B0-6B74-4D9A-84AE-1D8FE229AAC4}" dt="2023-01-20T02:48:06.741" v="2093" actId="47"/>
        <pc:sldMkLst>
          <pc:docMk/>
          <pc:sldMk cId="207067997" sldId="2432"/>
        </pc:sldMkLst>
      </pc:sldChg>
      <pc:sldChg chg="del">
        <pc:chgData name="Aurelien Domont" userId="6da7715ce44349b3" providerId="LiveId" clId="{7CD043B0-6B74-4D9A-84AE-1D8FE229AAC4}" dt="2023-01-25T05:15:07.571" v="9230" actId="47"/>
        <pc:sldMkLst>
          <pc:docMk/>
          <pc:sldMk cId="4112890396" sldId="2433"/>
        </pc:sldMkLst>
      </pc:sldChg>
      <pc:sldChg chg="del">
        <pc:chgData name="Aurelien Domont" userId="6da7715ce44349b3" providerId="LiveId" clId="{7CD043B0-6B74-4D9A-84AE-1D8FE229AAC4}" dt="2023-01-20T02:44:14.605" v="2086" actId="47"/>
        <pc:sldMkLst>
          <pc:docMk/>
          <pc:sldMk cId="4140607600" sldId="2434"/>
        </pc:sldMkLst>
      </pc:sldChg>
      <pc:sldChg chg="del">
        <pc:chgData name="Aurelien Domont" userId="6da7715ce44349b3" providerId="LiveId" clId="{7CD043B0-6B74-4D9A-84AE-1D8FE229AAC4}" dt="2023-01-19T23:28:17.794" v="363" actId="47"/>
        <pc:sldMkLst>
          <pc:docMk/>
          <pc:sldMk cId="3770245101" sldId="2435"/>
        </pc:sldMkLst>
      </pc:sldChg>
      <pc:sldChg chg="del">
        <pc:chgData name="Aurelien Domont" userId="6da7715ce44349b3" providerId="LiveId" clId="{7CD043B0-6B74-4D9A-84AE-1D8FE229AAC4}" dt="2023-01-19T23:26:42.497" v="324" actId="47"/>
        <pc:sldMkLst>
          <pc:docMk/>
          <pc:sldMk cId="2940611894" sldId="2436"/>
        </pc:sldMkLst>
      </pc:sldChg>
      <pc:sldChg chg="del">
        <pc:chgData name="Aurelien Domont" userId="6da7715ce44349b3" providerId="LiveId" clId="{7CD043B0-6B74-4D9A-84AE-1D8FE229AAC4}" dt="2023-01-20T02:48:09.755" v="2094" actId="47"/>
        <pc:sldMkLst>
          <pc:docMk/>
          <pc:sldMk cId="1092377165" sldId="2437"/>
        </pc:sldMkLst>
      </pc:sldChg>
      <pc:sldChg chg="del">
        <pc:chgData name="Aurelien Domont" userId="6da7715ce44349b3" providerId="LiveId" clId="{7CD043B0-6B74-4D9A-84AE-1D8FE229AAC4}" dt="2023-01-19T23:29:45.358" v="365" actId="2696"/>
        <pc:sldMkLst>
          <pc:docMk/>
          <pc:sldMk cId="1100601998" sldId="2438"/>
        </pc:sldMkLst>
      </pc:sldChg>
      <pc:sldChg chg="add">
        <pc:chgData name="Aurelien Domont" userId="6da7715ce44349b3" providerId="LiveId" clId="{7CD043B0-6B74-4D9A-84AE-1D8FE229AAC4}" dt="2023-01-19T23:29:48.744" v="366"/>
        <pc:sldMkLst>
          <pc:docMk/>
          <pc:sldMk cId="3318062978" sldId="2438"/>
        </pc:sldMkLst>
      </pc:sldChg>
      <pc:sldChg chg="add">
        <pc:chgData name="Aurelien Domont" userId="6da7715ce44349b3" providerId="LiveId" clId="{7CD043B0-6B74-4D9A-84AE-1D8FE229AAC4}" dt="2023-01-19T23:29:48.744" v="366"/>
        <pc:sldMkLst>
          <pc:docMk/>
          <pc:sldMk cId="141523137" sldId="2439"/>
        </pc:sldMkLst>
      </pc:sldChg>
      <pc:sldChg chg="del">
        <pc:chgData name="Aurelien Domont" userId="6da7715ce44349b3" providerId="LiveId" clId="{7CD043B0-6B74-4D9A-84AE-1D8FE229AAC4}" dt="2023-01-19T23:29:45.358" v="365" actId="2696"/>
        <pc:sldMkLst>
          <pc:docMk/>
          <pc:sldMk cId="501870413" sldId="2439"/>
        </pc:sldMkLst>
      </pc:sldChg>
      <pc:sldChg chg="del">
        <pc:chgData name="Aurelien Domont" userId="6da7715ce44349b3" providerId="LiveId" clId="{7CD043B0-6B74-4D9A-84AE-1D8FE229AAC4}" dt="2023-01-19T23:29:45.358" v="365" actId="2696"/>
        <pc:sldMkLst>
          <pc:docMk/>
          <pc:sldMk cId="751865660" sldId="2440"/>
        </pc:sldMkLst>
      </pc:sldChg>
      <pc:sldChg chg="add">
        <pc:chgData name="Aurelien Domont" userId="6da7715ce44349b3" providerId="LiveId" clId="{7CD043B0-6B74-4D9A-84AE-1D8FE229AAC4}" dt="2023-01-19T23:29:48.744" v="366"/>
        <pc:sldMkLst>
          <pc:docMk/>
          <pc:sldMk cId="2212935543" sldId="2440"/>
        </pc:sldMkLst>
      </pc:sldChg>
      <pc:sldChg chg="del">
        <pc:chgData name="Aurelien Domont" userId="6da7715ce44349b3" providerId="LiveId" clId="{7CD043B0-6B74-4D9A-84AE-1D8FE229AAC4}" dt="2023-01-19T23:29:45.358" v="365" actId="2696"/>
        <pc:sldMkLst>
          <pc:docMk/>
          <pc:sldMk cId="258368985" sldId="2444"/>
        </pc:sldMkLst>
      </pc:sldChg>
      <pc:sldChg chg="add">
        <pc:chgData name="Aurelien Domont" userId="6da7715ce44349b3" providerId="LiveId" clId="{7CD043B0-6B74-4D9A-84AE-1D8FE229AAC4}" dt="2023-01-19T23:29:48.744" v="366"/>
        <pc:sldMkLst>
          <pc:docMk/>
          <pc:sldMk cId="4182032264" sldId="2444"/>
        </pc:sldMkLst>
      </pc:sldChg>
      <pc:sldChg chg="del">
        <pc:chgData name="Aurelien Domont" userId="6da7715ce44349b3" providerId="LiveId" clId="{7CD043B0-6B74-4D9A-84AE-1D8FE229AAC4}" dt="2023-01-19T23:29:45.358" v="365" actId="2696"/>
        <pc:sldMkLst>
          <pc:docMk/>
          <pc:sldMk cId="1297274787" sldId="2445"/>
        </pc:sldMkLst>
      </pc:sldChg>
      <pc:sldChg chg="add">
        <pc:chgData name="Aurelien Domont" userId="6da7715ce44349b3" providerId="LiveId" clId="{7CD043B0-6B74-4D9A-84AE-1D8FE229AAC4}" dt="2023-01-19T23:29:48.744" v="366"/>
        <pc:sldMkLst>
          <pc:docMk/>
          <pc:sldMk cId="4024712621" sldId="2445"/>
        </pc:sldMkLst>
      </pc:sldChg>
      <pc:sldChg chg="del">
        <pc:chgData name="Aurelien Domont" userId="6da7715ce44349b3" providerId="LiveId" clId="{7CD043B0-6B74-4D9A-84AE-1D8FE229AAC4}" dt="2023-01-20T02:44:08.351" v="2083" actId="47"/>
        <pc:sldMkLst>
          <pc:docMk/>
          <pc:sldMk cId="1506314797" sldId="2446"/>
        </pc:sldMkLst>
      </pc:sldChg>
      <pc:sldChg chg="del">
        <pc:chgData name="Aurelien Domont" userId="6da7715ce44349b3" providerId="LiveId" clId="{7CD043B0-6B74-4D9A-84AE-1D8FE229AAC4}" dt="2023-01-20T02:44:09.826" v="2084" actId="47"/>
        <pc:sldMkLst>
          <pc:docMk/>
          <pc:sldMk cId="286161067" sldId="2447"/>
        </pc:sldMkLst>
      </pc:sldChg>
      <pc:sldChg chg="del">
        <pc:chgData name="Aurelien Domont" userId="6da7715ce44349b3" providerId="LiveId" clId="{7CD043B0-6B74-4D9A-84AE-1D8FE229AAC4}" dt="2023-01-20T01:51:45.058" v="1274" actId="47"/>
        <pc:sldMkLst>
          <pc:docMk/>
          <pc:sldMk cId="2807467851" sldId="2448"/>
        </pc:sldMkLst>
      </pc:sldChg>
      <pc:sldChg chg="del">
        <pc:chgData name="Aurelien Domont" userId="6da7715ce44349b3" providerId="LiveId" clId="{7CD043B0-6B74-4D9A-84AE-1D8FE229AAC4}" dt="2023-01-20T01:52:22.470" v="1275" actId="2696"/>
        <pc:sldMkLst>
          <pc:docMk/>
          <pc:sldMk cId="73846722" sldId="2449"/>
        </pc:sldMkLst>
      </pc:sldChg>
      <pc:sldChg chg="modSp add mod">
        <pc:chgData name="Aurelien Domont" userId="6da7715ce44349b3" providerId="LiveId" clId="{7CD043B0-6B74-4D9A-84AE-1D8FE229AAC4}" dt="2023-01-25T01:40:09.329" v="7621" actId="113"/>
        <pc:sldMkLst>
          <pc:docMk/>
          <pc:sldMk cId="1073031341" sldId="2449"/>
        </pc:sldMkLst>
        <pc:spChg chg="mod">
          <ac:chgData name="Aurelien Domont" userId="6da7715ce44349b3" providerId="LiveId" clId="{7CD043B0-6B74-4D9A-84AE-1D8FE229AAC4}" dt="2023-01-25T01:40:09.329" v="7621" actId="113"/>
          <ac:spMkLst>
            <pc:docMk/>
            <pc:sldMk cId="1073031341" sldId="2449"/>
            <ac:spMk id="16" creationId="{6C2BB713-9637-4B9B-938F-E9768876782A}"/>
          </ac:spMkLst>
        </pc:spChg>
      </pc:sldChg>
      <pc:sldChg chg="modSp add mod">
        <pc:chgData name="Aurelien Domont" userId="6da7715ce44349b3" providerId="LiveId" clId="{7CD043B0-6B74-4D9A-84AE-1D8FE229AAC4}" dt="2023-01-25T01:40:14.091" v="7624" actId="20577"/>
        <pc:sldMkLst>
          <pc:docMk/>
          <pc:sldMk cId="1815912057" sldId="2450"/>
        </pc:sldMkLst>
        <pc:spChg chg="mod">
          <ac:chgData name="Aurelien Domont" userId="6da7715ce44349b3" providerId="LiveId" clId="{7CD043B0-6B74-4D9A-84AE-1D8FE229AAC4}" dt="2023-01-25T01:40:14.091" v="7624" actId="20577"/>
          <ac:spMkLst>
            <pc:docMk/>
            <pc:sldMk cId="1815912057" sldId="2450"/>
            <ac:spMk id="16" creationId="{6C2BB713-9637-4B9B-938F-E9768876782A}"/>
          </ac:spMkLst>
        </pc:spChg>
      </pc:sldChg>
      <pc:sldChg chg="del">
        <pc:chgData name="Aurelien Domont" userId="6da7715ce44349b3" providerId="LiveId" clId="{7CD043B0-6B74-4D9A-84AE-1D8FE229AAC4}" dt="2023-01-20T01:52:22.470" v="1275" actId="2696"/>
        <pc:sldMkLst>
          <pc:docMk/>
          <pc:sldMk cId="3669307821" sldId="2450"/>
        </pc:sldMkLst>
      </pc:sldChg>
      <pc:sldChg chg="delSp modSp add mod">
        <pc:chgData name="Aurelien Domont" userId="6da7715ce44349b3" providerId="LiveId" clId="{7CD043B0-6B74-4D9A-84AE-1D8FE229AAC4}" dt="2023-01-25T01:40:20.618" v="7628" actId="478"/>
        <pc:sldMkLst>
          <pc:docMk/>
          <pc:sldMk cId="476984751" sldId="2452"/>
        </pc:sldMkLst>
        <pc:spChg chg="mod">
          <ac:chgData name="Aurelien Domont" userId="6da7715ce44349b3" providerId="LiveId" clId="{7CD043B0-6B74-4D9A-84AE-1D8FE229AAC4}" dt="2023-01-25T01:40:18.593" v="7627" actId="20577"/>
          <ac:spMkLst>
            <pc:docMk/>
            <pc:sldMk cId="476984751" sldId="2452"/>
            <ac:spMk id="16" creationId="{6C2BB713-9637-4B9B-938F-E9768876782A}"/>
          </ac:spMkLst>
        </pc:spChg>
        <pc:spChg chg="del">
          <ac:chgData name="Aurelien Domont" userId="6da7715ce44349b3" providerId="LiveId" clId="{7CD043B0-6B74-4D9A-84AE-1D8FE229AAC4}" dt="2023-01-25T01:40:20.618" v="7628" actId="478"/>
          <ac:spMkLst>
            <pc:docMk/>
            <pc:sldMk cId="476984751" sldId="2452"/>
            <ac:spMk id="40" creationId="{102E37E7-2E67-2E92-09D7-DA63296EAB19}"/>
          </ac:spMkLst>
        </pc:spChg>
      </pc:sldChg>
      <pc:sldChg chg="del">
        <pc:chgData name="Aurelien Domont" userId="6da7715ce44349b3" providerId="LiveId" clId="{7CD043B0-6B74-4D9A-84AE-1D8FE229AAC4}" dt="2023-01-20T01:52:22.470" v="1275" actId="2696"/>
        <pc:sldMkLst>
          <pc:docMk/>
          <pc:sldMk cId="3397172010" sldId="2452"/>
        </pc:sldMkLst>
      </pc:sldChg>
      <pc:sldChg chg="del">
        <pc:chgData name="Aurelien Domont" userId="6da7715ce44349b3" providerId="LiveId" clId="{7CD043B0-6B74-4D9A-84AE-1D8FE229AAC4}" dt="2023-01-20T02:44:16.994" v="2090" actId="47"/>
        <pc:sldMkLst>
          <pc:docMk/>
          <pc:sldMk cId="2422934540" sldId="2453"/>
        </pc:sldMkLst>
      </pc:sldChg>
      <pc:sldChg chg="del">
        <pc:chgData name="Aurelien Domont" userId="6da7715ce44349b3" providerId="LiveId" clId="{7CD043B0-6B74-4D9A-84AE-1D8FE229AAC4}" dt="2023-01-20T02:44:16.310" v="2089" actId="47"/>
        <pc:sldMkLst>
          <pc:docMk/>
          <pc:sldMk cId="2642849843" sldId="2454"/>
        </pc:sldMkLst>
      </pc:sldChg>
      <pc:sldChg chg="del">
        <pc:chgData name="Aurelien Domont" userId="6da7715ce44349b3" providerId="LiveId" clId="{7CD043B0-6B74-4D9A-84AE-1D8FE229AAC4}" dt="2023-01-20T02:44:15.778" v="2088" actId="47"/>
        <pc:sldMkLst>
          <pc:docMk/>
          <pc:sldMk cId="2756543270" sldId="2455"/>
        </pc:sldMkLst>
      </pc:sldChg>
      <pc:sldChg chg="del">
        <pc:chgData name="Aurelien Domont" userId="6da7715ce44349b3" providerId="LiveId" clId="{7CD043B0-6B74-4D9A-84AE-1D8FE229AAC4}" dt="2023-01-20T02:44:18.642" v="2091" actId="47"/>
        <pc:sldMkLst>
          <pc:docMk/>
          <pc:sldMk cId="1872239028" sldId="2456"/>
        </pc:sldMkLst>
      </pc:sldChg>
      <pc:sldChg chg="modSp add mod">
        <pc:chgData name="Aurelien Domont" userId="6da7715ce44349b3" providerId="LiveId" clId="{7CD043B0-6B74-4D9A-84AE-1D8FE229AAC4}" dt="2023-01-25T01:44:21.361" v="7648" actId="207"/>
        <pc:sldMkLst>
          <pc:docMk/>
          <pc:sldMk cId="282134541" sldId="2475"/>
        </pc:sldMkLst>
        <pc:spChg chg="mod">
          <ac:chgData name="Aurelien Domont" userId="6da7715ce44349b3" providerId="LiveId" clId="{7CD043B0-6B74-4D9A-84AE-1D8FE229AAC4}" dt="2023-01-25T01:44:18.081" v="7647" actId="207"/>
          <ac:spMkLst>
            <pc:docMk/>
            <pc:sldMk cId="282134541" sldId="2475"/>
            <ac:spMk id="2" creationId="{C2387D1D-D73C-A50B-123B-7F7ED728AC6E}"/>
          </ac:spMkLst>
        </pc:spChg>
        <pc:spChg chg="mod">
          <ac:chgData name="Aurelien Domont" userId="6da7715ce44349b3" providerId="LiveId" clId="{7CD043B0-6B74-4D9A-84AE-1D8FE229AAC4}" dt="2023-01-25T01:44:18.081" v="7647" actId="207"/>
          <ac:spMkLst>
            <pc:docMk/>
            <pc:sldMk cId="282134541" sldId="2475"/>
            <ac:spMk id="4" creationId="{A09D6106-62E9-A015-7D7F-E4C23C7B874F}"/>
          </ac:spMkLst>
        </pc:spChg>
        <pc:spChg chg="mod">
          <ac:chgData name="Aurelien Domont" userId="6da7715ce44349b3" providerId="LiveId" clId="{7CD043B0-6B74-4D9A-84AE-1D8FE229AAC4}" dt="2023-01-25T01:44:18.081" v="7647" actId="207"/>
          <ac:spMkLst>
            <pc:docMk/>
            <pc:sldMk cId="282134541" sldId="2475"/>
            <ac:spMk id="5" creationId="{E64A26FB-E553-1977-2809-8CF25451B7D1}"/>
          </ac:spMkLst>
        </pc:spChg>
        <pc:spChg chg="mod">
          <ac:chgData name="Aurelien Domont" userId="6da7715ce44349b3" providerId="LiveId" clId="{7CD043B0-6B74-4D9A-84AE-1D8FE229AAC4}" dt="2023-01-25T01:44:21.361" v="7648" actId="207"/>
          <ac:spMkLst>
            <pc:docMk/>
            <pc:sldMk cId="282134541" sldId="2475"/>
            <ac:spMk id="7" creationId="{1631F16E-72B7-F72B-9B90-D149E93E69BF}"/>
          </ac:spMkLst>
        </pc:spChg>
        <pc:spChg chg="mod">
          <ac:chgData name="Aurelien Domont" userId="6da7715ce44349b3" providerId="LiveId" clId="{7CD043B0-6B74-4D9A-84AE-1D8FE229AAC4}" dt="2023-01-25T01:44:18.081" v="7647" actId="207"/>
          <ac:spMkLst>
            <pc:docMk/>
            <pc:sldMk cId="282134541" sldId="2475"/>
            <ac:spMk id="8" creationId="{F9354733-F12A-1A72-5D96-8B7D15D355E8}"/>
          </ac:spMkLst>
        </pc:spChg>
        <pc:grpChg chg="mod">
          <ac:chgData name="Aurelien Domont" userId="6da7715ce44349b3" providerId="LiveId" clId="{7CD043B0-6B74-4D9A-84AE-1D8FE229AAC4}" dt="2023-01-25T01:44:18.081" v="7647" actId="207"/>
          <ac:grpSpMkLst>
            <pc:docMk/>
            <pc:sldMk cId="282134541" sldId="2475"/>
            <ac:grpSpMk id="11" creationId="{F7ED036F-F987-6536-A460-0EFAE6BCAA6E}"/>
          </ac:grpSpMkLst>
        </pc:grpChg>
      </pc:sldChg>
      <pc:sldChg chg="del">
        <pc:chgData name="Aurelien Domont" userId="6da7715ce44349b3" providerId="LiveId" clId="{7CD043B0-6B74-4D9A-84AE-1D8FE229AAC4}" dt="2023-01-20T01:50:51.236" v="1249" actId="2696"/>
        <pc:sldMkLst>
          <pc:docMk/>
          <pc:sldMk cId="3975579528" sldId="2475"/>
        </pc:sldMkLst>
      </pc:sldChg>
      <pc:sldChg chg="del">
        <pc:chgData name="Aurelien Domont" userId="6da7715ce44349b3" providerId="LiveId" clId="{7CD043B0-6B74-4D9A-84AE-1D8FE229AAC4}" dt="2023-01-20T02:51:07.227" v="2129" actId="2696"/>
        <pc:sldMkLst>
          <pc:docMk/>
          <pc:sldMk cId="749736513" sldId="2476"/>
        </pc:sldMkLst>
      </pc:sldChg>
      <pc:sldChg chg="modSp add mod">
        <pc:chgData name="Aurelien Domont" userId="6da7715ce44349b3" providerId="LiveId" clId="{7CD043B0-6B74-4D9A-84AE-1D8FE229AAC4}" dt="2023-01-25T01:44:53.867" v="7650" actId="207"/>
        <pc:sldMkLst>
          <pc:docMk/>
          <pc:sldMk cId="2851838303" sldId="2476"/>
        </pc:sldMkLst>
        <pc:spChg chg="mod">
          <ac:chgData name="Aurelien Domont" userId="6da7715ce44349b3" providerId="LiveId" clId="{7CD043B0-6B74-4D9A-84AE-1D8FE229AAC4}" dt="2023-01-25T01:44:50.625" v="7649" actId="207"/>
          <ac:spMkLst>
            <pc:docMk/>
            <pc:sldMk cId="2851838303" sldId="2476"/>
            <ac:spMk id="2" creationId="{C2387D1D-D73C-A50B-123B-7F7ED728AC6E}"/>
          </ac:spMkLst>
        </pc:spChg>
        <pc:spChg chg="mod">
          <ac:chgData name="Aurelien Domont" userId="6da7715ce44349b3" providerId="LiveId" clId="{7CD043B0-6B74-4D9A-84AE-1D8FE229AAC4}" dt="2023-01-25T01:44:53.867" v="7650" actId="207"/>
          <ac:spMkLst>
            <pc:docMk/>
            <pc:sldMk cId="2851838303" sldId="2476"/>
            <ac:spMk id="4" creationId="{A09D6106-62E9-A015-7D7F-E4C23C7B874F}"/>
          </ac:spMkLst>
        </pc:spChg>
        <pc:spChg chg="mod">
          <ac:chgData name="Aurelien Domont" userId="6da7715ce44349b3" providerId="LiveId" clId="{7CD043B0-6B74-4D9A-84AE-1D8FE229AAC4}" dt="2023-01-25T01:44:50.625" v="7649" actId="207"/>
          <ac:spMkLst>
            <pc:docMk/>
            <pc:sldMk cId="2851838303" sldId="2476"/>
            <ac:spMk id="5" creationId="{E64A26FB-E553-1977-2809-8CF25451B7D1}"/>
          </ac:spMkLst>
        </pc:spChg>
        <pc:spChg chg="mod">
          <ac:chgData name="Aurelien Domont" userId="6da7715ce44349b3" providerId="LiveId" clId="{7CD043B0-6B74-4D9A-84AE-1D8FE229AAC4}" dt="2023-01-25T01:44:50.625" v="7649" actId="207"/>
          <ac:spMkLst>
            <pc:docMk/>
            <pc:sldMk cId="2851838303" sldId="2476"/>
            <ac:spMk id="7" creationId="{1631F16E-72B7-F72B-9B90-D149E93E69BF}"/>
          </ac:spMkLst>
        </pc:spChg>
        <pc:spChg chg="mod">
          <ac:chgData name="Aurelien Domont" userId="6da7715ce44349b3" providerId="LiveId" clId="{7CD043B0-6B74-4D9A-84AE-1D8FE229AAC4}" dt="2023-01-25T01:44:50.625" v="7649" actId="207"/>
          <ac:spMkLst>
            <pc:docMk/>
            <pc:sldMk cId="2851838303" sldId="2476"/>
            <ac:spMk id="8" creationId="{F9354733-F12A-1A72-5D96-8B7D15D355E8}"/>
          </ac:spMkLst>
        </pc:spChg>
        <pc:grpChg chg="mod">
          <ac:chgData name="Aurelien Domont" userId="6da7715ce44349b3" providerId="LiveId" clId="{7CD043B0-6B74-4D9A-84AE-1D8FE229AAC4}" dt="2023-01-25T01:44:50.625" v="7649" actId="207"/>
          <ac:grpSpMkLst>
            <pc:docMk/>
            <pc:sldMk cId="2851838303" sldId="2476"/>
            <ac:grpSpMk id="11" creationId="{F7ED036F-F987-6536-A460-0EFAE6BCAA6E}"/>
          </ac:grpSpMkLst>
        </pc:grpChg>
      </pc:sldChg>
      <pc:sldChg chg="modSp add mod">
        <pc:chgData name="Aurelien Domont" userId="6da7715ce44349b3" providerId="LiveId" clId="{7CD043B0-6B74-4D9A-84AE-1D8FE229AAC4}" dt="2023-01-25T03:57:19.669" v="7976" actId="20577"/>
        <pc:sldMkLst>
          <pc:docMk/>
          <pc:sldMk cId="2070383936" sldId="2477"/>
        </pc:sldMkLst>
        <pc:spChg chg="mod">
          <ac:chgData name="Aurelien Domont" userId="6da7715ce44349b3" providerId="LiveId" clId="{7CD043B0-6B74-4D9A-84AE-1D8FE229AAC4}" dt="2023-01-25T03:57:19.669" v="7976" actId="20577"/>
          <ac:spMkLst>
            <pc:docMk/>
            <pc:sldMk cId="2070383936" sldId="2477"/>
            <ac:spMk id="6" creationId="{925DDD0A-01CE-7FB4-14EA-5618B9C4E995}"/>
          </ac:spMkLst>
        </pc:spChg>
      </pc:sldChg>
      <pc:sldChg chg="modSp del mod ord">
        <pc:chgData name="Aurelien Domont" userId="6da7715ce44349b3" providerId="LiveId" clId="{7CD043B0-6B74-4D9A-84AE-1D8FE229AAC4}" dt="2023-01-25T01:48:08.299" v="7726" actId="2696"/>
        <pc:sldMkLst>
          <pc:docMk/>
          <pc:sldMk cId="3463434680" sldId="2477"/>
        </pc:sldMkLst>
        <pc:spChg chg="mod">
          <ac:chgData name="Aurelien Domont" userId="6da7715ce44349b3" providerId="LiveId" clId="{7CD043B0-6B74-4D9A-84AE-1D8FE229AAC4}" dt="2023-01-25T01:45:05.304" v="7651" actId="207"/>
          <ac:spMkLst>
            <pc:docMk/>
            <pc:sldMk cId="3463434680" sldId="2477"/>
            <ac:spMk id="2" creationId="{C2387D1D-D73C-A50B-123B-7F7ED728AC6E}"/>
          </ac:spMkLst>
        </pc:spChg>
        <pc:spChg chg="mod">
          <ac:chgData name="Aurelien Domont" userId="6da7715ce44349b3" providerId="LiveId" clId="{7CD043B0-6B74-4D9A-84AE-1D8FE229AAC4}" dt="2023-01-25T01:45:05.304" v="7651" actId="207"/>
          <ac:spMkLst>
            <pc:docMk/>
            <pc:sldMk cId="3463434680" sldId="2477"/>
            <ac:spMk id="4" creationId="{A09D6106-62E9-A015-7D7F-E4C23C7B874F}"/>
          </ac:spMkLst>
        </pc:spChg>
        <pc:spChg chg="mod">
          <ac:chgData name="Aurelien Domont" userId="6da7715ce44349b3" providerId="LiveId" clId="{7CD043B0-6B74-4D9A-84AE-1D8FE229AAC4}" dt="2023-01-25T01:45:08.167" v="7652" actId="207"/>
          <ac:spMkLst>
            <pc:docMk/>
            <pc:sldMk cId="3463434680" sldId="2477"/>
            <ac:spMk id="5" creationId="{E64A26FB-E553-1977-2809-8CF25451B7D1}"/>
          </ac:spMkLst>
        </pc:spChg>
        <pc:spChg chg="mod">
          <ac:chgData name="Aurelien Domont" userId="6da7715ce44349b3" providerId="LiveId" clId="{7CD043B0-6B74-4D9A-84AE-1D8FE229AAC4}" dt="2023-01-25T01:45:05.304" v="7651" actId="207"/>
          <ac:spMkLst>
            <pc:docMk/>
            <pc:sldMk cId="3463434680" sldId="2477"/>
            <ac:spMk id="7" creationId="{1631F16E-72B7-F72B-9B90-D149E93E69BF}"/>
          </ac:spMkLst>
        </pc:spChg>
        <pc:spChg chg="mod">
          <ac:chgData name="Aurelien Domont" userId="6da7715ce44349b3" providerId="LiveId" clId="{7CD043B0-6B74-4D9A-84AE-1D8FE229AAC4}" dt="2023-01-25T01:45:05.304" v="7651" actId="207"/>
          <ac:spMkLst>
            <pc:docMk/>
            <pc:sldMk cId="3463434680" sldId="2477"/>
            <ac:spMk id="8" creationId="{F9354733-F12A-1A72-5D96-8B7D15D355E8}"/>
          </ac:spMkLst>
        </pc:spChg>
        <pc:grpChg chg="mod">
          <ac:chgData name="Aurelien Domont" userId="6da7715ce44349b3" providerId="LiveId" clId="{7CD043B0-6B74-4D9A-84AE-1D8FE229AAC4}" dt="2023-01-25T01:45:05.304" v="7651" actId="207"/>
          <ac:grpSpMkLst>
            <pc:docMk/>
            <pc:sldMk cId="3463434680" sldId="2477"/>
            <ac:grpSpMk id="11" creationId="{F7ED036F-F987-6536-A460-0EFAE6BCAA6E}"/>
          </ac:grpSpMkLst>
        </pc:grpChg>
      </pc:sldChg>
      <pc:sldChg chg="modSp mod ord">
        <pc:chgData name="Aurelien Domont" userId="6da7715ce44349b3" providerId="LiveId" clId="{7CD043B0-6B74-4D9A-84AE-1D8FE229AAC4}" dt="2023-01-25T03:56:59.324" v="7967" actId="207"/>
        <pc:sldMkLst>
          <pc:docMk/>
          <pc:sldMk cId="266260425" sldId="2478"/>
        </pc:sldMkLst>
        <pc:spChg chg="mod">
          <ac:chgData name="Aurelien Domont" userId="6da7715ce44349b3" providerId="LiveId" clId="{7CD043B0-6B74-4D9A-84AE-1D8FE229AAC4}" dt="2023-01-25T03:56:55.924" v="7966" actId="207"/>
          <ac:spMkLst>
            <pc:docMk/>
            <pc:sldMk cId="266260425" sldId="2478"/>
            <ac:spMk id="2" creationId="{C2387D1D-D73C-A50B-123B-7F7ED728AC6E}"/>
          </ac:spMkLst>
        </pc:spChg>
        <pc:spChg chg="mod">
          <ac:chgData name="Aurelien Domont" userId="6da7715ce44349b3" providerId="LiveId" clId="{7CD043B0-6B74-4D9A-84AE-1D8FE229AAC4}" dt="2023-01-25T03:56:55.924" v="7966" actId="207"/>
          <ac:spMkLst>
            <pc:docMk/>
            <pc:sldMk cId="266260425" sldId="2478"/>
            <ac:spMk id="4" creationId="{A09D6106-62E9-A015-7D7F-E4C23C7B874F}"/>
          </ac:spMkLst>
        </pc:spChg>
        <pc:spChg chg="mod">
          <ac:chgData name="Aurelien Domont" userId="6da7715ce44349b3" providerId="LiveId" clId="{7CD043B0-6B74-4D9A-84AE-1D8FE229AAC4}" dt="2023-01-25T03:56:55.924" v="7966" actId="207"/>
          <ac:spMkLst>
            <pc:docMk/>
            <pc:sldMk cId="266260425" sldId="2478"/>
            <ac:spMk id="5" creationId="{E64A26FB-E553-1977-2809-8CF25451B7D1}"/>
          </ac:spMkLst>
        </pc:spChg>
        <pc:spChg chg="mod">
          <ac:chgData name="Aurelien Domont" userId="6da7715ce44349b3" providerId="LiveId" clId="{7CD043B0-6B74-4D9A-84AE-1D8FE229AAC4}" dt="2023-01-25T03:56:43.488" v="7963" actId="20577"/>
          <ac:spMkLst>
            <pc:docMk/>
            <pc:sldMk cId="266260425" sldId="2478"/>
            <ac:spMk id="6" creationId="{925DDD0A-01CE-7FB4-14EA-5618B9C4E995}"/>
          </ac:spMkLst>
        </pc:spChg>
        <pc:spChg chg="mod">
          <ac:chgData name="Aurelien Domont" userId="6da7715ce44349b3" providerId="LiveId" clId="{7CD043B0-6B74-4D9A-84AE-1D8FE229AAC4}" dt="2023-01-25T03:56:55.924" v="7966" actId="207"/>
          <ac:spMkLst>
            <pc:docMk/>
            <pc:sldMk cId="266260425" sldId="2478"/>
            <ac:spMk id="7" creationId="{1631F16E-72B7-F72B-9B90-D149E93E69BF}"/>
          </ac:spMkLst>
        </pc:spChg>
        <pc:spChg chg="mod">
          <ac:chgData name="Aurelien Domont" userId="6da7715ce44349b3" providerId="LiveId" clId="{7CD043B0-6B74-4D9A-84AE-1D8FE229AAC4}" dt="2023-01-25T03:56:59.324" v="7967" actId="207"/>
          <ac:spMkLst>
            <pc:docMk/>
            <pc:sldMk cId="266260425" sldId="2478"/>
            <ac:spMk id="8" creationId="{F9354733-F12A-1A72-5D96-8B7D15D355E8}"/>
          </ac:spMkLst>
        </pc:spChg>
        <pc:grpChg chg="mod">
          <ac:chgData name="Aurelien Domont" userId="6da7715ce44349b3" providerId="LiveId" clId="{7CD043B0-6B74-4D9A-84AE-1D8FE229AAC4}" dt="2023-01-25T03:56:55.924" v="7966" actId="207"/>
          <ac:grpSpMkLst>
            <pc:docMk/>
            <pc:sldMk cId="266260425" sldId="2478"/>
            <ac:grpSpMk id="11" creationId="{F7ED036F-F987-6536-A460-0EFAE6BCAA6E}"/>
          </ac:grpSpMkLst>
        </pc:grpChg>
      </pc:sldChg>
      <pc:sldChg chg="del">
        <pc:chgData name="Aurelien Domont" userId="6da7715ce44349b3" providerId="LiveId" clId="{7CD043B0-6B74-4D9A-84AE-1D8FE229AAC4}" dt="2023-01-19T23:21:36.277" v="198" actId="2696"/>
        <pc:sldMkLst>
          <pc:docMk/>
          <pc:sldMk cId="1165961042" sldId="2479"/>
        </pc:sldMkLst>
      </pc:sldChg>
      <pc:sldChg chg="add del">
        <pc:chgData name="Aurelien Domont" userId="6da7715ce44349b3" providerId="LiveId" clId="{7CD043B0-6B74-4D9A-84AE-1D8FE229AAC4}" dt="2023-01-19T23:21:56.517" v="200" actId="47"/>
        <pc:sldMkLst>
          <pc:docMk/>
          <pc:sldMk cId="2133443359" sldId="2479"/>
        </pc:sldMkLst>
      </pc:sldChg>
      <pc:sldChg chg="del">
        <pc:chgData name="Aurelien Domont" userId="6da7715ce44349b3" providerId="LiveId" clId="{7CD043B0-6B74-4D9A-84AE-1D8FE229AAC4}" dt="2023-01-19T23:21:36.277" v="198" actId="2696"/>
        <pc:sldMkLst>
          <pc:docMk/>
          <pc:sldMk cId="3016743012" sldId="2480"/>
        </pc:sldMkLst>
      </pc:sldChg>
      <pc:sldChg chg="add del">
        <pc:chgData name="Aurelien Domont" userId="6da7715ce44349b3" providerId="LiveId" clId="{7CD043B0-6B74-4D9A-84AE-1D8FE229AAC4}" dt="2023-01-19T23:21:56.517" v="200" actId="47"/>
        <pc:sldMkLst>
          <pc:docMk/>
          <pc:sldMk cId="3684316702" sldId="2480"/>
        </pc:sldMkLst>
      </pc:sldChg>
      <pc:sldChg chg="del">
        <pc:chgData name="Aurelien Domont" userId="6da7715ce44349b3" providerId="LiveId" clId="{7CD043B0-6B74-4D9A-84AE-1D8FE229AAC4}" dt="2023-01-19T23:28:17.794" v="363" actId="47"/>
        <pc:sldMkLst>
          <pc:docMk/>
          <pc:sldMk cId="2861048300" sldId="2481"/>
        </pc:sldMkLst>
      </pc:sldChg>
      <pc:sldChg chg="del">
        <pc:chgData name="Aurelien Domont" userId="6da7715ce44349b3" providerId="LiveId" clId="{7CD043B0-6B74-4D9A-84AE-1D8FE229AAC4}" dt="2023-01-25T05:15:07.571" v="9230" actId="47"/>
        <pc:sldMkLst>
          <pc:docMk/>
          <pc:sldMk cId="1703982882" sldId="2483"/>
        </pc:sldMkLst>
      </pc:sldChg>
      <pc:sldChg chg="del">
        <pc:chgData name="Aurelien Domont" userId="6da7715ce44349b3" providerId="LiveId" clId="{7CD043B0-6B74-4D9A-84AE-1D8FE229AAC4}" dt="2023-01-19T23:28:05.481" v="362" actId="47"/>
        <pc:sldMkLst>
          <pc:docMk/>
          <pc:sldMk cId="3941798568" sldId="2484"/>
        </pc:sldMkLst>
      </pc:sldChg>
      <pc:sldChg chg="del">
        <pc:chgData name="Aurelien Domont" userId="6da7715ce44349b3" providerId="LiveId" clId="{7CD043B0-6B74-4D9A-84AE-1D8FE229AAC4}" dt="2023-01-19T23:28:04.529" v="361" actId="47"/>
        <pc:sldMkLst>
          <pc:docMk/>
          <pc:sldMk cId="4203040611" sldId="2485"/>
        </pc:sldMkLst>
      </pc:sldChg>
      <pc:sldChg chg="addSp delSp modSp mod">
        <pc:chgData name="Aurelien Domont" userId="6da7715ce44349b3" providerId="LiveId" clId="{7CD043B0-6B74-4D9A-84AE-1D8FE229AAC4}" dt="2023-01-20T03:57:13.897" v="3083"/>
        <pc:sldMkLst>
          <pc:docMk/>
          <pc:sldMk cId="1490095266" sldId="2492"/>
        </pc:sldMkLst>
        <pc:spChg chg="del">
          <ac:chgData name="Aurelien Domont" userId="6da7715ce44349b3" providerId="LiveId" clId="{7CD043B0-6B74-4D9A-84AE-1D8FE229AAC4}" dt="2023-01-19T23:12:21.977" v="116" actId="478"/>
          <ac:spMkLst>
            <pc:docMk/>
            <pc:sldMk cId="1490095266" sldId="2492"/>
            <ac:spMk id="2" creationId="{C80C9E7D-AC47-08CE-AE6D-8369C61020CF}"/>
          </ac:spMkLst>
        </pc:spChg>
        <pc:spChg chg="add mod">
          <ac:chgData name="Aurelien Domont" userId="6da7715ce44349b3" providerId="LiveId" clId="{7CD043B0-6B74-4D9A-84AE-1D8FE229AAC4}" dt="2023-01-20T03:46:24.228" v="2994"/>
          <ac:spMkLst>
            <pc:docMk/>
            <pc:sldMk cId="1490095266" sldId="2492"/>
            <ac:spMk id="2" creationId="{ED42EDF1-3A1C-8355-76E2-A37F9E5FFA80}"/>
          </ac:spMkLst>
        </pc:spChg>
        <pc:spChg chg="del">
          <ac:chgData name="Aurelien Domont" userId="6da7715ce44349b3" providerId="LiveId" clId="{7CD043B0-6B74-4D9A-84AE-1D8FE229AAC4}" dt="2023-01-19T23:22:58.970" v="210" actId="478"/>
          <ac:spMkLst>
            <pc:docMk/>
            <pc:sldMk cId="1490095266" sldId="2492"/>
            <ac:spMk id="4" creationId="{DFDABEBC-4CDA-DE67-F7EF-3C9B292D3796}"/>
          </ac:spMkLst>
        </pc:spChg>
        <pc:spChg chg="add mod">
          <ac:chgData name="Aurelien Domont" userId="6da7715ce44349b3" providerId="LiveId" clId="{7CD043B0-6B74-4D9A-84AE-1D8FE229AAC4}" dt="2023-01-19T23:23:04.621" v="212" actId="207"/>
          <ac:spMkLst>
            <pc:docMk/>
            <pc:sldMk cId="1490095266" sldId="2492"/>
            <ac:spMk id="6" creationId="{7560F87C-BB68-B979-738A-8A7B66AD4B1E}"/>
          </ac:spMkLst>
        </pc:spChg>
        <pc:spChg chg="del">
          <ac:chgData name="Aurelien Domont" userId="6da7715ce44349b3" providerId="LiveId" clId="{7CD043B0-6B74-4D9A-84AE-1D8FE229AAC4}" dt="2023-01-19T23:22:58.970" v="210" actId="478"/>
          <ac:spMkLst>
            <pc:docMk/>
            <pc:sldMk cId="1490095266" sldId="2492"/>
            <ac:spMk id="8" creationId="{72A52A59-2B0C-B438-B79F-EAD1EBFD5A88}"/>
          </ac:spMkLst>
        </pc:spChg>
        <pc:spChg chg="del">
          <ac:chgData name="Aurelien Domont" userId="6da7715ce44349b3" providerId="LiveId" clId="{7CD043B0-6B74-4D9A-84AE-1D8FE229AAC4}" dt="2023-01-19T23:22:58.970" v="210" actId="478"/>
          <ac:spMkLst>
            <pc:docMk/>
            <pc:sldMk cId="1490095266" sldId="2492"/>
            <ac:spMk id="9" creationId="{0F4B39A0-2803-47D9-93AE-F99798C91F06}"/>
          </ac:spMkLst>
        </pc:spChg>
        <pc:spChg chg="del">
          <ac:chgData name="Aurelien Domont" userId="6da7715ce44349b3" providerId="LiveId" clId="{7CD043B0-6B74-4D9A-84AE-1D8FE229AAC4}" dt="2023-01-19T23:22:58.970" v="210" actId="478"/>
          <ac:spMkLst>
            <pc:docMk/>
            <pc:sldMk cId="1490095266" sldId="2492"/>
            <ac:spMk id="10" creationId="{52524284-CA7D-416E-ADDB-CAB7040B62C4}"/>
          </ac:spMkLst>
        </pc:spChg>
        <pc:spChg chg="del">
          <ac:chgData name="Aurelien Domont" userId="6da7715ce44349b3" providerId="LiveId" clId="{7CD043B0-6B74-4D9A-84AE-1D8FE229AAC4}" dt="2023-01-19T23:22:58.970" v="210" actId="478"/>
          <ac:spMkLst>
            <pc:docMk/>
            <pc:sldMk cId="1490095266" sldId="2492"/>
            <ac:spMk id="11" creationId="{DCA1B29F-4AB2-4DAE-B498-BC74026B1DDA}"/>
          </ac:spMkLst>
        </pc:spChg>
        <pc:spChg chg="del">
          <ac:chgData name="Aurelien Domont" userId="6da7715ce44349b3" providerId="LiveId" clId="{7CD043B0-6B74-4D9A-84AE-1D8FE229AAC4}" dt="2023-01-19T23:22:58.970" v="210" actId="478"/>
          <ac:spMkLst>
            <pc:docMk/>
            <pc:sldMk cId="1490095266" sldId="2492"/>
            <ac:spMk id="12" creationId="{B9BBA604-AEF4-4807-AD42-75399F0043F4}"/>
          </ac:spMkLst>
        </pc:spChg>
        <pc:spChg chg="del mod">
          <ac:chgData name="Aurelien Domont" userId="6da7715ce44349b3" providerId="LiveId" clId="{7CD043B0-6B74-4D9A-84AE-1D8FE229AAC4}" dt="2023-01-19T23:22:58.970" v="210" actId="478"/>
          <ac:spMkLst>
            <pc:docMk/>
            <pc:sldMk cId="1490095266" sldId="2492"/>
            <ac:spMk id="14" creationId="{EA25B162-AE9F-8B60-B367-C05844F3C37C}"/>
          </ac:spMkLst>
        </pc:spChg>
        <pc:spChg chg="del">
          <ac:chgData name="Aurelien Domont" userId="6da7715ce44349b3" providerId="LiveId" clId="{7CD043B0-6B74-4D9A-84AE-1D8FE229AAC4}" dt="2023-01-19T23:22:58.970" v="210" actId="478"/>
          <ac:spMkLst>
            <pc:docMk/>
            <pc:sldMk cId="1490095266" sldId="2492"/>
            <ac:spMk id="17" creationId="{8C9A6BE3-F866-232F-A05A-29749A83B1CF}"/>
          </ac:spMkLst>
        </pc:spChg>
        <pc:spChg chg="del">
          <ac:chgData name="Aurelien Domont" userId="6da7715ce44349b3" providerId="LiveId" clId="{7CD043B0-6B74-4D9A-84AE-1D8FE229AAC4}" dt="2023-01-19T23:22:58.970" v="210" actId="478"/>
          <ac:spMkLst>
            <pc:docMk/>
            <pc:sldMk cId="1490095266" sldId="2492"/>
            <ac:spMk id="19" creationId="{C6EB7CDE-7F94-BEF9-CB99-7B3D90C68209}"/>
          </ac:spMkLst>
        </pc:spChg>
        <pc:spChg chg="del">
          <ac:chgData name="Aurelien Domont" userId="6da7715ce44349b3" providerId="LiveId" clId="{7CD043B0-6B74-4D9A-84AE-1D8FE229AAC4}" dt="2023-01-19T23:22:58.970" v="210" actId="478"/>
          <ac:spMkLst>
            <pc:docMk/>
            <pc:sldMk cId="1490095266" sldId="2492"/>
            <ac:spMk id="20" creationId="{943B90E0-B674-6878-C4CE-C84145B92770}"/>
          </ac:spMkLst>
        </pc:spChg>
        <pc:spChg chg="del">
          <ac:chgData name="Aurelien Domont" userId="6da7715ce44349b3" providerId="LiveId" clId="{7CD043B0-6B74-4D9A-84AE-1D8FE229AAC4}" dt="2023-01-19T23:22:58.970" v="210" actId="478"/>
          <ac:spMkLst>
            <pc:docMk/>
            <pc:sldMk cId="1490095266" sldId="2492"/>
            <ac:spMk id="21" creationId="{65195D31-8CD1-9CAD-EDAB-5DC5BCEFF793}"/>
          </ac:spMkLst>
        </pc:spChg>
        <pc:spChg chg="del">
          <ac:chgData name="Aurelien Domont" userId="6da7715ce44349b3" providerId="LiveId" clId="{7CD043B0-6B74-4D9A-84AE-1D8FE229AAC4}" dt="2023-01-19T23:22:58.970" v="210" actId="478"/>
          <ac:spMkLst>
            <pc:docMk/>
            <pc:sldMk cId="1490095266" sldId="2492"/>
            <ac:spMk id="22" creationId="{8664D20B-2002-4C9F-A94C-AB6D33819DF8}"/>
          </ac:spMkLst>
        </pc:spChg>
        <pc:spChg chg="del">
          <ac:chgData name="Aurelien Domont" userId="6da7715ce44349b3" providerId="LiveId" clId="{7CD043B0-6B74-4D9A-84AE-1D8FE229AAC4}" dt="2023-01-19T23:22:58.970" v="210" actId="478"/>
          <ac:spMkLst>
            <pc:docMk/>
            <pc:sldMk cId="1490095266" sldId="2492"/>
            <ac:spMk id="23" creationId="{93DA698C-3A69-9CB5-3F74-216F16D103FC}"/>
          </ac:spMkLst>
        </pc:spChg>
        <pc:spChg chg="del">
          <ac:chgData name="Aurelien Domont" userId="6da7715ce44349b3" providerId="LiveId" clId="{7CD043B0-6B74-4D9A-84AE-1D8FE229AAC4}" dt="2023-01-19T23:22:58.970" v="210" actId="478"/>
          <ac:spMkLst>
            <pc:docMk/>
            <pc:sldMk cId="1490095266" sldId="2492"/>
            <ac:spMk id="26" creationId="{60AA3177-69A2-8959-DB8F-FDAAC70C5894}"/>
          </ac:spMkLst>
        </pc:spChg>
        <pc:spChg chg="del">
          <ac:chgData name="Aurelien Domont" userId="6da7715ce44349b3" providerId="LiveId" clId="{7CD043B0-6B74-4D9A-84AE-1D8FE229AAC4}" dt="2023-01-19T23:22:58.970" v="210" actId="478"/>
          <ac:spMkLst>
            <pc:docMk/>
            <pc:sldMk cId="1490095266" sldId="2492"/>
            <ac:spMk id="27" creationId="{54BC1734-C961-49B3-BBCE-81BBEF3EFD1B}"/>
          </ac:spMkLst>
        </pc:spChg>
        <pc:spChg chg="del">
          <ac:chgData name="Aurelien Domont" userId="6da7715ce44349b3" providerId="LiveId" clId="{7CD043B0-6B74-4D9A-84AE-1D8FE229AAC4}" dt="2023-01-19T23:22:58.970" v="210" actId="478"/>
          <ac:spMkLst>
            <pc:docMk/>
            <pc:sldMk cId="1490095266" sldId="2492"/>
            <ac:spMk id="28" creationId="{84AA7505-5048-31BF-7E45-224CBD648139}"/>
          </ac:spMkLst>
        </pc:spChg>
        <pc:spChg chg="del">
          <ac:chgData name="Aurelien Domont" userId="6da7715ce44349b3" providerId="LiveId" clId="{7CD043B0-6B74-4D9A-84AE-1D8FE229AAC4}" dt="2023-01-19T23:22:58.970" v="210" actId="478"/>
          <ac:spMkLst>
            <pc:docMk/>
            <pc:sldMk cId="1490095266" sldId="2492"/>
            <ac:spMk id="29" creationId="{8F984EF8-19B2-4B5E-98EC-433CCE26E2A7}"/>
          </ac:spMkLst>
        </pc:spChg>
        <pc:spChg chg="del">
          <ac:chgData name="Aurelien Domont" userId="6da7715ce44349b3" providerId="LiveId" clId="{7CD043B0-6B74-4D9A-84AE-1D8FE229AAC4}" dt="2023-01-19T23:22:58.970" v="210" actId="478"/>
          <ac:spMkLst>
            <pc:docMk/>
            <pc:sldMk cId="1490095266" sldId="2492"/>
            <ac:spMk id="31" creationId="{1C1B78F5-CE09-4A06-8F1D-30227B5D6E15}"/>
          </ac:spMkLst>
        </pc:spChg>
        <pc:spChg chg="del">
          <ac:chgData name="Aurelien Domont" userId="6da7715ce44349b3" providerId="LiveId" clId="{7CD043B0-6B74-4D9A-84AE-1D8FE229AAC4}" dt="2023-01-19T23:22:58.970" v="210" actId="478"/>
          <ac:spMkLst>
            <pc:docMk/>
            <pc:sldMk cId="1490095266" sldId="2492"/>
            <ac:spMk id="32" creationId="{3BEF6079-F38C-4B82-B044-53A13155F334}"/>
          </ac:spMkLst>
        </pc:spChg>
        <pc:spChg chg="del">
          <ac:chgData name="Aurelien Domont" userId="6da7715ce44349b3" providerId="LiveId" clId="{7CD043B0-6B74-4D9A-84AE-1D8FE229AAC4}" dt="2023-01-19T23:22:58.970" v="210" actId="478"/>
          <ac:spMkLst>
            <pc:docMk/>
            <pc:sldMk cId="1490095266" sldId="2492"/>
            <ac:spMk id="33" creationId="{8260BE05-FEA7-4631-88CD-752AC5C966BA}"/>
          </ac:spMkLst>
        </pc:spChg>
        <pc:spChg chg="del">
          <ac:chgData name="Aurelien Domont" userId="6da7715ce44349b3" providerId="LiveId" clId="{7CD043B0-6B74-4D9A-84AE-1D8FE229AAC4}" dt="2023-01-19T23:22:58.970" v="210" actId="478"/>
          <ac:spMkLst>
            <pc:docMk/>
            <pc:sldMk cId="1490095266" sldId="2492"/>
            <ac:spMk id="34" creationId="{473B4042-51F1-41BD-8EDF-E03E66716A5A}"/>
          </ac:spMkLst>
        </pc:spChg>
        <pc:spChg chg="del">
          <ac:chgData name="Aurelien Domont" userId="6da7715ce44349b3" providerId="LiveId" clId="{7CD043B0-6B74-4D9A-84AE-1D8FE229AAC4}" dt="2023-01-19T23:22:58.970" v="210" actId="478"/>
          <ac:spMkLst>
            <pc:docMk/>
            <pc:sldMk cId="1490095266" sldId="2492"/>
            <ac:spMk id="35" creationId="{64C38490-8643-4DBA-8D8B-54C587ECA10D}"/>
          </ac:spMkLst>
        </pc:spChg>
        <pc:spChg chg="del">
          <ac:chgData name="Aurelien Domont" userId="6da7715ce44349b3" providerId="LiveId" clId="{7CD043B0-6B74-4D9A-84AE-1D8FE229AAC4}" dt="2023-01-19T23:22:58.970" v="210" actId="478"/>
          <ac:spMkLst>
            <pc:docMk/>
            <pc:sldMk cId="1490095266" sldId="2492"/>
            <ac:spMk id="36" creationId="{66F38449-718A-4DDB-1755-5E28AC672730}"/>
          </ac:spMkLst>
        </pc:spChg>
        <pc:spChg chg="add mod">
          <ac:chgData name="Aurelien Domont" userId="6da7715ce44349b3" providerId="LiveId" clId="{7CD043B0-6B74-4D9A-84AE-1D8FE229AAC4}" dt="2023-01-19T23:22:59.520" v="211"/>
          <ac:spMkLst>
            <pc:docMk/>
            <pc:sldMk cId="1490095266" sldId="2492"/>
            <ac:spMk id="37" creationId="{7F9686D5-3B46-FD75-A9E2-BFAFE2E3DDDD}"/>
          </ac:spMkLst>
        </pc:spChg>
        <pc:spChg chg="add mod">
          <ac:chgData name="Aurelien Domont" userId="6da7715ce44349b3" providerId="LiveId" clId="{7CD043B0-6B74-4D9A-84AE-1D8FE229AAC4}" dt="2023-01-19T23:22:59.520" v="211"/>
          <ac:spMkLst>
            <pc:docMk/>
            <pc:sldMk cId="1490095266" sldId="2492"/>
            <ac:spMk id="38" creationId="{3F258244-3856-AB2A-DA4E-B8624A9FDD34}"/>
          </ac:spMkLst>
        </pc:spChg>
        <pc:spChg chg="add mod">
          <ac:chgData name="Aurelien Domont" userId="6da7715ce44349b3" providerId="LiveId" clId="{7CD043B0-6B74-4D9A-84AE-1D8FE229AAC4}" dt="2023-01-19T23:22:59.520" v="211"/>
          <ac:spMkLst>
            <pc:docMk/>
            <pc:sldMk cId="1490095266" sldId="2492"/>
            <ac:spMk id="39" creationId="{05B700F5-C757-A3AA-EBBA-0638944D3B7D}"/>
          </ac:spMkLst>
        </pc:spChg>
        <pc:spChg chg="add mod">
          <ac:chgData name="Aurelien Domont" userId="6da7715ce44349b3" providerId="LiveId" clId="{7CD043B0-6B74-4D9A-84AE-1D8FE229AAC4}" dt="2023-01-19T23:22:59.520" v="211"/>
          <ac:spMkLst>
            <pc:docMk/>
            <pc:sldMk cId="1490095266" sldId="2492"/>
            <ac:spMk id="40" creationId="{7F32C7C8-49DC-2415-B348-48729C14C066}"/>
          </ac:spMkLst>
        </pc:spChg>
        <pc:spChg chg="add mod">
          <ac:chgData name="Aurelien Domont" userId="6da7715ce44349b3" providerId="LiveId" clId="{7CD043B0-6B74-4D9A-84AE-1D8FE229AAC4}" dt="2023-01-19T23:22:59.520" v="211"/>
          <ac:spMkLst>
            <pc:docMk/>
            <pc:sldMk cId="1490095266" sldId="2492"/>
            <ac:spMk id="46" creationId="{E63314D7-53B9-3334-917D-A560C4D3B7CD}"/>
          </ac:spMkLst>
        </pc:spChg>
        <pc:spChg chg="add mod">
          <ac:chgData name="Aurelien Domont" userId="6da7715ce44349b3" providerId="LiveId" clId="{7CD043B0-6B74-4D9A-84AE-1D8FE229AAC4}" dt="2023-01-19T23:22:59.520" v="211"/>
          <ac:spMkLst>
            <pc:docMk/>
            <pc:sldMk cId="1490095266" sldId="2492"/>
            <ac:spMk id="47" creationId="{DFB2DBF4-AE9D-91A6-D24B-BC44E5F94D03}"/>
          </ac:spMkLst>
        </pc:spChg>
        <pc:spChg chg="add mod">
          <ac:chgData name="Aurelien Domont" userId="6da7715ce44349b3" providerId="LiveId" clId="{7CD043B0-6B74-4D9A-84AE-1D8FE229AAC4}" dt="2023-01-19T23:22:59.520" v="211"/>
          <ac:spMkLst>
            <pc:docMk/>
            <pc:sldMk cId="1490095266" sldId="2492"/>
            <ac:spMk id="48" creationId="{28FC8626-8CD2-23BE-080A-7BE9EEA119CF}"/>
          </ac:spMkLst>
        </pc:spChg>
        <pc:spChg chg="add mod">
          <ac:chgData name="Aurelien Domont" userId="6da7715ce44349b3" providerId="LiveId" clId="{7CD043B0-6B74-4D9A-84AE-1D8FE229AAC4}" dt="2023-01-19T23:22:59.520" v="211"/>
          <ac:spMkLst>
            <pc:docMk/>
            <pc:sldMk cId="1490095266" sldId="2492"/>
            <ac:spMk id="49" creationId="{7E5B0682-06A8-603B-86C3-6970A955237F}"/>
          </ac:spMkLst>
        </pc:spChg>
        <pc:spChg chg="add mod">
          <ac:chgData name="Aurelien Domont" userId="6da7715ce44349b3" providerId="LiveId" clId="{7CD043B0-6B74-4D9A-84AE-1D8FE229AAC4}" dt="2023-01-19T23:22:59.520" v="211"/>
          <ac:spMkLst>
            <pc:docMk/>
            <pc:sldMk cId="1490095266" sldId="2492"/>
            <ac:spMk id="50" creationId="{36BE59B2-3958-F539-B57F-0A5B0697FE44}"/>
          </ac:spMkLst>
        </pc:spChg>
        <pc:spChg chg="add mod">
          <ac:chgData name="Aurelien Domont" userId="6da7715ce44349b3" providerId="LiveId" clId="{7CD043B0-6B74-4D9A-84AE-1D8FE229AAC4}" dt="2023-01-19T23:22:59.520" v="211"/>
          <ac:spMkLst>
            <pc:docMk/>
            <pc:sldMk cId="1490095266" sldId="2492"/>
            <ac:spMk id="51" creationId="{70ED6451-60BA-AF24-CD2C-F1BBA5727F57}"/>
          </ac:spMkLst>
        </pc:spChg>
        <pc:spChg chg="add mod">
          <ac:chgData name="Aurelien Domont" userId="6da7715ce44349b3" providerId="LiveId" clId="{7CD043B0-6B74-4D9A-84AE-1D8FE229AAC4}" dt="2023-01-19T23:22:59.520" v="211"/>
          <ac:spMkLst>
            <pc:docMk/>
            <pc:sldMk cId="1490095266" sldId="2492"/>
            <ac:spMk id="52" creationId="{4CCD5F4D-6247-EF75-E4EC-5FCC89D981DB}"/>
          </ac:spMkLst>
        </pc:spChg>
        <pc:spChg chg="add mod">
          <ac:chgData name="Aurelien Domont" userId="6da7715ce44349b3" providerId="LiveId" clId="{7CD043B0-6B74-4D9A-84AE-1D8FE229AAC4}" dt="2023-01-19T23:22:59.520" v="211"/>
          <ac:spMkLst>
            <pc:docMk/>
            <pc:sldMk cId="1490095266" sldId="2492"/>
            <ac:spMk id="53" creationId="{81CB52B2-F712-1CE8-7EFF-CCB31278CA49}"/>
          </ac:spMkLst>
        </pc:spChg>
        <pc:spChg chg="add mod">
          <ac:chgData name="Aurelien Domont" userId="6da7715ce44349b3" providerId="LiveId" clId="{7CD043B0-6B74-4D9A-84AE-1D8FE229AAC4}" dt="2023-01-19T23:22:59.520" v="211"/>
          <ac:spMkLst>
            <pc:docMk/>
            <pc:sldMk cId="1490095266" sldId="2492"/>
            <ac:spMk id="55" creationId="{4E835471-97DB-B61E-669C-F8B977EED552}"/>
          </ac:spMkLst>
        </pc:spChg>
        <pc:spChg chg="add mod">
          <ac:chgData name="Aurelien Domont" userId="6da7715ce44349b3" providerId="LiveId" clId="{7CD043B0-6B74-4D9A-84AE-1D8FE229AAC4}" dt="2023-01-19T23:22:59.520" v="211"/>
          <ac:spMkLst>
            <pc:docMk/>
            <pc:sldMk cId="1490095266" sldId="2492"/>
            <ac:spMk id="57" creationId="{B47DECBD-3793-7343-B127-E031B87B41B7}"/>
          </ac:spMkLst>
        </pc:spChg>
        <pc:spChg chg="add mod">
          <ac:chgData name="Aurelien Domont" userId="6da7715ce44349b3" providerId="LiveId" clId="{7CD043B0-6B74-4D9A-84AE-1D8FE229AAC4}" dt="2023-01-20T02:49:29.904" v="2119"/>
          <ac:spMkLst>
            <pc:docMk/>
            <pc:sldMk cId="1490095266" sldId="2492"/>
            <ac:spMk id="58" creationId="{97A0E926-F7F4-59B0-7FDB-A7F965D83D86}"/>
          </ac:spMkLst>
        </pc:spChg>
        <pc:spChg chg="add mod">
          <ac:chgData name="Aurelien Domont" userId="6da7715ce44349b3" providerId="LiveId" clId="{7CD043B0-6B74-4D9A-84AE-1D8FE229AAC4}" dt="2023-01-20T03:57:13.897" v="3083"/>
          <ac:spMkLst>
            <pc:docMk/>
            <pc:sldMk cId="1490095266" sldId="2492"/>
            <ac:spMk id="59" creationId="{14A36C16-D987-5C4B-F091-94F12BF73D80}"/>
          </ac:spMkLst>
        </pc:spChg>
        <pc:spChg chg="add mod">
          <ac:chgData name="Aurelien Domont" userId="6da7715ce44349b3" providerId="LiveId" clId="{7CD043B0-6B74-4D9A-84AE-1D8FE229AAC4}" dt="2023-01-19T23:22:59.520" v="211"/>
          <ac:spMkLst>
            <pc:docMk/>
            <pc:sldMk cId="1490095266" sldId="2492"/>
            <ac:spMk id="60" creationId="{1011CAB0-21BA-CE80-5E8D-F04CD2373F28}"/>
          </ac:spMkLst>
        </pc:spChg>
        <pc:spChg chg="add mod">
          <ac:chgData name="Aurelien Domont" userId="6da7715ce44349b3" providerId="LiveId" clId="{7CD043B0-6B74-4D9A-84AE-1D8FE229AAC4}" dt="2023-01-19T23:22:59.520" v="211"/>
          <ac:spMkLst>
            <pc:docMk/>
            <pc:sldMk cId="1490095266" sldId="2492"/>
            <ac:spMk id="61" creationId="{E685269E-1995-8E5E-916A-F488F05946CF}"/>
          </ac:spMkLst>
        </pc:spChg>
        <pc:spChg chg="add mod">
          <ac:chgData name="Aurelien Domont" userId="6da7715ce44349b3" providerId="LiveId" clId="{7CD043B0-6B74-4D9A-84AE-1D8FE229AAC4}" dt="2023-01-19T23:22:59.520" v="211"/>
          <ac:spMkLst>
            <pc:docMk/>
            <pc:sldMk cId="1490095266" sldId="2492"/>
            <ac:spMk id="62" creationId="{2C622F3A-F24C-6B8D-F7DF-2F064F6CCB59}"/>
          </ac:spMkLst>
        </pc:spChg>
        <pc:spChg chg="add mod">
          <ac:chgData name="Aurelien Domont" userId="6da7715ce44349b3" providerId="LiveId" clId="{7CD043B0-6B74-4D9A-84AE-1D8FE229AAC4}" dt="2023-01-19T23:22:59.520" v="211"/>
          <ac:spMkLst>
            <pc:docMk/>
            <pc:sldMk cId="1490095266" sldId="2492"/>
            <ac:spMk id="63" creationId="{C1D64BF6-FE81-5E07-0242-995FEE8D6541}"/>
          </ac:spMkLst>
        </pc:spChg>
        <pc:spChg chg="add mod">
          <ac:chgData name="Aurelien Domont" userId="6da7715ce44349b3" providerId="LiveId" clId="{7CD043B0-6B74-4D9A-84AE-1D8FE229AAC4}" dt="2023-01-19T23:29:17.724" v="364"/>
          <ac:spMkLst>
            <pc:docMk/>
            <pc:sldMk cId="1490095266" sldId="2492"/>
            <ac:spMk id="64" creationId="{21F11E2D-F30A-DD1C-316F-A6831590AE32}"/>
          </ac:spMkLst>
        </pc:spChg>
        <pc:picChg chg="del">
          <ac:chgData name="Aurelien Domont" userId="6da7715ce44349b3" providerId="LiveId" clId="{7CD043B0-6B74-4D9A-84AE-1D8FE229AAC4}" dt="2023-01-19T23:22:58.970" v="210" actId="478"/>
          <ac:picMkLst>
            <pc:docMk/>
            <pc:sldMk cId="1490095266" sldId="2492"/>
            <ac:picMk id="5" creationId="{B591932E-445E-4FC6-BA49-B391B8DCAC7A}"/>
          </ac:picMkLst>
        </pc:picChg>
        <pc:picChg chg="del">
          <ac:chgData name="Aurelien Domont" userId="6da7715ce44349b3" providerId="LiveId" clId="{7CD043B0-6B74-4D9A-84AE-1D8FE229AAC4}" dt="2023-01-19T23:22:58.970" v="210" actId="478"/>
          <ac:picMkLst>
            <pc:docMk/>
            <pc:sldMk cId="1490095266" sldId="2492"/>
            <ac:picMk id="7" creationId="{F8BDF65F-C179-4D90-9DAF-9A04B8C11C0C}"/>
          </ac:picMkLst>
        </pc:picChg>
        <pc:picChg chg="del">
          <ac:chgData name="Aurelien Domont" userId="6da7715ce44349b3" providerId="LiveId" clId="{7CD043B0-6B74-4D9A-84AE-1D8FE229AAC4}" dt="2023-01-19T23:22:58.970" v="210" actId="478"/>
          <ac:picMkLst>
            <pc:docMk/>
            <pc:sldMk cId="1490095266" sldId="2492"/>
            <ac:picMk id="24" creationId="{D2DB75A5-E17D-431C-A54A-40A06ADDBEF3}"/>
          </ac:picMkLst>
        </pc:picChg>
        <pc:picChg chg="del">
          <ac:chgData name="Aurelien Domont" userId="6da7715ce44349b3" providerId="LiveId" clId="{7CD043B0-6B74-4D9A-84AE-1D8FE229AAC4}" dt="2023-01-19T23:22:58.970" v="210" actId="478"/>
          <ac:picMkLst>
            <pc:docMk/>
            <pc:sldMk cId="1490095266" sldId="2492"/>
            <ac:picMk id="25" creationId="{86024EC3-117C-470E-8D6A-4C9B8B7C4E90}"/>
          </ac:picMkLst>
        </pc:picChg>
        <pc:picChg chg="del">
          <ac:chgData name="Aurelien Domont" userId="6da7715ce44349b3" providerId="LiveId" clId="{7CD043B0-6B74-4D9A-84AE-1D8FE229AAC4}" dt="2023-01-19T23:22:58.970" v="210" actId="478"/>
          <ac:picMkLst>
            <pc:docMk/>
            <pc:sldMk cId="1490095266" sldId="2492"/>
            <ac:picMk id="30" creationId="{39260E92-FADF-4076-9052-5C1B0040ACAE}"/>
          </ac:picMkLst>
        </pc:picChg>
        <pc:picChg chg="add mod">
          <ac:chgData name="Aurelien Domont" userId="6da7715ce44349b3" providerId="LiveId" clId="{7CD043B0-6B74-4D9A-84AE-1D8FE229AAC4}" dt="2023-01-19T23:22:59.520" v="211"/>
          <ac:picMkLst>
            <pc:docMk/>
            <pc:sldMk cId="1490095266" sldId="2492"/>
            <ac:picMk id="41" creationId="{F2E98008-A9E4-1240-2587-154A26FFBB3A}"/>
          </ac:picMkLst>
        </pc:picChg>
        <pc:picChg chg="add mod">
          <ac:chgData name="Aurelien Domont" userId="6da7715ce44349b3" providerId="LiveId" clId="{7CD043B0-6B74-4D9A-84AE-1D8FE229AAC4}" dt="2023-01-19T23:22:59.520" v="211"/>
          <ac:picMkLst>
            <pc:docMk/>
            <pc:sldMk cId="1490095266" sldId="2492"/>
            <ac:picMk id="42" creationId="{8A367243-1E35-AC63-D12F-C3F71E4CC38A}"/>
          </ac:picMkLst>
        </pc:picChg>
        <pc:picChg chg="add mod">
          <ac:chgData name="Aurelien Domont" userId="6da7715ce44349b3" providerId="LiveId" clId="{7CD043B0-6B74-4D9A-84AE-1D8FE229AAC4}" dt="2023-01-19T23:22:59.520" v="211"/>
          <ac:picMkLst>
            <pc:docMk/>
            <pc:sldMk cId="1490095266" sldId="2492"/>
            <ac:picMk id="43" creationId="{59FA7D5D-B0D5-EE6C-B320-986C41E2AAF7}"/>
          </ac:picMkLst>
        </pc:picChg>
        <pc:picChg chg="add mod">
          <ac:chgData name="Aurelien Domont" userId="6da7715ce44349b3" providerId="LiveId" clId="{7CD043B0-6B74-4D9A-84AE-1D8FE229AAC4}" dt="2023-01-19T23:22:59.520" v="211"/>
          <ac:picMkLst>
            <pc:docMk/>
            <pc:sldMk cId="1490095266" sldId="2492"/>
            <ac:picMk id="44" creationId="{FB963DBA-2660-90C3-F1FE-FD032A2CAA7A}"/>
          </ac:picMkLst>
        </pc:picChg>
        <pc:picChg chg="add mod">
          <ac:chgData name="Aurelien Domont" userId="6da7715ce44349b3" providerId="LiveId" clId="{7CD043B0-6B74-4D9A-84AE-1D8FE229AAC4}" dt="2023-01-19T23:22:59.520" v="211"/>
          <ac:picMkLst>
            <pc:docMk/>
            <pc:sldMk cId="1490095266" sldId="2492"/>
            <ac:picMk id="45" creationId="{BFF25BE3-17A8-D536-416C-1A13FE52B889}"/>
          </ac:picMkLst>
        </pc:picChg>
        <pc:cxnChg chg="del">
          <ac:chgData name="Aurelien Domont" userId="6da7715ce44349b3" providerId="LiveId" clId="{7CD043B0-6B74-4D9A-84AE-1D8FE229AAC4}" dt="2023-01-19T23:22:58.970" v="210" actId="478"/>
          <ac:cxnSpMkLst>
            <pc:docMk/>
            <pc:sldMk cId="1490095266" sldId="2492"/>
            <ac:cxnSpMk id="15" creationId="{2F1CB0CC-174D-DC9F-858B-0C02A80273D2}"/>
          </ac:cxnSpMkLst>
        </pc:cxnChg>
        <pc:cxnChg chg="del">
          <ac:chgData name="Aurelien Domont" userId="6da7715ce44349b3" providerId="LiveId" clId="{7CD043B0-6B74-4D9A-84AE-1D8FE229AAC4}" dt="2023-01-19T23:22:58.970" v="210" actId="478"/>
          <ac:cxnSpMkLst>
            <pc:docMk/>
            <pc:sldMk cId="1490095266" sldId="2492"/>
            <ac:cxnSpMk id="18" creationId="{9F678C74-3F31-06E3-3984-42342FEDB37D}"/>
          </ac:cxnSpMkLst>
        </pc:cxnChg>
        <pc:cxnChg chg="add mod">
          <ac:chgData name="Aurelien Domont" userId="6da7715ce44349b3" providerId="LiveId" clId="{7CD043B0-6B74-4D9A-84AE-1D8FE229AAC4}" dt="2023-01-19T23:22:59.520" v="211"/>
          <ac:cxnSpMkLst>
            <pc:docMk/>
            <pc:sldMk cId="1490095266" sldId="2492"/>
            <ac:cxnSpMk id="54" creationId="{4A5DA247-0D16-A527-A52B-4DA6DF86B2EF}"/>
          </ac:cxnSpMkLst>
        </pc:cxnChg>
        <pc:cxnChg chg="add mod">
          <ac:chgData name="Aurelien Domont" userId="6da7715ce44349b3" providerId="LiveId" clId="{7CD043B0-6B74-4D9A-84AE-1D8FE229AAC4}" dt="2023-01-19T23:22:59.520" v="211"/>
          <ac:cxnSpMkLst>
            <pc:docMk/>
            <pc:sldMk cId="1490095266" sldId="2492"/>
            <ac:cxnSpMk id="56" creationId="{3B5D8536-9235-DC17-8048-F1F0A38DA3AA}"/>
          </ac:cxnSpMkLst>
        </pc:cxnChg>
      </pc:sldChg>
      <pc:sldChg chg="addSp delSp modSp mod">
        <pc:chgData name="Aurelien Domont" userId="6da7715ce44349b3" providerId="LiveId" clId="{7CD043B0-6B74-4D9A-84AE-1D8FE229AAC4}" dt="2023-01-20T03:57:13.897" v="3083"/>
        <pc:sldMkLst>
          <pc:docMk/>
          <pc:sldMk cId="807404470" sldId="2493"/>
        </pc:sldMkLst>
        <pc:spChg chg="add mod">
          <ac:chgData name="Aurelien Domont" userId="6da7715ce44349b3" providerId="LiveId" clId="{7CD043B0-6B74-4D9A-84AE-1D8FE229AAC4}" dt="2023-01-20T03:46:26.278" v="2995"/>
          <ac:spMkLst>
            <pc:docMk/>
            <pc:sldMk cId="807404470" sldId="2493"/>
            <ac:spMk id="2" creationId="{24E97F86-EEA2-FBE3-CFA4-443A5505286D}"/>
          </ac:spMkLst>
        </pc:spChg>
        <pc:spChg chg="del">
          <ac:chgData name="Aurelien Domont" userId="6da7715ce44349b3" providerId="LiveId" clId="{7CD043B0-6B74-4D9A-84AE-1D8FE229AAC4}" dt="2023-01-19T23:12:24.165" v="117" actId="478"/>
          <ac:spMkLst>
            <pc:docMk/>
            <pc:sldMk cId="807404470" sldId="2493"/>
            <ac:spMk id="2" creationId="{C80C9E7D-AC47-08CE-AE6D-8369C61020CF}"/>
          </ac:spMkLst>
        </pc:spChg>
        <pc:spChg chg="del">
          <ac:chgData name="Aurelien Domont" userId="6da7715ce44349b3" providerId="LiveId" clId="{7CD043B0-6B74-4D9A-84AE-1D8FE229AAC4}" dt="2023-01-19T23:23:09.050" v="213" actId="478"/>
          <ac:spMkLst>
            <pc:docMk/>
            <pc:sldMk cId="807404470" sldId="2493"/>
            <ac:spMk id="4" creationId="{DFDABEBC-4CDA-DE67-F7EF-3C9B292D3796}"/>
          </ac:spMkLst>
        </pc:spChg>
        <pc:spChg chg="del mod">
          <ac:chgData name="Aurelien Domont" userId="6da7715ce44349b3" providerId="LiveId" clId="{7CD043B0-6B74-4D9A-84AE-1D8FE229AAC4}" dt="2023-01-19T23:23:09.050" v="213" actId="478"/>
          <ac:spMkLst>
            <pc:docMk/>
            <pc:sldMk cId="807404470" sldId="2493"/>
            <ac:spMk id="6" creationId="{2EE7932B-CD5C-F3C9-D512-3646C12FE601}"/>
          </ac:spMkLst>
        </pc:spChg>
        <pc:spChg chg="del">
          <ac:chgData name="Aurelien Domont" userId="6da7715ce44349b3" providerId="LiveId" clId="{7CD043B0-6B74-4D9A-84AE-1D8FE229AAC4}" dt="2023-01-19T23:23:09.050" v="213" actId="478"/>
          <ac:spMkLst>
            <pc:docMk/>
            <pc:sldMk cId="807404470" sldId="2493"/>
            <ac:spMk id="8" creationId="{72A52A59-2B0C-B438-B79F-EAD1EBFD5A88}"/>
          </ac:spMkLst>
        </pc:spChg>
        <pc:spChg chg="del">
          <ac:chgData name="Aurelien Domont" userId="6da7715ce44349b3" providerId="LiveId" clId="{7CD043B0-6B74-4D9A-84AE-1D8FE229AAC4}" dt="2023-01-19T23:23:09.050" v="213" actId="478"/>
          <ac:spMkLst>
            <pc:docMk/>
            <pc:sldMk cId="807404470" sldId="2493"/>
            <ac:spMk id="9" creationId="{0F4B39A0-2803-47D9-93AE-F99798C91F06}"/>
          </ac:spMkLst>
        </pc:spChg>
        <pc:spChg chg="del">
          <ac:chgData name="Aurelien Domont" userId="6da7715ce44349b3" providerId="LiveId" clId="{7CD043B0-6B74-4D9A-84AE-1D8FE229AAC4}" dt="2023-01-19T23:23:09.050" v="213" actId="478"/>
          <ac:spMkLst>
            <pc:docMk/>
            <pc:sldMk cId="807404470" sldId="2493"/>
            <ac:spMk id="10" creationId="{52524284-CA7D-416E-ADDB-CAB7040B62C4}"/>
          </ac:spMkLst>
        </pc:spChg>
        <pc:spChg chg="del">
          <ac:chgData name="Aurelien Domont" userId="6da7715ce44349b3" providerId="LiveId" clId="{7CD043B0-6B74-4D9A-84AE-1D8FE229AAC4}" dt="2023-01-19T23:23:09.050" v="213" actId="478"/>
          <ac:spMkLst>
            <pc:docMk/>
            <pc:sldMk cId="807404470" sldId="2493"/>
            <ac:spMk id="11" creationId="{DCA1B29F-4AB2-4DAE-B498-BC74026B1DDA}"/>
          </ac:spMkLst>
        </pc:spChg>
        <pc:spChg chg="del">
          <ac:chgData name="Aurelien Domont" userId="6da7715ce44349b3" providerId="LiveId" clId="{7CD043B0-6B74-4D9A-84AE-1D8FE229AAC4}" dt="2023-01-19T23:23:09.050" v="213" actId="478"/>
          <ac:spMkLst>
            <pc:docMk/>
            <pc:sldMk cId="807404470" sldId="2493"/>
            <ac:spMk id="12" creationId="{B9BBA604-AEF4-4807-AD42-75399F0043F4}"/>
          </ac:spMkLst>
        </pc:spChg>
        <pc:spChg chg="del">
          <ac:chgData name="Aurelien Domont" userId="6da7715ce44349b3" providerId="LiveId" clId="{7CD043B0-6B74-4D9A-84AE-1D8FE229AAC4}" dt="2023-01-19T23:23:09.050" v="213" actId="478"/>
          <ac:spMkLst>
            <pc:docMk/>
            <pc:sldMk cId="807404470" sldId="2493"/>
            <ac:spMk id="14" creationId="{43224BB0-1C51-DFBB-5B34-D3B6408426E1}"/>
          </ac:spMkLst>
        </pc:spChg>
        <pc:spChg chg="del">
          <ac:chgData name="Aurelien Domont" userId="6da7715ce44349b3" providerId="LiveId" clId="{7CD043B0-6B74-4D9A-84AE-1D8FE229AAC4}" dt="2023-01-19T23:23:09.050" v="213" actId="478"/>
          <ac:spMkLst>
            <pc:docMk/>
            <pc:sldMk cId="807404470" sldId="2493"/>
            <ac:spMk id="17" creationId="{8C9A6BE3-F866-232F-A05A-29749A83B1CF}"/>
          </ac:spMkLst>
        </pc:spChg>
        <pc:spChg chg="del">
          <ac:chgData name="Aurelien Domont" userId="6da7715ce44349b3" providerId="LiveId" clId="{7CD043B0-6B74-4D9A-84AE-1D8FE229AAC4}" dt="2023-01-19T23:23:09.050" v="213" actId="478"/>
          <ac:spMkLst>
            <pc:docMk/>
            <pc:sldMk cId="807404470" sldId="2493"/>
            <ac:spMk id="19" creationId="{C6EB7CDE-7F94-BEF9-CB99-7B3D90C68209}"/>
          </ac:spMkLst>
        </pc:spChg>
        <pc:spChg chg="del">
          <ac:chgData name="Aurelien Domont" userId="6da7715ce44349b3" providerId="LiveId" clId="{7CD043B0-6B74-4D9A-84AE-1D8FE229AAC4}" dt="2023-01-19T23:23:09.050" v="213" actId="478"/>
          <ac:spMkLst>
            <pc:docMk/>
            <pc:sldMk cId="807404470" sldId="2493"/>
            <ac:spMk id="20" creationId="{943B90E0-B674-6878-C4CE-C84145B92770}"/>
          </ac:spMkLst>
        </pc:spChg>
        <pc:spChg chg="del">
          <ac:chgData name="Aurelien Domont" userId="6da7715ce44349b3" providerId="LiveId" clId="{7CD043B0-6B74-4D9A-84AE-1D8FE229AAC4}" dt="2023-01-19T23:23:09.050" v="213" actId="478"/>
          <ac:spMkLst>
            <pc:docMk/>
            <pc:sldMk cId="807404470" sldId="2493"/>
            <ac:spMk id="21" creationId="{65195D31-8CD1-9CAD-EDAB-5DC5BCEFF793}"/>
          </ac:spMkLst>
        </pc:spChg>
        <pc:spChg chg="del">
          <ac:chgData name="Aurelien Domont" userId="6da7715ce44349b3" providerId="LiveId" clId="{7CD043B0-6B74-4D9A-84AE-1D8FE229AAC4}" dt="2023-01-19T23:23:09.050" v="213" actId="478"/>
          <ac:spMkLst>
            <pc:docMk/>
            <pc:sldMk cId="807404470" sldId="2493"/>
            <ac:spMk id="22" creationId="{8664D20B-2002-4C9F-A94C-AB6D33819DF8}"/>
          </ac:spMkLst>
        </pc:spChg>
        <pc:spChg chg="del">
          <ac:chgData name="Aurelien Domont" userId="6da7715ce44349b3" providerId="LiveId" clId="{7CD043B0-6B74-4D9A-84AE-1D8FE229AAC4}" dt="2023-01-19T23:23:09.050" v="213" actId="478"/>
          <ac:spMkLst>
            <pc:docMk/>
            <pc:sldMk cId="807404470" sldId="2493"/>
            <ac:spMk id="23" creationId="{93DA698C-3A69-9CB5-3F74-216F16D103FC}"/>
          </ac:spMkLst>
        </pc:spChg>
        <pc:spChg chg="del">
          <ac:chgData name="Aurelien Domont" userId="6da7715ce44349b3" providerId="LiveId" clId="{7CD043B0-6B74-4D9A-84AE-1D8FE229AAC4}" dt="2023-01-19T23:23:09.050" v="213" actId="478"/>
          <ac:spMkLst>
            <pc:docMk/>
            <pc:sldMk cId="807404470" sldId="2493"/>
            <ac:spMk id="26" creationId="{60AA3177-69A2-8959-DB8F-FDAAC70C5894}"/>
          </ac:spMkLst>
        </pc:spChg>
        <pc:spChg chg="del">
          <ac:chgData name="Aurelien Domont" userId="6da7715ce44349b3" providerId="LiveId" clId="{7CD043B0-6B74-4D9A-84AE-1D8FE229AAC4}" dt="2023-01-19T23:23:09.050" v="213" actId="478"/>
          <ac:spMkLst>
            <pc:docMk/>
            <pc:sldMk cId="807404470" sldId="2493"/>
            <ac:spMk id="27" creationId="{54BC1734-C961-49B3-BBCE-81BBEF3EFD1B}"/>
          </ac:spMkLst>
        </pc:spChg>
        <pc:spChg chg="del">
          <ac:chgData name="Aurelien Domont" userId="6da7715ce44349b3" providerId="LiveId" clId="{7CD043B0-6B74-4D9A-84AE-1D8FE229AAC4}" dt="2023-01-19T23:23:09.050" v="213" actId="478"/>
          <ac:spMkLst>
            <pc:docMk/>
            <pc:sldMk cId="807404470" sldId="2493"/>
            <ac:spMk id="28" creationId="{84AA7505-5048-31BF-7E45-224CBD648139}"/>
          </ac:spMkLst>
        </pc:spChg>
        <pc:spChg chg="del">
          <ac:chgData name="Aurelien Domont" userId="6da7715ce44349b3" providerId="LiveId" clId="{7CD043B0-6B74-4D9A-84AE-1D8FE229AAC4}" dt="2023-01-19T23:23:09.050" v="213" actId="478"/>
          <ac:spMkLst>
            <pc:docMk/>
            <pc:sldMk cId="807404470" sldId="2493"/>
            <ac:spMk id="29" creationId="{8F984EF8-19B2-4B5E-98EC-433CCE26E2A7}"/>
          </ac:spMkLst>
        </pc:spChg>
        <pc:spChg chg="del">
          <ac:chgData name="Aurelien Domont" userId="6da7715ce44349b3" providerId="LiveId" clId="{7CD043B0-6B74-4D9A-84AE-1D8FE229AAC4}" dt="2023-01-19T23:23:09.050" v="213" actId="478"/>
          <ac:spMkLst>
            <pc:docMk/>
            <pc:sldMk cId="807404470" sldId="2493"/>
            <ac:spMk id="31" creationId="{1C1B78F5-CE09-4A06-8F1D-30227B5D6E15}"/>
          </ac:spMkLst>
        </pc:spChg>
        <pc:spChg chg="del">
          <ac:chgData name="Aurelien Domont" userId="6da7715ce44349b3" providerId="LiveId" clId="{7CD043B0-6B74-4D9A-84AE-1D8FE229AAC4}" dt="2023-01-19T23:23:09.050" v="213" actId="478"/>
          <ac:spMkLst>
            <pc:docMk/>
            <pc:sldMk cId="807404470" sldId="2493"/>
            <ac:spMk id="32" creationId="{3BEF6079-F38C-4B82-B044-53A13155F334}"/>
          </ac:spMkLst>
        </pc:spChg>
        <pc:spChg chg="del">
          <ac:chgData name="Aurelien Domont" userId="6da7715ce44349b3" providerId="LiveId" clId="{7CD043B0-6B74-4D9A-84AE-1D8FE229AAC4}" dt="2023-01-19T23:23:09.050" v="213" actId="478"/>
          <ac:spMkLst>
            <pc:docMk/>
            <pc:sldMk cId="807404470" sldId="2493"/>
            <ac:spMk id="33" creationId="{8260BE05-FEA7-4631-88CD-752AC5C966BA}"/>
          </ac:spMkLst>
        </pc:spChg>
        <pc:spChg chg="del">
          <ac:chgData name="Aurelien Domont" userId="6da7715ce44349b3" providerId="LiveId" clId="{7CD043B0-6B74-4D9A-84AE-1D8FE229AAC4}" dt="2023-01-19T23:23:09.050" v="213" actId="478"/>
          <ac:spMkLst>
            <pc:docMk/>
            <pc:sldMk cId="807404470" sldId="2493"/>
            <ac:spMk id="34" creationId="{473B4042-51F1-41BD-8EDF-E03E66716A5A}"/>
          </ac:spMkLst>
        </pc:spChg>
        <pc:spChg chg="del">
          <ac:chgData name="Aurelien Domont" userId="6da7715ce44349b3" providerId="LiveId" clId="{7CD043B0-6B74-4D9A-84AE-1D8FE229AAC4}" dt="2023-01-19T23:23:09.050" v="213" actId="478"/>
          <ac:spMkLst>
            <pc:docMk/>
            <pc:sldMk cId="807404470" sldId="2493"/>
            <ac:spMk id="35" creationId="{64C38490-8643-4DBA-8D8B-54C587ECA10D}"/>
          </ac:spMkLst>
        </pc:spChg>
        <pc:spChg chg="del">
          <ac:chgData name="Aurelien Domont" userId="6da7715ce44349b3" providerId="LiveId" clId="{7CD043B0-6B74-4D9A-84AE-1D8FE229AAC4}" dt="2023-01-19T23:23:09.050" v="213" actId="478"/>
          <ac:spMkLst>
            <pc:docMk/>
            <pc:sldMk cId="807404470" sldId="2493"/>
            <ac:spMk id="36" creationId="{66F38449-718A-4DDB-1755-5E28AC672730}"/>
          </ac:spMkLst>
        </pc:spChg>
        <pc:spChg chg="add mod">
          <ac:chgData name="Aurelien Domont" userId="6da7715ce44349b3" providerId="LiveId" clId="{7CD043B0-6B74-4D9A-84AE-1D8FE229AAC4}" dt="2023-01-19T23:23:14.696" v="215" actId="207"/>
          <ac:spMkLst>
            <pc:docMk/>
            <pc:sldMk cId="807404470" sldId="2493"/>
            <ac:spMk id="37" creationId="{4FF932B5-0172-8D7B-AAC0-BBD9B54B1B29}"/>
          </ac:spMkLst>
        </pc:spChg>
        <pc:spChg chg="add mod">
          <ac:chgData name="Aurelien Domont" userId="6da7715ce44349b3" providerId="LiveId" clId="{7CD043B0-6B74-4D9A-84AE-1D8FE229AAC4}" dt="2023-01-19T23:23:09.628" v="214"/>
          <ac:spMkLst>
            <pc:docMk/>
            <pc:sldMk cId="807404470" sldId="2493"/>
            <ac:spMk id="38" creationId="{439383D9-25CD-1FE7-1C6E-E98D4A6F6CEF}"/>
          </ac:spMkLst>
        </pc:spChg>
        <pc:spChg chg="add mod">
          <ac:chgData name="Aurelien Domont" userId="6da7715ce44349b3" providerId="LiveId" clId="{7CD043B0-6B74-4D9A-84AE-1D8FE229AAC4}" dt="2023-01-19T23:23:09.628" v="214"/>
          <ac:spMkLst>
            <pc:docMk/>
            <pc:sldMk cId="807404470" sldId="2493"/>
            <ac:spMk id="39" creationId="{58E523E7-77EB-DDEE-1729-E95DBA068009}"/>
          </ac:spMkLst>
        </pc:spChg>
        <pc:spChg chg="add mod">
          <ac:chgData name="Aurelien Domont" userId="6da7715ce44349b3" providerId="LiveId" clId="{7CD043B0-6B74-4D9A-84AE-1D8FE229AAC4}" dt="2023-01-19T23:23:09.628" v="214"/>
          <ac:spMkLst>
            <pc:docMk/>
            <pc:sldMk cId="807404470" sldId="2493"/>
            <ac:spMk id="40" creationId="{603E3248-A081-114E-6860-CE1755A4110E}"/>
          </ac:spMkLst>
        </pc:spChg>
        <pc:spChg chg="add mod">
          <ac:chgData name="Aurelien Domont" userId="6da7715ce44349b3" providerId="LiveId" clId="{7CD043B0-6B74-4D9A-84AE-1D8FE229AAC4}" dt="2023-01-19T23:23:09.628" v="214"/>
          <ac:spMkLst>
            <pc:docMk/>
            <pc:sldMk cId="807404470" sldId="2493"/>
            <ac:spMk id="41" creationId="{37E5E3B0-C14B-75FD-FAA8-E8B4173EF925}"/>
          </ac:spMkLst>
        </pc:spChg>
        <pc:spChg chg="add mod">
          <ac:chgData name="Aurelien Domont" userId="6da7715ce44349b3" providerId="LiveId" clId="{7CD043B0-6B74-4D9A-84AE-1D8FE229AAC4}" dt="2023-01-19T23:23:09.628" v="214"/>
          <ac:spMkLst>
            <pc:docMk/>
            <pc:sldMk cId="807404470" sldId="2493"/>
            <ac:spMk id="47" creationId="{61B126C6-A78C-6770-5D4F-BD2A2DC7C8A3}"/>
          </ac:spMkLst>
        </pc:spChg>
        <pc:spChg chg="add mod">
          <ac:chgData name="Aurelien Domont" userId="6da7715ce44349b3" providerId="LiveId" clId="{7CD043B0-6B74-4D9A-84AE-1D8FE229AAC4}" dt="2023-01-19T23:23:09.628" v="214"/>
          <ac:spMkLst>
            <pc:docMk/>
            <pc:sldMk cId="807404470" sldId="2493"/>
            <ac:spMk id="48" creationId="{6EEE43B3-A7DA-9EF4-0F62-3DB06C6CF80D}"/>
          </ac:spMkLst>
        </pc:spChg>
        <pc:spChg chg="add mod">
          <ac:chgData name="Aurelien Domont" userId="6da7715ce44349b3" providerId="LiveId" clId="{7CD043B0-6B74-4D9A-84AE-1D8FE229AAC4}" dt="2023-01-19T23:23:09.628" v="214"/>
          <ac:spMkLst>
            <pc:docMk/>
            <pc:sldMk cId="807404470" sldId="2493"/>
            <ac:spMk id="49" creationId="{1689A9D7-0037-AE54-C9C0-20A421CB4AC2}"/>
          </ac:spMkLst>
        </pc:spChg>
        <pc:spChg chg="add mod">
          <ac:chgData name="Aurelien Domont" userId="6da7715ce44349b3" providerId="LiveId" clId="{7CD043B0-6B74-4D9A-84AE-1D8FE229AAC4}" dt="2023-01-19T23:23:09.628" v="214"/>
          <ac:spMkLst>
            <pc:docMk/>
            <pc:sldMk cId="807404470" sldId="2493"/>
            <ac:spMk id="50" creationId="{200F08AB-786B-A8A2-67DF-30AF26BDC1BD}"/>
          </ac:spMkLst>
        </pc:spChg>
        <pc:spChg chg="add mod">
          <ac:chgData name="Aurelien Domont" userId="6da7715ce44349b3" providerId="LiveId" clId="{7CD043B0-6B74-4D9A-84AE-1D8FE229AAC4}" dt="2023-01-19T23:23:09.628" v="214"/>
          <ac:spMkLst>
            <pc:docMk/>
            <pc:sldMk cId="807404470" sldId="2493"/>
            <ac:spMk id="51" creationId="{B6C4BE18-9546-6F94-4B3D-AAD66C7176B6}"/>
          </ac:spMkLst>
        </pc:spChg>
        <pc:spChg chg="add mod">
          <ac:chgData name="Aurelien Domont" userId="6da7715ce44349b3" providerId="LiveId" clId="{7CD043B0-6B74-4D9A-84AE-1D8FE229AAC4}" dt="2023-01-19T23:23:09.628" v="214"/>
          <ac:spMkLst>
            <pc:docMk/>
            <pc:sldMk cId="807404470" sldId="2493"/>
            <ac:spMk id="52" creationId="{2C2D9C7F-0036-FDA0-0D39-654C04380A3B}"/>
          </ac:spMkLst>
        </pc:spChg>
        <pc:spChg chg="add mod">
          <ac:chgData name="Aurelien Domont" userId="6da7715ce44349b3" providerId="LiveId" clId="{7CD043B0-6B74-4D9A-84AE-1D8FE229AAC4}" dt="2023-01-19T23:23:09.628" v="214"/>
          <ac:spMkLst>
            <pc:docMk/>
            <pc:sldMk cId="807404470" sldId="2493"/>
            <ac:spMk id="53" creationId="{02C9684C-CEA5-BB10-1AC4-3F48F3E394EB}"/>
          </ac:spMkLst>
        </pc:spChg>
        <pc:spChg chg="add mod">
          <ac:chgData name="Aurelien Domont" userId="6da7715ce44349b3" providerId="LiveId" clId="{7CD043B0-6B74-4D9A-84AE-1D8FE229AAC4}" dt="2023-01-19T23:23:09.628" v="214"/>
          <ac:spMkLst>
            <pc:docMk/>
            <pc:sldMk cId="807404470" sldId="2493"/>
            <ac:spMk id="54" creationId="{30FF0F56-A256-17EA-DA40-E67EA35C3290}"/>
          </ac:spMkLst>
        </pc:spChg>
        <pc:spChg chg="add mod">
          <ac:chgData name="Aurelien Domont" userId="6da7715ce44349b3" providerId="LiveId" clId="{7CD043B0-6B74-4D9A-84AE-1D8FE229AAC4}" dt="2023-01-19T23:23:09.628" v="214"/>
          <ac:spMkLst>
            <pc:docMk/>
            <pc:sldMk cId="807404470" sldId="2493"/>
            <ac:spMk id="56" creationId="{F0E1C456-11D1-67B3-32F8-15905511718E}"/>
          </ac:spMkLst>
        </pc:spChg>
        <pc:spChg chg="add mod">
          <ac:chgData name="Aurelien Domont" userId="6da7715ce44349b3" providerId="LiveId" clId="{7CD043B0-6B74-4D9A-84AE-1D8FE229AAC4}" dt="2023-01-19T23:23:09.628" v="214"/>
          <ac:spMkLst>
            <pc:docMk/>
            <pc:sldMk cId="807404470" sldId="2493"/>
            <ac:spMk id="58" creationId="{7BD97899-5083-C31A-D26F-7FADDA5CDA46}"/>
          </ac:spMkLst>
        </pc:spChg>
        <pc:spChg chg="add mod">
          <ac:chgData name="Aurelien Domont" userId="6da7715ce44349b3" providerId="LiveId" clId="{7CD043B0-6B74-4D9A-84AE-1D8FE229AAC4}" dt="2023-01-20T02:49:29.904" v="2119"/>
          <ac:spMkLst>
            <pc:docMk/>
            <pc:sldMk cId="807404470" sldId="2493"/>
            <ac:spMk id="59" creationId="{ED9FA0FE-FD6F-D8EE-C734-DDECE6B41390}"/>
          </ac:spMkLst>
        </pc:spChg>
        <pc:spChg chg="add mod">
          <ac:chgData name="Aurelien Domont" userId="6da7715ce44349b3" providerId="LiveId" clId="{7CD043B0-6B74-4D9A-84AE-1D8FE229AAC4}" dt="2023-01-20T03:57:13.897" v="3083"/>
          <ac:spMkLst>
            <pc:docMk/>
            <pc:sldMk cId="807404470" sldId="2493"/>
            <ac:spMk id="60" creationId="{70012F14-6ACF-648B-A0C3-9831F28FCDD5}"/>
          </ac:spMkLst>
        </pc:spChg>
        <pc:spChg chg="add mod">
          <ac:chgData name="Aurelien Domont" userId="6da7715ce44349b3" providerId="LiveId" clId="{7CD043B0-6B74-4D9A-84AE-1D8FE229AAC4}" dt="2023-01-19T23:23:09.628" v="214"/>
          <ac:spMkLst>
            <pc:docMk/>
            <pc:sldMk cId="807404470" sldId="2493"/>
            <ac:spMk id="61" creationId="{F7F32859-9CC9-F267-CA1F-AC69E85AC8E7}"/>
          </ac:spMkLst>
        </pc:spChg>
        <pc:spChg chg="add mod">
          <ac:chgData name="Aurelien Domont" userId="6da7715ce44349b3" providerId="LiveId" clId="{7CD043B0-6B74-4D9A-84AE-1D8FE229AAC4}" dt="2023-01-19T23:23:09.628" v="214"/>
          <ac:spMkLst>
            <pc:docMk/>
            <pc:sldMk cId="807404470" sldId="2493"/>
            <ac:spMk id="62" creationId="{36609FB9-18D7-DC78-8EFC-6B39A4C71ABA}"/>
          </ac:spMkLst>
        </pc:spChg>
        <pc:spChg chg="add mod">
          <ac:chgData name="Aurelien Domont" userId="6da7715ce44349b3" providerId="LiveId" clId="{7CD043B0-6B74-4D9A-84AE-1D8FE229AAC4}" dt="2023-01-19T23:23:09.628" v="214"/>
          <ac:spMkLst>
            <pc:docMk/>
            <pc:sldMk cId="807404470" sldId="2493"/>
            <ac:spMk id="63" creationId="{97A3A726-74D8-4656-32E3-29F0CAA43313}"/>
          </ac:spMkLst>
        </pc:spChg>
        <pc:spChg chg="add mod">
          <ac:chgData name="Aurelien Domont" userId="6da7715ce44349b3" providerId="LiveId" clId="{7CD043B0-6B74-4D9A-84AE-1D8FE229AAC4}" dt="2023-01-19T23:23:09.628" v="214"/>
          <ac:spMkLst>
            <pc:docMk/>
            <pc:sldMk cId="807404470" sldId="2493"/>
            <ac:spMk id="64" creationId="{087C08FA-13CD-7984-F533-7290BF07B4E6}"/>
          </ac:spMkLst>
        </pc:spChg>
        <pc:spChg chg="add mod">
          <ac:chgData name="Aurelien Domont" userId="6da7715ce44349b3" providerId="LiveId" clId="{7CD043B0-6B74-4D9A-84AE-1D8FE229AAC4}" dt="2023-01-19T23:29:17.724" v="364"/>
          <ac:spMkLst>
            <pc:docMk/>
            <pc:sldMk cId="807404470" sldId="2493"/>
            <ac:spMk id="65" creationId="{4E68F974-9D19-CA25-389E-22C1414B946E}"/>
          </ac:spMkLst>
        </pc:spChg>
        <pc:spChg chg="add mod ord">
          <ac:chgData name="Aurelien Domont" userId="6da7715ce44349b3" providerId="LiveId" clId="{7CD043B0-6B74-4D9A-84AE-1D8FE229AAC4}" dt="2023-01-19T23:23:30.476" v="219" actId="167"/>
          <ac:spMkLst>
            <pc:docMk/>
            <pc:sldMk cId="807404470" sldId="2493"/>
            <ac:spMk id="66" creationId="{D2A8DFC7-27D0-2248-2089-0502807F476A}"/>
          </ac:spMkLst>
        </pc:spChg>
        <pc:picChg chg="del">
          <ac:chgData name="Aurelien Domont" userId="6da7715ce44349b3" providerId="LiveId" clId="{7CD043B0-6B74-4D9A-84AE-1D8FE229AAC4}" dt="2023-01-19T23:23:09.050" v="213" actId="478"/>
          <ac:picMkLst>
            <pc:docMk/>
            <pc:sldMk cId="807404470" sldId="2493"/>
            <ac:picMk id="5" creationId="{B591932E-445E-4FC6-BA49-B391B8DCAC7A}"/>
          </ac:picMkLst>
        </pc:picChg>
        <pc:picChg chg="del">
          <ac:chgData name="Aurelien Domont" userId="6da7715ce44349b3" providerId="LiveId" clId="{7CD043B0-6B74-4D9A-84AE-1D8FE229AAC4}" dt="2023-01-19T23:23:09.050" v="213" actId="478"/>
          <ac:picMkLst>
            <pc:docMk/>
            <pc:sldMk cId="807404470" sldId="2493"/>
            <ac:picMk id="7" creationId="{F8BDF65F-C179-4D90-9DAF-9A04B8C11C0C}"/>
          </ac:picMkLst>
        </pc:picChg>
        <pc:picChg chg="del">
          <ac:chgData name="Aurelien Domont" userId="6da7715ce44349b3" providerId="LiveId" clId="{7CD043B0-6B74-4D9A-84AE-1D8FE229AAC4}" dt="2023-01-19T23:23:09.050" v="213" actId="478"/>
          <ac:picMkLst>
            <pc:docMk/>
            <pc:sldMk cId="807404470" sldId="2493"/>
            <ac:picMk id="24" creationId="{D2DB75A5-E17D-431C-A54A-40A06ADDBEF3}"/>
          </ac:picMkLst>
        </pc:picChg>
        <pc:picChg chg="del">
          <ac:chgData name="Aurelien Domont" userId="6da7715ce44349b3" providerId="LiveId" clId="{7CD043B0-6B74-4D9A-84AE-1D8FE229AAC4}" dt="2023-01-19T23:23:09.050" v="213" actId="478"/>
          <ac:picMkLst>
            <pc:docMk/>
            <pc:sldMk cId="807404470" sldId="2493"/>
            <ac:picMk id="25" creationId="{86024EC3-117C-470E-8D6A-4C9B8B7C4E90}"/>
          </ac:picMkLst>
        </pc:picChg>
        <pc:picChg chg="del">
          <ac:chgData name="Aurelien Domont" userId="6da7715ce44349b3" providerId="LiveId" clId="{7CD043B0-6B74-4D9A-84AE-1D8FE229AAC4}" dt="2023-01-19T23:23:09.050" v="213" actId="478"/>
          <ac:picMkLst>
            <pc:docMk/>
            <pc:sldMk cId="807404470" sldId="2493"/>
            <ac:picMk id="30" creationId="{39260E92-FADF-4076-9052-5C1B0040ACAE}"/>
          </ac:picMkLst>
        </pc:picChg>
        <pc:picChg chg="add mod">
          <ac:chgData name="Aurelien Domont" userId="6da7715ce44349b3" providerId="LiveId" clId="{7CD043B0-6B74-4D9A-84AE-1D8FE229AAC4}" dt="2023-01-19T23:23:09.628" v="214"/>
          <ac:picMkLst>
            <pc:docMk/>
            <pc:sldMk cId="807404470" sldId="2493"/>
            <ac:picMk id="42" creationId="{2C5E80BA-A342-E382-15EF-7319B3B45A16}"/>
          </ac:picMkLst>
        </pc:picChg>
        <pc:picChg chg="add mod">
          <ac:chgData name="Aurelien Domont" userId="6da7715ce44349b3" providerId="LiveId" clId="{7CD043B0-6B74-4D9A-84AE-1D8FE229AAC4}" dt="2023-01-19T23:23:09.628" v="214"/>
          <ac:picMkLst>
            <pc:docMk/>
            <pc:sldMk cId="807404470" sldId="2493"/>
            <ac:picMk id="43" creationId="{981E2B55-FD6B-5161-5D97-7E236E46AE66}"/>
          </ac:picMkLst>
        </pc:picChg>
        <pc:picChg chg="add mod">
          <ac:chgData name="Aurelien Domont" userId="6da7715ce44349b3" providerId="LiveId" clId="{7CD043B0-6B74-4D9A-84AE-1D8FE229AAC4}" dt="2023-01-19T23:23:09.628" v="214"/>
          <ac:picMkLst>
            <pc:docMk/>
            <pc:sldMk cId="807404470" sldId="2493"/>
            <ac:picMk id="44" creationId="{E4C243F5-50C7-CBF2-D333-AE98352BD826}"/>
          </ac:picMkLst>
        </pc:picChg>
        <pc:picChg chg="add mod">
          <ac:chgData name="Aurelien Domont" userId="6da7715ce44349b3" providerId="LiveId" clId="{7CD043B0-6B74-4D9A-84AE-1D8FE229AAC4}" dt="2023-01-19T23:23:09.628" v="214"/>
          <ac:picMkLst>
            <pc:docMk/>
            <pc:sldMk cId="807404470" sldId="2493"/>
            <ac:picMk id="45" creationId="{389367CC-526D-F972-FC03-BEA35E8DA2F9}"/>
          </ac:picMkLst>
        </pc:picChg>
        <pc:picChg chg="add mod">
          <ac:chgData name="Aurelien Domont" userId="6da7715ce44349b3" providerId="LiveId" clId="{7CD043B0-6B74-4D9A-84AE-1D8FE229AAC4}" dt="2023-01-19T23:23:09.628" v="214"/>
          <ac:picMkLst>
            <pc:docMk/>
            <pc:sldMk cId="807404470" sldId="2493"/>
            <ac:picMk id="46" creationId="{B1743A46-21B0-63EC-4B97-77F4CEE99B5A}"/>
          </ac:picMkLst>
        </pc:picChg>
        <pc:cxnChg chg="del">
          <ac:chgData name="Aurelien Domont" userId="6da7715ce44349b3" providerId="LiveId" clId="{7CD043B0-6B74-4D9A-84AE-1D8FE229AAC4}" dt="2023-01-19T23:23:09.050" v="213" actId="478"/>
          <ac:cxnSpMkLst>
            <pc:docMk/>
            <pc:sldMk cId="807404470" sldId="2493"/>
            <ac:cxnSpMk id="15" creationId="{2F1CB0CC-174D-DC9F-858B-0C02A80273D2}"/>
          </ac:cxnSpMkLst>
        </pc:cxnChg>
        <pc:cxnChg chg="del">
          <ac:chgData name="Aurelien Domont" userId="6da7715ce44349b3" providerId="LiveId" clId="{7CD043B0-6B74-4D9A-84AE-1D8FE229AAC4}" dt="2023-01-19T23:23:09.050" v="213" actId="478"/>
          <ac:cxnSpMkLst>
            <pc:docMk/>
            <pc:sldMk cId="807404470" sldId="2493"/>
            <ac:cxnSpMk id="18" creationId="{9F678C74-3F31-06E3-3984-42342FEDB37D}"/>
          </ac:cxnSpMkLst>
        </pc:cxnChg>
        <pc:cxnChg chg="add mod">
          <ac:chgData name="Aurelien Domont" userId="6da7715ce44349b3" providerId="LiveId" clId="{7CD043B0-6B74-4D9A-84AE-1D8FE229AAC4}" dt="2023-01-19T23:23:09.628" v="214"/>
          <ac:cxnSpMkLst>
            <pc:docMk/>
            <pc:sldMk cId="807404470" sldId="2493"/>
            <ac:cxnSpMk id="55" creationId="{A22DA34C-6D33-73E3-5FA7-10799B008CB1}"/>
          </ac:cxnSpMkLst>
        </pc:cxnChg>
        <pc:cxnChg chg="add mod">
          <ac:chgData name="Aurelien Domont" userId="6da7715ce44349b3" providerId="LiveId" clId="{7CD043B0-6B74-4D9A-84AE-1D8FE229AAC4}" dt="2023-01-19T23:23:09.628" v="214"/>
          <ac:cxnSpMkLst>
            <pc:docMk/>
            <pc:sldMk cId="807404470" sldId="2493"/>
            <ac:cxnSpMk id="57" creationId="{6310B362-91D0-0BF4-E417-5B7BD43717E8}"/>
          </ac:cxnSpMkLst>
        </pc:cxnChg>
      </pc:sldChg>
      <pc:sldChg chg="addSp delSp modSp del mod">
        <pc:chgData name="Aurelien Domont" userId="6da7715ce44349b3" providerId="LiveId" clId="{7CD043B0-6B74-4D9A-84AE-1D8FE229AAC4}" dt="2023-01-19T23:25:04.058" v="294" actId="47"/>
        <pc:sldMkLst>
          <pc:docMk/>
          <pc:sldMk cId="280598628" sldId="2494"/>
        </pc:sldMkLst>
        <pc:spChg chg="del mod">
          <ac:chgData name="Aurelien Domont" userId="6da7715ce44349b3" providerId="LiveId" clId="{7CD043B0-6B74-4D9A-84AE-1D8FE229AAC4}" dt="2023-01-19T23:23:40.694" v="220" actId="478"/>
          <ac:spMkLst>
            <pc:docMk/>
            <pc:sldMk cId="280598628" sldId="2494"/>
            <ac:spMk id="2" creationId="{38C045A9-7B8D-69FA-7C21-2EAD0589A440}"/>
          </ac:spMkLst>
        </pc:spChg>
        <pc:spChg chg="del">
          <ac:chgData name="Aurelien Domont" userId="6da7715ce44349b3" providerId="LiveId" clId="{7CD043B0-6B74-4D9A-84AE-1D8FE229AAC4}" dt="2023-01-19T23:23:40.694" v="220" actId="478"/>
          <ac:spMkLst>
            <pc:docMk/>
            <pc:sldMk cId="280598628" sldId="2494"/>
            <ac:spMk id="4" creationId="{DFDABEBC-4CDA-DE67-F7EF-3C9B292D3796}"/>
          </ac:spMkLst>
        </pc:spChg>
        <pc:spChg chg="add del mod">
          <ac:chgData name="Aurelien Domont" userId="6da7715ce44349b3" providerId="LiveId" clId="{7CD043B0-6B74-4D9A-84AE-1D8FE229AAC4}" dt="2023-01-19T23:24:02.348" v="227" actId="478"/>
          <ac:spMkLst>
            <pc:docMk/>
            <pc:sldMk cId="280598628" sldId="2494"/>
            <ac:spMk id="6" creationId="{02955E7E-AAB4-6BA2-151F-1FFC237004FA}"/>
          </ac:spMkLst>
        </pc:spChg>
        <pc:spChg chg="del">
          <ac:chgData name="Aurelien Domont" userId="6da7715ce44349b3" providerId="LiveId" clId="{7CD043B0-6B74-4D9A-84AE-1D8FE229AAC4}" dt="2023-01-19T23:23:40.694" v="220" actId="478"/>
          <ac:spMkLst>
            <pc:docMk/>
            <pc:sldMk cId="280598628" sldId="2494"/>
            <ac:spMk id="8" creationId="{72A52A59-2B0C-B438-B79F-EAD1EBFD5A88}"/>
          </ac:spMkLst>
        </pc:spChg>
        <pc:spChg chg="del">
          <ac:chgData name="Aurelien Domont" userId="6da7715ce44349b3" providerId="LiveId" clId="{7CD043B0-6B74-4D9A-84AE-1D8FE229AAC4}" dt="2023-01-19T23:23:40.694" v="220" actId="478"/>
          <ac:spMkLst>
            <pc:docMk/>
            <pc:sldMk cId="280598628" sldId="2494"/>
            <ac:spMk id="9" creationId="{0F4B39A0-2803-47D9-93AE-F99798C91F06}"/>
          </ac:spMkLst>
        </pc:spChg>
        <pc:spChg chg="del">
          <ac:chgData name="Aurelien Domont" userId="6da7715ce44349b3" providerId="LiveId" clId="{7CD043B0-6B74-4D9A-84AE-1D8FE229AAC4}" dt="2023-01-19T23:23:40.694" v="220" actId="478"/>
          <ac:spMkLst>
            <pc:docMk/>
            <pc:sldMk cId="280598628" sldId="2494"/>
            <ac:spMk id="10" creationId="{52524284-CA7D-416E-ADDB-CAB7040B62C4}"/>
          </ac:spMkLst>
        </pc:spChg>
        <pc:spChg chg="del">
          <ac:chgData name="Aurelien Domont" userId="6da7715ce44349b3" providerId="LiveId" clId="{7CD043B0-6B74-4D9A-84AE-1D8FE229AAC4}" dt="2023-01-19T23:23:40.694" v="220" actId="478"/>
          <ac:spMkLst>
            <pc:docMk/>
            <pc:sldMk cId="280598628" sldId="2494"/>
            <ac:spMk id="11" creationId="{DCA1B29F-4AB2-4DAE-B498-BC74026B1DDA}"/>
          </ac:spMkLst>
        </pc:spChg>
        <pc:spChg chg="del">
          <ac:chgData name="Aurelien Domont" userId="6da7715ce44349b3" providerId="LiveId" clId="{7CD043B0-6B74-4D9A-84AE-1D8FE229AAC4}" dt="2023-01-19T23:23:40.694" v="220" actId="478"/>
          <ac:spMkLst>
            <pc:docMk/>
            <pc:sldMk cId="280598628" sldId="2494"/>
            <ac:spMk id="12" creationId="{B9BBA604-AEF4-4807-AD42-75399F0043F4}"/>
          </ac:spMkLst>
        </pc:spChg>
        <pc:spChg chg="del">
          <ac:chgData name="Aurelien Domont" userId="6da7715ce44349b3" providerId="LiveId" clId="{7CD043B0-6B74-4D9A-84AE-1D8FE229AAC4}" dt="2023-01-19T23:23:40.694" v="220" actId="478"/>
          <ac:spMkLst>
            <pc:docMk/>
            <pc:sldMk cId="280598628" sldId="2494"/>
            <ac:spMk id="14" creationId="{43224BB0-1C51-DFBB-5B34-D3B6408426E1}"/>
          </ac:spMkLst>
        </pc:spChg>
        <pc:spChg chg="del">
          <ac:chgData name="Aurelien Domont" userId="6da7715ce44349b3" providerId="LiveId" clId="{7CD043B0-6B74-4D9A-84AE-1D8FE229AAC4}" dt="2023-01-19T23:23:40.694" v="220" actId="478"/>
          <ac:spMkLst>
            <pc:docMk/>
            <pc:sldMk cId="280598628" sldId="2494"/>
            <ac:spMk id="17" creationId="{8C9A6BE3-F866-232F-A05A-29749A83B1CF}"/>
          </ac:spMkLst>
        </pc:spChg>
        <pc:spChg chg="del">
          <ac:chgData name="Aurelien Domont" userId="6da7715ce44349b3" providerId="LiveId" clId="{7CD043B0-6B74-4D9A-84AE-1D8FE229AAC4}" dt="2023-01-19T23:23:40.694" v="220" actId="478"/>
          <ac:spMkLst>
            <pc:docMk/>
            <pc:sldMk cId="280598628" sldId="2494"/>
            <ac:spMk id="19" creationId="{C6EB7CDE-7F94-BEF9-CB99-7B3D90C68209}"/>
          </ac:spMkLst>
        </pc:spChg>
        <pc:spChg chg="del">
          <ac:chgData name="Aurelien Domont" userId="6da7715ce44349b3" providerId="LiveId" clId="{7CD043B0-6B74-4D9A-84AE-1D8FE229AAC4}" dt="2023-01-19T23:23:40.694" v="220" actId="478"/>
          <ac:spMkLst>
            <pc:docMk/>
            <pc:sldMk cId="280598628" sldId="2494"/>
            <ac:spMk id="20" creationId="{943B90E0-B674-6878-C4CE-C84145B92770}"/>
          </ac:spMkLst>
        </pc:spChg>
        <pc:spChg chg="del">
          <ac:chgData name="Aurelien Domont" userId="6da7715ce44349b3" providerId="LiveId" clId="{7CD043B0-6B74-4D9A-84AE-1D8FE229AAC4}" dt="2023-01-19T23:23:40.694" v="220" actId="478"/>
          <ac:spMkLst>
            <pc:docMk/>
            <pc:sldMk cId="280598628" sldId="2494"/>
            <ac:spMk id="21" creationId="{65195D31-8CD1-9CAD-EDAB-5DC5BCEFF793}"/>
          </ac:spMkLst>
        </pc:spChg>
        <pc:spChg chg="del">
          <ac:chgData name="Aurelien Domont" userId="6da7715ce44349b3" providerId="LiveId" clId="{7CD043B0-6B74-4D9A-84AE-1D8FE229AAC4}" dt="2023-01-19T23:23:40.694" v="220" actId="478"/>
          <ac:spMkLst>
            <pc:docMk/>
            <pc:sldMk cId="280598628" sldId="2494"/>
            <ac:spMk id="22" creationId="{8664D20B-2002-4C9F-A94C-AB6D33819DF8}"/>
          </ac:spMkLst>
        </pc:spChg>
        <pc:spChg chg="del">
          <ac:chgData name="Aurelien Domont" userId="6da7715ce44349b3" providerId="LiveId" clId="{7CD043B0-6B74-4D9A-84AE-1D8FE229AAC4}" dt="2023-01-19T23:23:40.694" v="220" actId="478"/>
          <ac:spMkLst>
            <pc:docMk/>
            <pc:sldMk cId="280598628" sldId="2494"/>
            <ac:spMk id="23" creationId="{93DA698C-3A69-9CB5-3F74-216F16D103FC}"/>
          </ac:spMkLst>
        </pc:spChg>
        <pc:spChg chg="del">
          <ac:chgData name="Aurelien Domont" userId="6da7715ce44349b3" providerId="LiveId" clId="{7CD043B0-6B74-4D9A-84AE-1D8FE229AAC4}" dt="2023-01-19T23:23:40.694" v="220" actId="478"/>
          <ac:spMkLst>
            <pc:docMk/>
            <pc:sldMk cId="280598628" sldId="2494"/>
            <ac:spMk id="26" creationId="{60AA3177-69A2-8959-DB8F-FDAAC70C5894}"/>
          </ac:spMkLst>
        </pc:spChg>
        <pc:spChg chg="del">
          <ac:chgData name="Aurelien Domont" userId="6da7715ce44349b3" providerId="LiveId" clId="{7CD043B0-6B74-4D9A-84AE-1D8FE229AAC4}" dt="2023-01-19T23:23:40.694" v="220" actId="478"/>
          <ac:spMkLst>
            <pc:docMk/>
            <pc:sldMk cId="280598628" sldId="2494"/>
            <ac:spMk id="27" creationId="{54BC1734-C961-49B3-BBCE-81BBEF3EFD1B}"/>
          </ac:spMkLst>
        </pc:spChg>
        <pc:spChg chg="del">
          <ac:chgData name="Aurelien Domont" userId="6da7715ce44349b3" providerId="LiveId" clId="{7CD043B0-6B74-4D9A-84AE-1D8FE229AAC4}" dt="2023-01-19T23:23:40.694" v="220" actId="478"/>
          <ac:spMkLst>
            <pc:docMk/>
            <pc:sldMk cId="280598628" sldId="2494"/>
            <ac:spMk id="28" creationId="{84AA7505-5048-31BF-7E45-224CBD648139}"/>
          </ac:spMkLst>
        </pc:spChg>
        <pc:spChg chg="del">
          <ac:chgData name="Aurelien Domont" userId="6da7715ce44349b3" providerId="LiveId" clId="{7CD043B0-6B74-4D9A-84AE-1D8FE229AAC4}" dt="2023-01-19T23:23:40.694" v="220" actId="478"/>
          <ac:spMkLst>
            <pc:docMk/>
            <pc:sldMk cId="280598628" sldId="2494"/>
            <ac:spMk id="29" creationId="{8F984EF8-19B2-4B5E-98EC-433CCE26E2A7}"/>
          </ac:spMkLst>
        </pc:spChg>
        <pc:spChg chg="del">
          <ac:chgData name="Aurelien Domont" userId="6da7715ce44349b3" providerId="LiveId" clId="{7CD043B0-6B74-4D9A-84AE-1D8FE229AAC4}" dt="2023-01-19T23:23:40.694" v="220" actId="478"/>
          <ac:spMkLst>
            <pc:docMk/>
            <pc:sldMk cId="280598628" sldId="2494"/>
            <ac:spMk id="31" creationId="{1C1B78F5-CE09-4A06-8F1D-30227B5D6E15}"/>
          </ac:spMkLst>
        </pc:spChg>
        <pc:spChg chg="del">
          <ac:chgData name="Aurelien Domont" userId="6da7715ce44349b3" providerId="LiveId" clId="{7CD043B0-6B74-4D9A-84AE-1D8FE229AAC4}" dt="2023-01-19T23:23:40.694" v="220" actId="478"/>
          <ac:spMkLst>
            <pc:docMk/>
            <pc:sldMk cId="280598628" sldId="2494"/>
            <ac:spMk id="32" creationId="{3BEF6079-F38C-4B82-B044-53A13155F334}"/>
          </ac:spMkLst>
        </pc:spChg>
        <pc:spChg chg="del">
          <ac:chgData name="Aurelien Domont" userId="6da7715ce44349b3" providerId="LiveId" clId="{7CD043B0-6B74-4D9A-84AE-1D8FE229AAC4}" dt="2023-01-19T23:23:40.694" v="220" actId="478"/>
          <ac:spMkLst>
            <pc:docMk/>
            <pc:sldMk cId="280598628" sldId="2494"/>
            <ac:spMk id="33" creationId="{8260BE05-FEA7-4631-88CD-752AC5C966BA}"/>
          </ac:spMkLst>
        </pc:spChg>
        <pc:spChg chg="del">
          <ac:chgData name="Aurelien Domont" userId="6da7715ce44349b3" providerId="LiveId" clId="{7CD043B0-6B74-4D9A-84AE-1D8FE229AAC4}" dt="2023-01-19T23:23:40.694" v="220" actId="478"/>
          <ac:spMkLst>
            <pc:docMk/>
            <pc:sldMk cId="280598628" sldId="2494"/>
            <ac:spMk id="34" creationId="{473B4042-51F1-41BD-8EDF-E03E66716A5A}"/>
          </ac:spMkLst>
        </pc:spChg>
        <pc:spChg chg="del">
          <ac:chgData name="Aurelien Domont" userId="6da7715ce44349b3" providerId="LiveId" clId="{7CD043B0-6B74-4D9A-84AE-1D8FE229AAC4}" dt="2023-01-19T23:23:40.694" v="220" actId="478"/>
          <ac:spMkLst>
            <pc:docMk/>
            <pc:sldMk cId="280598628" sldId="2494"/>
            <ac:spMk id="35" creationId="{64C38490-8643-4DBA-8D8B-54C587ECA10D}"/>
          </ac:spMkLst>
        </pc:spChg>
        <pc:spChg chg="del">
          <ac:chgData name="Aurelien Domont" userId="6da7715ce44349b3" providerId="LiveId" clId="{7CD043B0-6B74-4D9A-84AE-1D8FE229AAC4}" dt="2023-01-19T23:23:40.694" v="220" actId="478"/>
          <ac:spMkLst>
            <pc:docMk/>
            <pc:sldMk cId="280598628" sldId="2494"/>
            <ac:spMk id="36" creationId="{66F38449-718A-4DDB-1755-5E28AC672730}"/>
          </ac:spMkLst>
        </pc:spChg>
        <pc:picChg chg="del">
          <ac:chgData name="Aurelien Domont" userId="6da7715ce44349b3" providerId="LiveId" clId="{7CD043B0-6B74-4D9A-84AE-1D8FE229AAC4}" dt="2023-01-19T23:23:43.149" v="221" actId="478"/>
          <ac:picMkLst>
            <pc:docMk/>
            <pc:sldMk cId="280598628" sldId="2494"/>
            <ac:picMk id="5" creationId="{B591932E-445E-4FC6-BA49-B391B8DCAC7A}"/>
          </ac:picMkLst>
        </pc:picChg>
        <pc:picChg chg="del">
          <ac:chgData name="Aurelien Domont" userId="6da7715ce44349b3" providerId="LiveId" clId="{7CD043B0-6B74-4D9A-84AE-1D8FE229AAC4}" dt="2023-01-19T23:23:43.149" v="221" actId="478"/>
          <ac:picMkLst>
            <pc:docMk/>
            <pc:sldMk cId="280598628" sldId="2494"/>
            <ac:picMk id="7" creationId="{F8BDF65F-C179-4D90-9DAF-9A04B8C11C0C}"/>
          </ac:picMkLst>
        </pc:picChg>
        <pc:picChg chg="del">
          <ac:chgData name="Aurelien Domont" userId="6da7715ce44349b3" providerId="LiveId" clId="{7CD043B0-6B74-4D9A-84AE-1D8FE229AAC4}" dt="2023-01-19T23:23:43.149" v="221" actId="478"/>
          <ac:picMkLst>
            <pc:docMk/>
            <pc:sldMk cId="280598628" sldId="2494"/>
            <ac:picMk id="24" creationId="{D2DB75A5-E17D-431C-A54A-40A06ADDBEF3}"/>
          </ac:picMkLst>
        </pc:picChg>
        <pc:picChg chg="del">
          <ac:chgData name="Aurelien Domont" userId="6da7715ce44349b3" providerId="LiveId" clId="{7CD043B0-6B74-4D9A-84AE-1D8FE229AAC4}" dt="2023-01-19T23:23:43.149" v="221" actId="478"/>
          <ac:picMkLst>
            <pc:docMk/>
            <pc:sldMk cId="280598628" sldId="2494"/>
            <ac:picMk id="25" creationId="{86024EC3-117C-470E-8D6A-4C9B8B7C4E90}"/>
          </ac:picMkLst>
        </pc:picChg>
        <pc:picChg chg="del">
          <ac:chgData name="Aurelien Domont" userId="6da7715ce44349b3" providerId="LiveId" clId="{7CD043B0-6B74-4D9A-84AE-1D8FE229AAC4}" dt="2023-01-19T23:23:43.149" v="221" actId="478"/>
          <ac:picMkLst>
            <pc:docMk/>
            <pc:sldMk cId="280598628" sldId="2494"/>
            <ac:picMk id="30" creationId="{39260E92-FADF-4076-9052-5C1B0040ACAE}"/>
          </ac:picMkLst>
        </pc:picChg>
        <pc:cxnChg chg="del">
          <ac:chgData name="Aurelien Domont" userId="6da7715ce44349b3" providerId="LiveId" clId="{7CD043B0-6B74-4D9A-84AE-1D8FE229AAC4}" dt="2023-01-19T23:23:40.694" v="220" actId="478"/>
          <ac:cxnSpMkLst>
            <pc:docMk/>
            <pc:sldMk cId="280598628" sldId="2494"/>
            <ac:cxnSpMk id="15" creationId="{2F1CB0CC-174D-DC9F-858B-0C02A80273D2}"/>
          </ac:cxnSpMkLst>
        </pc:cxnChg>
        <pc:cxnChg chg="del">
          <ac:chgData name="Aurelien Domont" userId="6da7715ce44349b3" providerId="LiveId" clId="{7CD043B0-6B74-4D9A-84AE-1D8FE229AAC4}" dt="2023-01-19T23:23:40.694" v="220" actId="478"/>
          <ac:cxnSpMkLst>
            <pc:docMk/>
            <pc:sldMk cId="280598628" sldId="2494"/>
            <ac:cxnSpMk id="18" creationId="{9F678C74-3F31-06E3-3984-42342FEDB37D}"/>
          </ac:cxnSpMkLst>
        </pc:cxnChg>
      </pc:sldChg>
      <pc:sldChg chg="del">
        <pc:chgData name="Aurelien Domont" userId="6da7715ce44349b3" providerId="LiveId" clId="{7CD043B0-6B74-4D9A-84AE-1D8FE229AAC4}" dt="2023-01-19T23:13:44.058" v="158" actId="2696"/>
        <pc:sldMkLst>
          <pc:docMk/>
          <pc:sldMk cId="684264430" sldId="2495"/>
        </pc:sldMkLst>
      </pc:sldChg>
      <pc:sldChg chg="add">
        <pc:chgData name="Aurelien Domont" userId="6da7715ce44349b3" providerId="LiveId" clId="{7CD043B0-6B74-4D9A-84AE-1D8FE229AAC4}" dt="2023-01-19T23:13:46.082" v="159"/>
        <pc:sldMkLst>
          <pc:docMk/>
          <pc:sldMk cId="1680590755" sldId="2495"/>
        </pc:sldMkLst>
      </pc:sldChg>
      <pc:sldChg chg="del">
        <pc:chgData name="Aurelien Domont" userId="6da7715ce44349b3" providerId="LiveId" clId="{7CD043B0-6B74-4D9A-84AE-1D8FE229AAC4}" dt="2023-01-19T23:00:29.040" v="0" actId="47"/>
        <pc:sldMkLst>
          <pc:docMk/>
          <pc:sldMk cId="4258490062" sldId="2496"/>
        </pc:sldMkLst>
      </pc:sldChg>
      <pc:sldChg chg="del">
        <pc:chgData name="Aurelien Domont" userId="6da7715ce44349b3" providerId="LiveId" clId="{7CD043B0-6B74-4D9A-84AE-1D8FE229AAC4}" dt="2023-01-19T23:00:29.040" v="0" actId="47"/>
        <pc:sldMkLst>
          <pc:docMk/>
          <pc:sldMk cId="4151806883" sldId="2497"/>
        </pc:sldMkLst>
      </pc:sldChg>
      <pc:sldChg chg="del">
        <pc:chgData name="Aurelien Domont" userId="6da7715ce44349b3" providerId="LiveId" clId="{7CD043B0-6B74-4D9A-84AE-1D8FE229AAC4}" dt="2023-01-19T23:00:29.040" v="0" actId="47"/>
        <pc:sldMkLst>
          <pc:docMk/>
          <pc:sldMk cId="1789433709" sldId="2501"/>
        </pc:sldMkLst>
      </pc:sldChg>
      <pc:sldChg chg="del">
        <pc:chgData name="Aurelien Domont" userId="6da7715ce44349b3" providerId="LiveId" clId="{7CD043B0-6B74-4D9A-84AE-1D8FE229AAC4}" dt="2023-01-19T23:00:29.040" v="0" actId="47"/>
        <pc:sldMkLst>
          <pc:docMk/>
          <pc:sldMk cId="3688646877" sldId="2502"/>
        </pc:sldMkLst>
      </pc:sldChg>
      <pc:sldChg chg="add">
        <pc:chgData name="Aurelien Domont" userId="6da7715ce44349b3" providerId="LiveId" clId="{7CD043B0-6B74-4D9A-84AE-1D8FE229AAC4}" dt="2023-01-25T05:16:03.247" v="9231"/>
        <pc:sldMkLst>
          <pc:docMk/>
          <pc:sldMk cId="1255366533" sldId="2503"/>
        </pc:sldMkLst>
      </pc:sldChg>
      <pc:sldChg chg="del">
        <pc:chgData name="Aurelien Domont" userId="6da7715ce44349b3" providerId="LiveId" clId="{7CD043B0-6B74-4D9A-84AE-1D8FE229AAC4}" dt="2023-01-19T23:00:29.040" v="0" actId="47"/>
        <pc:sldMkLst>
          <pc:docMk/>
          <pc:sldMk cId="3734289705" sldId="2503"/>
        </pc:sldMkLst>
      </pc:sldChg>
      <pc:sldChg chg="del">
        <pc:chgData name="Aurelien Domont" userId="6da7715ce44349b3" providerId="LiveId" clId="{7CD043B0-6B74-4D9A-84AE-1D8FE229AAC4}" dt="2023-01-20T02:51:04.340" v="2128" actId="47"/>
        <pc:sldMkLst>
          <pc:docMk/>
          <pc:sldMk cId="3209147546" sldId="2504"/>
        </pc:sldMkLst>
      </pc:sldChg>
      <pc:sldChg chg="del">
        <pc:chgData name="Aurelien Domont" userId="6da7715ce44349b3" providerId="LiveId" clId="{7CD043B0-6B74-4D9A-84AE-1D8FE229AAC4}" dt="2023-01-20T02:51:04.340" v="2128" actId="47"/>
        <pc:sldMkLst>
          <pc:docMk/>
          <pc:sldMk cId="1938396792" sldId="2505"/>
        </pc:sldMkLst>
      </pc:sldChg>
      <pc:sldChg chg="del">
        <pc:chgData name="Aurelien Domont" userId="6da7715ce44349b3" providerId="LiveId" clId="{7CD043B0-6B74-4D9A-84AE-1D8FE229AAC4}" dt="2023-01-20T02:51:04.340" v="2128" actId="47"/>
        <pc:sldMkLst>
          <pc:docMk/>
          <pc:sldMk cId="1986119248" sldId="2506"/>
        </pc:sldMkLst>
      </pc:sldChg>
      <pc:sldChg chg="del">
        <pc:chgData name="Aurelien Domont" userId="6da7715ce44349b3" providerId="LiveId" clId="{7CD043B0-6B74-4D9A-84AE-1D8FE229AAC4}" dt="2023-01-20T02:51:04.340" v="2128" actId="47"/>
        <pc:sldMkLst>
          <pc:docMk/>
          <pc:sldMk cId="4002475051" sldId="2507"/>
        </pc:sldMkLst>
      </pc:sldChg>
      <pc:sldChg chg="del">
        <pc:chgData name="Aurelien Domont" userId="6da7715ce44349b3" providerId="LiveId" clId="{7CD043B0-6B74-4D9A-84AE-1D8FE229AAC4}" dt="2023-01-20T02:51:04.340" v="2128" actId="47"/>
        <pc:sldMkLst>
          <pc:docMk/>
          <pc:sldMk cId="487487824" sldId="2508"/>
        </pc:sldMkLst>
      </pc:sldChg>
      <pc:sldChg chg="addSp delSp modSp add del mod">
        <pc:chgData name="Aurelien Domont" userId="6da7715ce44349b3" providerId="LiveId" clId="{7CD043B0-6B74-4D9A-84AE-1D8FE229AAC4}" dt="2023-01-19T23:25:46.972" v="296" actId="47"/>
        <pc:sldMkLst>
          <pc:docMk/>
          <pc:sldMk cId="3923922270" sldId="2509"/>
        </pc:sldMkLst>
        <pc:spChg chg="del mod">
          <ac:chgData name="Aurelien Domont" userId="6da7715ce44349b3" providerId="LiveId" clId="{7CD043B0-6B74-4D9A-84AE-1D8FE229AAC4}" dt="2023-01-19T23:13:17.878" v="127" actId="478"/>
          <ac:spMkLst>
            <pc:docMk/>
            <pc:sldMk cId="3923922270" sldId="2509"/>
            <ac:spMk id="2" creationId="{38C045A9-7B8D-69FA-7C21-2EAD0589A440}"/>
          </ac:spMkLst>
        </pc:spChg>
        <pc:spChg chg="del">
          <ac:chgData name="Aurelien Domont" userId="6da7715ce44349b3" providerId="LiveId" clId="{7CD043B0-6B74-4D9A-84AE-1D8FE229AAC4}" dt="2023-01-19T23:13:17.878" v="127" actId="478"/>
          <ac:spMkLst>
            <pc:docMk/>
            <pc:sldMk cId="3923922270" sldId="2509"/>
            <ac:spMk id="4" creationId="{DFDABEBC-4CDA-DE67-F7EF-3C9B292D3796}"/>
          </ac:spMkLst>
        </pc:spChg>
        <pc:spChg chg="add mod">
          <ac:chgData name="Aurelien Domont" userId="6da7715ce44349b3" providerId="LiveId" clId="{7CD043B0-6B74-4D9A-84AE-1D8FE229AAC4}" dt="2023-01-19T23:13:33.049" v="157" actId="403"/>
          <ac:spMkLst>
            <pc:docMk/>
            <pc:sldMk cId="3923922270" sldId="2509"/>
            <ac:spMk id="6" creationId="{EE8668D2-0DB3-E7EE-9995-332D75C71A91}"/>
          </ac:spMkLst>
        </pc:spChg>
        <pc:spChg chg="del">
          <ac:chgData name="Aurelien Domont" userId="6da7715ce44349b3" providerId="LiveId" clId="{7CD043B0-6B74-4D9A-84AE-1D8FE229AAC4}" dt="2023-01-19T23:13:17.878" v="127" actId="478"/>
          <ac:spMkLst>
            <pc:docMk/>
            <pc:sldMk cId="3923922270" sldId="2509"/>
            <ac:spMk id="8" creationId="{72A52A59-2B0C-B438-B79F-EAD1EBFD5A88}"/>
          </ac:spMkLst>
        </pc:spChg>
        <pc:spChg chg="del">
          <ac:chgData name="Aurelien Domont" userId="6da7715ce44349b3" providerId="LiveId" clId="{7CD043B0-6B74-4D9A-84AE-1D8FE229AAC4}" dt="2023-01-19T23:13:17.878" v="127" actId="478"/>
          <ac:spMkLst>
            <pc:docMk/>
            <pc:sldMk cId="3923922270" sldId="2509"/>
            <ac:spMk id="9" creationId="{0F4B39A0-2803-47D9-93AE-F99798C91F06}"/>
          </ac:spMkLst>
        </pc:spChg>
        <pc:spChg chg="del">
          <ac:chgData name="Aurelien Domont" userId="6da7715ce44349b3" providerId="LiveId" clId="{7CD043B0-6B74-4D9A-84AE-1D8FE229AAC4}" dt="2023-01-19T23:13:17.878" v="127" actId="478"/>
          <ac:spMkLst>
            <pc:docMk/>
            <pc:sldMk cId="3923922270" sldId="2509"/>
            <ac:spMk id="10" creationId="{52524284-CA7D-416E-ADDB-CAB7040B62C4}"/>
          </ac:spMkLst>
        </pc:spChg>
        <pc:spChg chg="del">
          <ac:chgData name="Aurelien Domont" userId="6da7715ce44349b3" providerId="LiveId" clId="{7CD043B0-6B74-4D9A-84AE-1D8FE229AAC4}" dt="2023-01-19T23:13:17.878" v="127" actId="478"/>
          <ac:spMkLst>
            <pc:docMk/>
            <pc:sldMk cId="3923922270" sldId="2509"/>
            <ac:spMk id="11" creationId="{DCA1B29F-4AB2-4DAE-B498-BC74026B1DDA}"/>
          </ac:spMkLst>
        </pc:spChg>
        <pc:spChg chg="del">
          <ac:chgData name="Aurelien Domont" userId="6da7715ce44349b3" providerId="LiveId" clId="{7CD043B0-6B74-4D9A-84AE-1D8FE229AAC4}" dt="2023-01-19T23:13:17.878" v="127" actId="478"/>
          <ac:spMkLst>
            <pc:docMk/>
            <pc:sldMk cId="3923922270" sldId="2509"/>
            <ac:spMk id="12" creationId="{B9BBA604-AEF4-4807-AD42-75399F0043F4}"/>
          </ac:spMkLst>
        </pc:spChg>
        <pc:spChg chg="del mod">
          <ac:chgData name="Aurelien Domont" userId="6da7715ce44349b3" providerId="LiveId" clId="{7CD043B0-6B74-4D9A-84AE-1D8FE229AAC4}" dt="2023-01-19T23:13:17.878" v="127" actId="478"/>
          <ac:spMkLst>
            <pc:docMk/>
            <pc:sldMk cId="3923922270" sldId="2509"/>
            <ac:spMk id="14" creationId="{43224BB0-1C51-DFBB-5B34-D3B6408426E1}"/>
          </ac:spMkLst>
        </pc:spChg>
        <pc:spChg chg="del">
          <ac:chgData name="Aurelien Domont" userId="6da7715ce44349b3" providerId="LiveId" clId="{7CD043B0-6B74-4D9A-84AE-1D8FE229AAC4}" dt="2023-01-19T23:13:17.878" v="127" actId="478"/>
          <ac:spMkLst>
            <pc:docMk/>
            <pc:sldMk cId="3923922270" sldId="2509"/>
            <ac:spMk id="17" creationId="{8C9A6BE3-F866-232F-A05A-29749A83B1CF}"/>
          </ac:spMkLst>
        </pc:spChg>
        <pc:spChg chg="del">
          <ac:chgData name="Aurelien Domont" userId="6da7715ce44349b3" providerId="LiveId" clId="{7CD043B0-6B74-4D9A-84AE-1D8FE229AAC4}" dt="2023-01-19T23:13:17.878" v="127" actId="478"/>
          <ac:spMkLst>
            <pc:docMk/>
            <pc:sldMk cId="3923922270" sldId="2509"/>
            <ac:spMk id="19" creationId="{C6EB7CDE-7F94-BEF9-CB99-7B3D90C68209}"/>
          </ac:spMkLst>
        </pc:spChg>
        <pc:spChg chg="del">
          <ac:chgData name="Aurelien Domont" userId="6da7715ce44349b3" providerId="LiveId" clId="{7CD043B0-6B74-4D9A-84AE-1D8FE229AAC4}" dt="2023-01-19T23:13:17.878" v="127" actId="478"/>
          <ac:spMkLst>
            <pc:docMk/>
            <pc:sldMk cId="3923922270" sldId="2509"/>
            <ac:spMk id="20" creationId="{943B90E0-B674-6878-C4CE-C84145B92770}"/>
          </ac:spMkLst>
        </pc:spChg>
        <pc:spChg chg="del">
          <ac:chgData name="Aurelien Domont" userId="6da7715ce44349b3" providerId="LiveId" clId="{7CD043B0-6B74-4D9A-84AE-1D8FE229AAC4}" dt="2023-01-19T23:13:17.878" v="127" actId="478"/>
          <ac:spMkLst>
            <pc:docMk/>
            <pc:sldMk cId="3923922270" sldId="2509"/>
            <ac:spMk id="21" creationId="{65195D31-8CD1-9CAD-EDAB-5DC5BCEFF793}"/>
          </ac:spMkLst>
        </pc:spChg>
        <pc:spChg chg="del">
          <ac:chgData name="Aurelien Domont" userId="6da7715ce44349b3" providerId="LiveId" clId="{7CD043B0-6B74-4D9A-84AE-1D8FE229AAC4}" dt="2023-01-19T23:13:17.878" v="127" actId="478"/>
          <ac:spMkLst>
            <pc:docMk/>
            <pc:sldMk cId="3923922270" sldId="2509"/>
            <ac:spMk id="22" creationId="{8664D20B-2002-4C9F-A94C-AB6D33819DF8}"/>
          </ac:spMkLst>
        </pc:spChg>
        <pc:spChg chg="del">
          <ac:chgData name="Aurelien Domont" userId="6da7715ce44349b3" providerId="LiveId" clId="{7CD043B0-6B74-4D9A-84AE-1D8FE229AAC4}" dt="2023-01-19T23:13:17.878" v="127" actId="478"/>
          <ac:spMkLst>
            <pc:docMk/>
            <pc:sldMk cId="3923922270" sldId="2509"/>
            <ac:spMk id="23" creationId="{93DA698C-3A69-9CB5-3F74-216F16D103FC}"/>
          </ac:spMkLst>
        </pc:spChg>
        <pc:spChg chg="del">
          <ac:chgData name="Aurelien Domont" userId="6da7715ce44349b3" providerId="LiveId" clId="{7CD043B0-6B74-4D9A-84AE-1D8FE229AAC4}" dt="2023-01-19T23:13:17.878" v="127" actId="478"/>
          <ac:spMkLst>
            <pc:docMk/>
            <pc:sldMk cId="3923922270" sldId="2509"/>
            <ac:spMk id="26" creationId="{60AA3177-69A2-8959-DB8F-FDAAC70C5894}"/>
          </ac:spMkLst>
        </pc:spChg>
        <pc:spChg chg="del">
          <ac:chgData name="Aurelien Domont" userId="6da7715ce44349b3" providerId="LiveId" clId="{7CD043B0-6B74-4D9A-84AE-1D8FE229AAC4}" dt="2023-01-19T23:13:17.878" v="127" actId="478"/>
          <ac:spMkLst>
            <pc:docMk/>
            <pc:sldMk cId="3923922270" sldId="2509"/>
            <ac:spMk id="27" creationId="{54BC1734-C961-49B3-BBCE-81BBEF3EFD1B}"/>
          </ac:spMkLst>
        </pc:spChg>
        <pc:spChg chg="del">
          <ac:chgData name="Aurelien Domont" userId="6da7715ce44349b3" providerId="LiveId" clId="{7CD043B0-6B74-4D9A-84AE-1D8FE229AAC4}" dt="2023-01-19T23:13:17.878" v="127" actId="478"/>
          <ac:spMkLst>
            <pc:docMk/>
            <pc:sldMk cId="3923922270" sldId="2509"/>
            <ac:spMk id="28" creationId="{84AA7505-5048-31BF-7E45-224CBD648139}"/>
          </ac:spMkLst>
        </pc:spChg>
        <pc:spChg chg="del">
          <ac:chgData name="Aurelien Domont" userId="6da7715ce44349b3" providerId="LiveId" clId="{7CD043B0-6B74-4D9A-84AE-1D8FE229AAC4}" dt="2023-01-19T23:13:17.878" v="127" actId="478"/>
          <ac:spMkLst>
            <pc:docMk/>
            <pc:sldMk cId="3923922270" sldId="2509"/>
            <ac:spMk id="29" creationId="{8F984EF8-19B2-4B5E-98EC-433CCE26E2A7}"/>
          </ac:spMkLst>
        </pc:spChg>
        <pc:spChg chg="del">
          <ac:chgData name="Aurelien Domont" userId="6da7715ce44349b3" providerId="LiveId" clId="{7CD043B0-6B74-4D9A-84AE-1D8FE229AAC4}" dt="2023-01-19T23:13:17.878" v="127" actId="478"/>
          <ac:spMkLst>
            <pc:docMk/>
            <pc:sldMk cId="3923922270" sldId="2509"/>
            <ac:spMk id="31" creationId="{1C1B78F5-CE09-4A06-8F1D-30227B5D6E15}"/>
          </ac:spMkLst>
        </pc:spChg>
        <pc:spChg chg="del">
          <ac:chgData name="Aurelien Domont" userId="6da7715ce44349b3" providerId="LiveId" clId="{7CD043B0-6B74-4D9A-84AE-1D8FE229AAC4}" dt="2023-01-19T23:13:17.878" v="127" actId="478"/>
          <ac:spMkLst>
            <pc:docMk/>
            <pc:sldMk cId="3923922270" sldId="2509"/>
            <ac:spMk id="32" creationId="{3BEF6079-F38C-4B82-B044-53A13155F334}"/>
          </ac:spMkLst>
        </pc:spChg>
        <pc:spChg chg="del">
          <ac:chgData name="Aurelien Domont" userId="6da7715ce44349b3" providerId="LiveId" clId="{7CD043B0-6B74-4D9A-84AE-1D8FE229AAC4}" dt="2023-01-19T23:13:17.878" v="127" actId="478"/>
          <ac:spMkLst>
            <pc:docMk/>
            <pc:sldMk cId="3923922270" sldId="2509"/>
            <ac:spMk id="33" creationId="{8260BE05-FEA7-4631-88CD-752AC5C966BA}"/>
          </ac:spMkLst>
        </pc:spChg>
        <pc:spChg chg="del">
          <ac:chgData name="Aurelien Domont" userId="6da7715ce44349b3" providerId="LiveId" clId="{7CD043B0-6B74-4D9A-84AE-1D8FE229AAC4}" dt="2023-01-19T23:13:17.878" v="127" actId="478"/>
          <ac:spMkLst>
            <pc:docMk/>
            <pc:sldMk cId="3923922270" sldId="2509"/>
            <ac:spMk id="34" creationId="{473B4042-51F1-41BD-8EDF-E03E66716A5A}"/>
          </ac:spMkLst>
        </pc:spChg>
        <pc:spChg chg="del">
          <ac:chgData name="Aurelien Domont" userId="6da7715ce44349b3" providerId="LiveId" clId="{7CD043B0-6B74-4D9A-84AE-1D8FE229AAC4}" dt="2023-01-19T23:13:17.878" v="127" actId="478"/>
          <ac:spMkLst>
            <pc:docMk/>
            <pc:sldMk cId="3923922270" sldId="2509"/>
            <ac:spMk id="35" creationId="{64C38490-8643-4DBA-8D8B-54C587ECA10D}"/>
          </ac:spMkLst>
        </pc:spChg>
        <pc:spChg chg="del">
          <ac:chgData name="Aurelien Domont" userId="6da7715ce44349b3" providerId="LiveId" clId="{7CD043B0-6B74-4D9A-84AE-1D8FE229AAC4}" dt="2023-01-19T23:13:17.878" v="127" actId="478"/>
          <ac:spMkLst>
            <pc:docMk/>
            <pc:sldMk cId="3923922270" sldId="2509"/>
            <ac:spMk id="36" creationId="{66F38449-718A-4DDB-1755-5E28AC672730}"/>
          </ac:spMkLst>
        </pc:spChg>
        <pc:picChg chg="del">
          <ac:chgData name="Aurelien Domont" userId="6da7715ce44349b3" providerId="LiveId" clId="{7CD043B0-6B74-4D9A-84AE-1D8FE229AAC4}" dt="2023-01-19T23:13:17.878" v="127" actId="478"/>
          <ac:picMkLst>
            <pc:docMk/>
            <pc:sldMk cId="3923922270" sldId="2509"/>
            <ac:picMk id="5" creationId="{B591932E-445E-4FC6-BA49-B391B8DCAC7A}"/>
          </ac:picMkLst>
        </pc:picChg>
        <pc:picChg chg="del">
          <ac:chgData name="Aurelien Domont" userId="6da7715ce44349b3" providerId="LiveId" clId="{7CD043B0-6B74-4D9A-84AE-1D8FE229AAC4}" dt="2023-01-19T23:13:17.878" v="127" actId="478"/>
          <ac:picMkLst>
            <pc:docMk/>
            <pc:sldMk cId="3923922270" sldId="2509"/>
            <ac:picMk id="7" creationId="{F8BDF65F-C179-4D90-9DAF-9A04B8C11C0C}"/>
          </ac:picMkLst>
        </pc:picChg>
        <pc:picChg chg="del">
          <ac:chgData name="Aurelien Domont" userId="6da7715ce44349b3" providerId="LiveId" clId="{7CD043B0-6B74-4D9A-84AE-1D8FE229AAC4}" dt="2023-01-19T23:13:17.878" v="127" actId="478"/>
          <ac:picMkLst>
            <pc:docMk/>
            <pc:sldMk cId="3923922270" sldId="2509"/>
            <ac:picMk id="24" creationId="{D2DB75A5-E17D-431C-A54A-40A06ADDBEF3}"/>
          </ac:picMkLst>
        </pc:picChg>
        <pc:picChg chg="del">
          <ac:chgData name="Aurelien Domont" userId="6da7715ce44349b3" providerId="LiveId" clId="{7CD043B0-6B74-4D9A-84AE-1D8FE229AAC4}" dt="2023-01-19T23:13:17.878" v="127" actId="478"/>
          <ac:picMkLst>
            <pc:docMk/>
            <pc:sldMk cId="3923922270" sldId="2509"/>
            <ac:picMk id="25" creationId="{86024EC3-117C-470E-8D6A-4C9B8B7C4E90}"/>
          </ac:picMkLst>
        </pc:picChg>
        <pc:picChg chg="del">
          <ac:chgData name="Aurelien Domont" userId="6da7715ce44349b3" providerId="LiveId" clId="{7CD043B0-6B74-4D9A-84AE-1D8FE229AAC4}" dt="2023-01-19T23:13:17.878" v="127" actId="478"/>
          <ac:picMkLst>
            <pc:docMk/>
            <pc:sldMk cId="3923922270" sldId="2509"/>
            <ac:picMk id="30" creationId="{39260E92-FADF-4076-9052-5C1B0040ACAE}"/>
          </ac:picMkLst>
        </pc:picChg>
        <pc:cxnChg chg="del">
          <ac:chgData name="Aurelien Domont" userId="6da7715ce44349b3" providerId="LiveId" clId="{7CD043B0-6B74-4D9A-84AE-1D8FE229AAC4}" dt="2023-01-19T23:13:17.878" v="127" actId="478"/>
          <ac:cxnSpMkLst>
            <pc:docMk/>
            <pc:sldMk cId="3923922270" sldId="2509"/>
            <ac:cxnSpMk id="15" creationId="{2F1CB0CC-174D-DC9F-858B-0C02A80273D2}"/>
          </ac:cxnSpMkLst>
        </pc:cxnChg>
        <pc:cxnChg chg="del">
          <ac:chgData name="Aurelien Domont" userId="6da7715ce44349b3" providerId="LiveId" clId="{7CD043B0-6B74-4D9A-84AE-1D8FE229AAC4}" dt="2023-01-19T23:13:17.878" v="127" actId="478"/>
          <ac:cxnSpMkLst>
            <pc:docMk/>
            <pc:sldMk cId="3923922270" sldId="2509"/>
            <ac:cxnSpMk id="18" creationId="{9F678C74-3F31-06E3-3984-42342FEDB37D}"/>
          </ac:cxnSpMkLst>
        </pc:cxnChg>
      </pc:sldChg>
      <pc:sldChg chg="add del">
        <pc:chgData name="Aurelien Domont" userId="6da7715ce44349b3" providerId="LiveId" clId="{7CD043B0-6B74-4D9A-84AE-1D8FE229AAC4}" dt="2023-01-19T23:26:00.586" v="297" actId="47"/>
        <pc:sldMkLst>
          <pc:docMk/>
          <pc:sldMk cId="4218849925" sldId="2510"/>
        </pc:sldMkLst>
      </pc:sldChg>
      <pc:sldChg chg="addSp modSp add del mod">
        <pc:chgData name="Aurelien Domont" userId="6da7715ce44349b3" providerId="LiveId" clId="{7CD043B0-6B74-4D9A-84AE-1D8FE229AAC4}" dt="2023-01-20T03:57:13.897" v="3083"/>
        <pc:sldMkLst>
          <pc:docMk/>
          <pc:sldMk cId="2005845921" sldId="2511"/>
        </pc:sldMkLst>
        <pc:spChg chg="add mod">
          <ac:chgData name="Aurelien Domont" userId="6da7715ce44349b3" providerId="LiveId" clId="{7CD043B0-6B74-4D9A-84AE-1D8FE229AAC4}" dt="2023-01-20T03:46:28.159" v="2996"/>
          <ac:spMkLst>
            <pc:docMk/>
            <pc:sldMk cId="2005845921" sldId="2511"/>
            <ac:spMk id="2" creationId="{B5507982-39EB-7FEE-2D30-DE1CC3D227BB}"/>
          </ac:spMkLst>
        </pc:spChg>
        <pc:spChg chg="mod">
          <ac:chgData name="Aurelien Domont" userId="6da7715ce44349b3" providerId="LiveId" clId="{7CD043B0-6B74-4D9A-84AE-1D8FE229AAC4}" dt="2023-01-19T23:24:37.202" v="293" actId="1036"/>
          <ac:spMkLst>
            <pc:docMk/>
            <pc:sldMk cId="2005845921" sldId="2511"/>
            <ac:spMk id="47" creationId="{61B126C6-A78C-6770-5D4F-BD2A2DC7C8A3}"/>
          </ac:spMkLst>
        </pc:spChg>
        <pc:spChg chg="mod">
          <ac:chgData name="Aurelien Domont" userId="6da7715ce44349b3" providerId="LiveId" clId="{7CD043B0-6B74-4D9A-84AE-1D8FE229AAC4}" dt="2023-01-20T02:49:29.904" v="2119"/>
          <ac:spMkLst>
            <pc:docMk/>
            <pc:sldMk cId="2005845921" sldId="2511"/>
            <ac:spMk id="59" creationId="{ED9FA0FE-FD6F-D8EE-C734-DDECE6B41390}"/>
          </ac:spMkLst>
        </pc:spChg>
        <pc:spChg chg="mod">
          <ac:chgData name="Aurelien Domont" userId="6da7715ce44349b3" providerId="LiveId" clId="{7CD043B0-6B74-4D9A-84AE-1D8FE229AAC4}" dt="2023-01-20T03:57:13.897" v="3083"/>
          <ac:spMkLst>
            <pc:docMk/>
            <pc:sldMk cId="2005845921" sldId="2511"/>
            <ac:spMk id="60" creationId="{70012F14-6ACF-648B-A0C3-9831F28FCDD5}"/>
          </ac:spMkLst>
        </pc:spChg>
        <pc:spChg chg="mod">
          <ac:chgData name="Aurelien Domont" userId="6da7715ce44349b3" providerId="LiveId" clId="{7CD043B0-6B74-4D9A-84AE-1D8FE229AAC4}" dt="2023-01-19T23:29:17.724" v="364"/>
          <ac:spMkLst>
            <pc:docMk/>
            <pc:sldMk cId="2005845921" sldId="2511"/>
            <ac:spMk id="65" creationId="{4E68F974-9D19-CA25-389E-22C1414B946E}"/>
          </ac:spMkLst>
        </pc:spChg>
        <pc:spChg chg="mod ord">
          <ac:chgData name="Aurelien Domont" userId="6da7715ce44349b3" providerId="LiveId" clId="{7CD043B0-6B74-4D9A-84AE-1D8FE229AAC4}" dt="2023-01-19T23:24:32.872" v="283" actId="167"/>
          <ac:spMkLst>
            <pc:docMk/>
            <pc:sldMk cId="2005845921" sldId="2511"/>
            <ac:spMk id="66" creationId="{D2A8DFC7-27D0-2248-2089-0502807F476A}"/>
          </ac:spMkLst>
        </pc:spChg>
      </pc:sldChg>
      <pc:sldChg chg="addSp modSp add mod">
        <pc:chgData name="Aurelien Domont" userId="6da7715ce44349b3" providerId="LiveId" clId="{7CD043B0-6B74-4D9A-84AE-1D8FE229AAC4}" dt="2023-01-20T03:57:13.897" v="3083"/>
        <pc:sldMkLst>
          <pc:docMk/>
          <pc:sldMk cId="65686606" sldId="2512"/>
        </pc:sldMkLst>
        <pc:spChg chg="add mod">
          <ac:chgData name="Aurelien Domont" userId="6da7715ce44349b3" providerId="LiveId" clId="{7CD043B0-6B74-4D9A-84AE-1D8FE229AAC4}" dt="2023-01-20T03:46:32.743" v="2997"/>
          <ac:spMkLst>
            <pc:docMk/>
            <pc:sldMk cId="65686606" sldId="2512"/>
            <ac:spMk id="2" creationId="{4304210B-2DE6-52BF-3374-C6FEF00A0FCD}"/>
          </ac:spMkLst>
        </pc:spChg>
        <pc:spChg chg="mod">
          <ac:chgData name="Aurelien Domont" userId="6da7715ce44349b3" providerId="LiveId" clId="{7CD043B0-6B74-4D9A-84AE-1D8FE229AAC4}" dt="2023-01-20T02:49:29.904" v="2119"/>
          <ac:spMkLst>
            <pc:docMk/>
            <pc:sldMk cId="65686606" sldId="2512"/>
            <ac:spMk id="59" creationId="{ED9FA0FE-FD6F-D8EE-C734-DDECE6B41390}"/>
          </ac:spMkLst>
        </pc:spChg>
        <pc:spChg chg="mod">
          <ac:chgData name="Aurelien Domont" userId="6da7715ce44349b3" providerId="LiveId" clId="{7CD043B0-6B74-4D9A-84AE-1D8FE229AAC4}" dt="2023-01-20T03:57:13.897" v="3083"/>
          <ac:spMkLst>
            <pc:docMk/>
            <pc:sldMk cId="65686606" sldId="2512"/>
            <ac:spMk id="60" creationId="{70012F14-6ACF-648B-A0C3-9831F28FCDD5}"/>
          </ac:spMkLst>
        </pc:spChg>
        <pc:spChg chg="mod">
          <ac:chgData name="Aurelien Domont" userId="6da7715ce44349b3" providerId="LiveId" clId="{7CD043B0-6B74-4D9A-84AE-1D8FE229AAC4}" dt="2023-01-19T23:29:17.724" v="364"/>
          <ac:spMkLst>
            <pc:docMk/>
            <pc:sldMk cId="65686606" sldId="2512"/>
            <ac:spMk id="65" creationId="{4E68F974-9D19-CA25-389E-22C1414B946E}"/>
          </ac:spMkLst>
        </pc:spChg>
        <pc:spChg chg="mod">
          <ac:chgData name="Aurelien Domont" userId="6da7715ce44349b3" providerId="LiveId" clId="{7CD043B0-6B74-4D9A-84AE-1D8FE229AAC4}" dt="2023-01-19T23:26:11.973" v="309" actId="1035"/>
          <ac:spMkLst>
            <pc:docMk/>
            <pc:sldMk cId="65686606" sldId="2512"/>
            <ac:spMk id="66" creationId="{D2A8DFC7-27D0-2248-2089-0502807F476A}"/>
          </ac:spMkLst>
        </pc:spChg>
      </pc:sldChg>
      <pc:sldChg chg="addSp modSp add mod">
        <pc:chgData name="Aurelien Domont" userId="6da7715ce44349b3" providerId="LiveId" clId="{7CD043B0-6B74-4D9A-84AE-1D8FE229AAC4}" dt="2023-01-20T03:57:13.897" v="3083"/>
        <pc:sldMkLst>
          <pc:docMk/>
          <pc:sldMk cId="2012700360" sldId="2513"/>
        </pc:sldMkLst>
        <pc:spChg chg="add mod">
          <ac:chgData name="Aurelien Domont" userId="6da7715ce44349b3" providerId="LiveId" clId="{7CD043B0-6B74-4D9A-84AE-1D8FE229AAC4}" dt="2023-01-20T03:46:36.479" v="2998"/>
          <ac:spMkLst>
            <pc:docMk/>
            <pc:sldMk cId="2012700360" sldId="2513"/>
            <ac:spMk id="2" creationId="{14C2A201-36A4-C029-F3AA-A2E96D3430AA}"/>
          </ac:spMkLst>
        </pc:spChg>
        <pc:spChg chg="mod">
          <ac:chgData name="Aurelien Domont" userId="6da7715ce44349b3" providerId="LiveId" clId="{7CD043B0-6B74-4D9A-84AE-1D8FE229AAC4}" dt="2023-01-20T02:49:29.904" v="2119"/>
          <ac:spMkLst>
            <pc:docMk/>
            <pc:sldMk cId="2012700360" sldId="2513"/>
            <ac:spMk id="59" creationId="{ED9FA0FE-FD6F-D8EE-C734-DDECE6B41390}"/>
          </ac:spMkLst>
        </pc:spChg>
        <pc:spChg chg="mod">
          <ac:chgData name="Aurelien Domont" userId="6da7715ce44349b3" providerId="LiveId" clId="{7CD043B0-6B74-4D9A-84AE-1D8FE229AAC4}" dt="2023-01-20T03:57:13.897" v="3083"/>
          <ac:spMkLst>
            <pc:docMk/>
            <pc:sldMk cId="2012700360" sldId="2513"/>
            <ac:spMk id="60" creationId="{70012F14-6ACF-648B-A0C3-9831F28FCDD5}"/>
          </ac:spMkLst>
        </pc:spChg>
        <pc:spChg chg="mod">
          <ac:chgData name="Aurelien Domont" userId="6da7715ce44349b3" providerId="LiveId" clId="{7CD043B0-6B74-4D9A-84AE-1D8FE229AAC4}" dt="2023-01-19T23:29:17.724" v="364"/>
          <ac:spMkLst>
            <pc:docMk/>
            <pc:sldMk cId="2012700360" sldId="2513"/>
            <ac:spMk id="65" creationId="{4E68F974-9D19-CA25-389E-22C1414B946E}"/>
          </ac:spMkLst>
        </pc:spChg>
        <pc:spChg chg="mod">
          <ac:chgData name="Aurelien Domont" userId="6da7715ce44349b3" providerId="LiveId" clId="{7CD043B0-6B74-4D9A-84AE-1D8FE229AAC4}" dt="2023-01-19T23:26:20.391" v="323" actId="1036"/>
          <ac:spMkLst>
            <pc:docMk/>
            <pc:sldMk cId="2012700360" sldId="2513"/>
            <ac:spMk id="66" creationId="{D2A8DFC7-27D0-2248-2089-0502807F476A}"/>
          </ac:spMkLst>
        </pc:spChg>
      </pc:sldChg>
      <pc:sldChg chg="addSp delSp modSp add mod">
        <pc:chgData name="Aurelien Domont" userId="6da7715ce44349b3" providerId="LiveId" clId="{7CD043B0-6B74-4D9A-84AE-1D8FE229AAC4}" dt="2023-01-20T03:57:13.897" v="3083"/>
        <pc:sldMkLst>
          <pc:docMk/>
          <pc:sldMk cId="1295311911" sldId="2514"/>
        </pc:sldMkLst>
        <pc:spChg chg="add del mod">
          <ac:chgData name="Aurelien Domont" userId="6da7715ce44349b3" providerId="LiveId" clId="{7CD043B0-6B74-4D9A-84AE-1D8FE229AAC4}" dt="2023-01-20T03:46:42.779" v="3000"/>
          <ac:spMkLst>
            <pc:docMk/>
            <pc:sldMk cId="1295311911" sldId="2514"/>
            <ac:spMk id="2" creationId="{B27CBD6F-04F7-B5FF-E892-58480240FED3}"/>
          </ac:spMkLst>
        </pc:spChg>
        <pc:spChg chg="add mod">
          <ac:chgData name="Aurelien Domont" userId="6da7715ce44349b3" providerId="LiveId" clId="{7CD043B0-6B74-4D9A-84AE-1D8FE229AAC4}" dt="2023-01-20T03:46:43.931" v="3001"/>
          <ac:spMkLst>
            <pc:docMk/>
            <pc:sldMk cId="1295311911" sldId="2514"/>
            <ac:spMk id="4" creationId="{6A891383-06DC-AC73-FD8D-31E8746F1EE2}"/>
          </ac:spMkLst>
        </pc:spChg>
        <pc:spChg chg="mod">
          <ac:chgData name="Aurelien Domont" userId="6da7715ce44349b3" providerId="LiveId" clId="{7CD043B0-6B74-4D9A-84AE-1D8FE229AAC4}" dt="2023-01-20T02:49:29.904" v="2119"/>
          <ac:spMkLst>
            <pc:docMk/>
            <pc:sldMk cId="1295311911" sldId="2514"/>
            <ac:spMk id="59" creationId="{ED9FA0FE-FD6F-D8EE-C734-DDECE6B41390}"/>
          </ac:spMkLst>
        </pc:spChg>
        <pc:spChg chg="mod">
          <ac:chgData name="Aurelien Domont" userId="6da7715ce44349b3" providerId="LiveId" clId="{7CD043B0-6B74-4D9A-84AE-1D8FE229AAC4}" dt="2023-01-20T03:57:13.897" v="3083"/>
          <ac:spMkLst>
            <pc:docMk/>
            <pc:sldMk cId="1295311911" sldId="2514"/>
            <ac:spMk id="60" creationId="{70012F14-6ACF-648B-A0C3-9831F28FCDD5}"/>
          </ac:spMkLst>
        </pc:spChg>
        <pc:spChg chg="mod">
          <ac:chgData name="Aurelien Domont" userId="6da7715ce44349b3" providerId="LiveId" clId="{7CD043B0-6B74-4D9A-84AE-1D8FE229AAC4}" dt="2023-01-19T23:29:17.724" v="364"/>
          <ac:spMkLst>
            <pc:docMk/>
            <pc:sldMk cId="1295311911" sldId="2514"/>
            <ac:spMk id="65" creationId="{4E68F974-9D19-CA25-389E-22C1414B946E}"/>
          </ac:spMkLst>
        </pc:spChg>
        <pc:spChg chg="mod">
          <ac:chgData name="Aurelien Domont" userId="6da7715ce44349b3" providerId="LiveId" clId="{7CD043B0-6B74-4D9A-84AE-1D8FE229AAC4}" dt="2023-01-19T23:27:10.350" v="343" actId="1035"/>
          <ac:spMkLst>
            <pc:docMk/>
            <pc:sldMk cId="1295311911" sldId="2514"/>
            <ac:spMk id="66" creationId="{D2A8DFC7-27D0-2248-2089-0502807F476A}"/>
          </ac:spMkLst>
        </pc:spChg>
      </pc:sldChg>
      <pc:sldChg chg="addSp modSp add mod">
        <pc:chgData name="Aurelien Domont" userId="6da7715ce44349b3" providerId="LiveId" clId="{7CD043B0-6B74-4D9A-84AE-1D8FE229AAC4}" dt="2023-01-20T03:57:13.897" v="3083"/>
        <pc:sldMkLst>
          <pc:docMk/>
          <pc:sldMk cId="3315330118" sldId="2515"/>
        </pc:sldMkLst>
        <pc:spChg chg="add mod">
          <ac:chgData name="Aurelien Domont" userId="6da7715ce44349b3" providerId="LiveId" clId="{7CD043B0-6B74-4D9A-84AE-1D8FE229AAC4}" dt="2023-01-20T03:46:46.469" v="3002"/>
          <ac:spMkLst>
            <pc:docMk/>
            <pc:sldMk cId="3315330118" sldId="2515"/>
            <ac:spMk id="2" creationId="{C56EF373-DCCF-0E63-262B-01B0B4C08B1F}"/>
          </ac:spMkLst>
        </pc:spChg>
        <pc:spChg chg="mod">
          <ac:chgData name="Aurelien Domont" userId="6da7715ce44349b3" providerId="LiveId" clId="{7CD043B0-6B74-4D9A-84AE-1D8FE229AAC4}" dt="2023-01-20T02:49:29.904" v="2119"/>
          <ac:spMkLst>
            <pc:docMk/>
            <pc:sldMk cId="3315330118" sldId="2515"/>
            <ac:spMk id="59" creationId="{ED9FA0FE-FD6F-D8EE-C734-DDECE6B41390}"/>
          </ac:spMkLst>
        </pc:spChg>
        <pc:spChg chg="mod">
          <ac:chgData name="Aurelien Domont" userId="6da7715ce44349b3" providerId="LiveId" clId="{7CD043B0-6B74-4D9A-84AE-1D8FE229AAC4}" dt="2023-01-20T03:57:13.897" v="3083"/>
          <ac:spMkLst>
            <pc:docMk/>
            <pc:sldMk cId="3315330118" sldId="2515"/>
            <ac:spMk id="60" creationId="{70012F14-6ACF-648B-A0C3-9831F28FCDD5}"/>
          </ac:spMkLst>
        </pc:spChg>
        <pc:spChg chg="mod">
          <ac:chgData name="Aurelien Domont" userId="6da7715ce44349b3" providerId="LiveId" clId="{7CD043B0-6B74-4D9A-84AE-1D8FE229AAC4}" dt="2023-01-19T23:29:17.724" v="364"/>
          <ac:spMkLst>
            <pc:docMk/>
            <pc:sldMk cId="3315330118" sldId="2515"/>
            <ac:spMk id="65" creationId="{4E68F974-9D19-CA25-389E-22C1414B946E}"/>
          </ac:spMkLst>
        </pc:spChg>
        <pc:spChg chg="mod">
          <ac:chgData name="Aurelien Domont" userId="6da7715ce44349b3" providerId="LiveId" clId="{7CD043B0-6B74-4D9A-84AE-1D8FE229AAC4}" dt="2023-01-19T23:27:55.743" v="360" actId="1036"/>
          <ac:spMkLst>
            <pc:docMk/>
            <pc:sldMk cId="3315330118" sldId="2515"/>
            <ac:spMk id="66" creationId="{D2A8DFC7-27D0-2248-2089-0502807F476A}"/>
          </ac:spMkLst>
        </pc:spChg>
      </pc:sldChg>
      <pc:sldChg chg="addSp modSp add mod">
        <pc:chgData name="Aurelien Domont" userId="6da7715ce44349b3" providerId="LiveId" clId="{7CD043B0-6B74-4D9A-84AE-1D8FE229AAC4}" dt="2023-01-20T03:57:13.897" v="3083"/>
        <pc:sldMkLst>
          <pc:docMk/>
          <pc:sldMk cId="2910035269" sldId="2516"/>
        </pc:sldMkLst>
        <pc:spChg chg="add mod">
          <ac:chgData name="Aurelien Domont" userId="6da7715ce44349b3" providerId="LiveId" clId="{7CD043B0-6B74-4D9A-84AE-1D8FE229AAC4}" dt="2023-01-20T03:46:49.010" v="3003"/>
          <ac:spMkLst>
            <pc:docMk/>
            <pc:sldMk cId="2910035269" sldId="2516"/>
            <ac:spMk id="2" creationId="{ECCC758F-BCEE-ACEF-7A80-A773B735FE7D}"/>
          </ac:spMkLst>
        </pc:spChg>
        <pc:spChg chg="mod">
          <ac:chgData name="Aurelien Domont" userId="6da7715ce44349b3" providerId="LiveId" clId="{7CD043B0-6B74-4D9A-84AE-1D8FE229AAC4}" dt="2023-01-20T02:49:29.904" v="2119"/>
          <ac:spMkLst>
            <pc:docMk/>
            <pc:sldMk cId="2910035269" sldId="2516"/>
            <ac:spMk id="59" creationId="{ED9FA0FE-FD6F-D8EE-C734-DDECE6B41390}"/>
          </ac:spMkLst>
        </pc:spChg>
        <pc:spChg chg="mod">
          <ac:chgData name="Aurelien Domont" userId="6da7715ce44349b3" providerId="LiveId" clId="{7CD043B0-6B74-4D9A-84AE-1D8FE229AAC4}" dt="2023-01-20T03:57:13.897" v="3083"/>
          <ac:spMkLst>
            <pc:docMk/>
            <pc:sldMk cId="2910035269" sldId="2516"/>
            <ac:spMk id="60" creationId="{70012F14-6ACF-648B-A0C3-9831F28FCDD5}"/>
          </ac:spMkLst>
        </pc:spChg>
        <pc:spChg chg="mod">
          <ac:chgData name="Aurelien Domont" userId="6da7715ce44349b3" providerId="LiveId" clId="{7CD043B0-6B74-4D9A-84AE-1D8FE229AAC4}" dt="2023-01-19T23:29:57.244" v="379" actId="1036"/>
          <ac:spMkLst>
            <pc:docMk/>
            <pc:sldMk cId="2910035269" sldId="2516"/>
            <ac:spMk id="66" creationId="{D2A8DFC7-27D0-2248-2089-0502807F476A}"/>
          </ac:spMkLst>
        </pc:spChg>
      </pc:sldChg>
      <pc:sldChg chg="addSp delSp modSp add mod">
        <pc:chgData name="Aurelien Domont" userId="6da7715ce44349b3" providerId="LiveId" clId="{7CD043B0-6B74-4D9A-84AE-1D8FE229AAC4}" dt="2023-01-19T23:52:49.635" v="809" actId="478"/>
        <pc:sldMkLst>
          <pc:docMk/>
          <pc:sldMk cId="1621361002" sldId="2517"/>
        </pc:sldMkLst>
        <pc:spChg chg="add del mod">
          <ac:chgData name="Aurelien Domont" userId="6da7715ce44349b3" providerId="LiveId" clId="{7CD043B0-6B74-4D9A-84AE-1D8FE229AAC4}" dt="2023-01-19T23:52:49.635" v="809" actId="478"/>
          <ac:spMkLst>
            <pc:docMk/>
            <pc:sldMk cId="1621361002" sldId="2517"/>
            <ac:spMk id="4" creationId="{34D7CA51-6729-7C1F-9EA4-A0B3B12E4F3D}"/>
          </ac:spMkLst>
        </pc:spChg>
        <pc:spChg chg="mod">
          <ac:chgData name="Aurelien Domont" userId="6da7715ce44349b3" providerId="LiveId" clId="{7CD043B0-6B74-4D9A-84AE-1D8FE229AAC4}" dt="2023-01-19T23:30:58.971" v="387" actId="20577"/>
          <ac:spMkLst>
            <pc:docMk/>
            <pc:sldMk cId="1621361002" sldId="2517"/>
            <ac:spMk id="16" creationId="{6C2BB713-9637-4B9B-938F-E9768876782A}"/>
          </ac:spMkLst>
        </pc:spChg>
        <pc:spChg chg="mod">
          <ac:chgData name="Aurelien Domont" userId="6da7715ce44349b3" providerId="LiveId" clId="{7CD043B0-6B74-4D9A-84AE-1D8FE229AAC4}" dt="2023-01-19T23:36:54.994" v="564" actId="1036"/>
          <ac:spMkLst>
            <pc:docMk/>
            <pc:sldMk cId="1621361002" sldId="2517"/>
            <ac:spMk id="27" creationId="{AC8B7369-7E6F-43E6-96D5-9FE68700ADE3}"/>
          </ac:spMkLst>
        </pc:spChg>
      </pc:sldChg>
      <pc:sldChg chg="addSp delSp modSp add mod">
        <pc:chgData name="Aurelien Domont" userId="6da7715ce44349b3" providerId="LiveId" clId="{7CD043B0-6B74-4D9A-84AE-1D8FE229AAC4}" dt="2023-01-19T23:42:16.737" v="655" actId="20577"/>
        <pc:sldMkLst>
          <pc:docMk/>
          <pc:sldMk cId="1913251889" sldId="2518"/>
        </pc:sldMkLst>
        <pc:spChg chg="mod">
          <ac:chgData name="Aurelien Domont" userId="6da7715ce44349b3" providerId="LiveId" clId="{7CD043B0-6B74-4D9A-84AE-1D8FE229AAC4}" dt="2023-01-19T23:32:47.611" v="413"/>
          <ac:spMkLst>
            <pc:docMk/>
            <pc:sldMk cId="1913251889" sldId="2518"/>
            <ac:spMk id="16" creationId="{6C2BB713-9637-4B9B-938F-E9768876782A}"/>
          </ac:spMkLst>
        </pc:spChg>
        <pc:graphicFrameChg chg="add del mod modGraphic">
          <ac:chgData name="Aurelien Domont" userId="6da7715ce44349b3" providerId="LiveId" clId="{7CD043B0-6B74-4D9A-84AE-1D8FE229AAC4}" dt="2023-01-19T23:37:01.843" v="565" actId="478"/>
          <ac:graphicFrameMkLst>
            <pc:docMk/>
            <pc:sldMk cId="1913251889" sldId="2518"/>
            <ac:graphicFrameMk id="2" creationId="{5A3F6FE4-BF6B-1B9C-09F7-58FF2AFF60C1}"/>
          </ac:graphicFrameMkLst>
        </pc:graphicFrameChg>
        <pc:graphicFrameChg chg="add del mod modGraphic">
          <ac:chgData name="Aurelien Domont" userId="6da7715ce44349b3" providerId="LiveId" clId="{7CD043B0-6B74-4D9A-84AE-1D8FE229AAC4}" dt="2023-01-19T23:38:22.139" v="571" actId="478"/>
          <ac:graphicFrameMkLst>
            <pc:docMk/>
            <pc:sldMk cId="1913251889" sldId="2518"/>
            <ac:graphicFrameMk id="4" creationId="{78FA4BD4-8105-1CCD-5EB3-7DD5B0277B62}"/>
          </ac:graphicFrameMkLst>
        </pc:graphicFrameChg>
        <pc:graphicFrameChg chg="add mod modGraphic">
          <ac:chgData name="Aurelien Domont" userId="6da7715ce44349b3" providerId="LiveId" clId="{7CD043B0-6B74-4D9A-84AE-1D8FE229AAC4}" dt="2023-01-19T23:42:16.737" v="655" actId="20577"/>
          <ac:graphicFrameMkLst>
            <pc:docMk/>
            <pc:sldMk cId="1913251889" sldId="2518"/>
            <ac:graphicFrameMk id="5" creationId="{CB3CE04B-695B-943C-FD13-E4ADE63F943C}"/>
          </ac:graphicFrameMkLst>
        </pc:graphicFrameChg>
      </pc:sldChg>
      <pc:sldChg chg="add del">
        <pc:chgData name="Aurelien Domont" userId="6da7715ce44349b3" providerId="LiveId" clId="{7CD043B0-6B74-4D9A-84AE-1D8FE229AAC4}" dt="2023-01-19T23:52:56.842" v="810" actId="47"/>
        <pc:sldMkLst>
          <pc:docMk/>
          <pc:sldMk cId="3724721747" sldId="2519"/>
        </pc:sldMkLst>
      </pc:sldChg>
      <pc:sldChg chg="add del">
        <pc:chgData name="Aurelien Domont" userId="6da7715ce44349b3" providerId="LiveId" clId="{7CD043B0-6B74-4D9A-84AE-1D8FE229AAC4}" dt="2023-01-19T23:52:56.842" v="810" actId="47"/>
        <pc:sldMkLst>
          <pc:docMk/>
          <pc:sldMk cId="1346173694" sldId="2520"/>
        </pc:sldMkLst>
      </pc:sldChg>
      <pc:sldChg chg="add del">
        <pc:chgData name="Aurelien Domont" userId="6da7715ce44349b3" providerId="LiveId" clId="{7CD043B0-6B74-4D9A-84AE-1D8FE229AAC4}" dt="2023-01-19T23:52:56.842" v="810" actId="47"/>
        <pc:sldMkLst>
          <pc:docMk/>
          <pc:sldMk cId="3745757389" sldId="2521"/>
        </pc:sldMkLst>
      </pc:sldChg>
      <pc:sldChg chg="add del">
        <pc:chgData name="Aurelien Domont" userId="6da7715ce44349b3" providerId="LiveId" clId="{7CD043B0-6B74-4D9A-84AE-1D8FE229AAC4}" dt="2023-01-19T23:43:52.404" v="661" actId="47"/>
        <pc:sldMkLst>
          <pc:docMk/>
          <pc:sldMk cId="2411093608" sldId="2522"/>
        </pc:sldMkLst>
      </pc:sldChg>
      <pc:sldChg chg="modSp add mod">
        <pc:chgData name="Aurelien Domont" userId="6da7715ce44349b3" providerId="LiveId" clId="{7CD043B0-6B74-4D9A-84AE-1D8FE229AAC4}" dt="2023-01-19T23:43:02.419" v="660" actId="207"/>
        <pc:sldMkLst>
          <pc:docMk/>
          <pc:sldMk cId="4092314093" sldId="2523"/>
        </pc:sldMkLst>
        <pc:graphicFrameChg chg="mod modGraphic">
          <ac:chgData name="Aurelien Domont" userId="6da7715ce44349b3" providerId="LiveId" clId="{7CD043B0-6B74-4D9A-84AE-1D8FE229AAC4}" dt="2023-01-19T23:43:02.419" v="660" actId="207"/>
          <ac:graphicFrameMkLst>
            <pc:docMk/>
            <pc:sldMk cId="4092314093" sldId="2523"/>
            <ac:graphicFrameMk id="5" creationId="{CB3CE04B-695B-943C-FD13-E4ADE63F943C}"/>
          </ac:graphicFrameMkLst>
        </pc:graphicFrameChg>
      </pc:sldChg>
      <pc:sldChg chg="addSp modSp add mod">
        <pc:chgData name="Aurelien Domont" userId="6da7715ce44349b3" providerId="LiveId" clId="{7CD043B0-6B74-4D9A-84AE-1D8FE229AAC4}" dt="2023-01-19T23:50:18.191" v="736" actId="20577"/>
        <pc:sldMkLst>
          <pc:docMk/>
          <pc:sldMk cId="3391907502" sldId="2524"/>
        </pc:sldMkLst>
        <pc:spChg chg="add mod">
          <ac:chgData name="Aurelien Domont" userId="6da7715ce44349b3" providerId="LiveId" clId="{7CD043B0-6B74-4D9A-84AE-1D8FE229AAC4}" dt="2023-01-19T23:44:00.021" v="663"/>
          <ac:spMkLst>
            <pc:docMk/>
            <pc:sldMk cId="3391907502" sldId="2524"/>
            <ac:spMk id="2" creationId="{ECDF104A-9E59-E761-D36F-2E9810D370E5}"/>
          </ac:spMkLst>
        </pc:spChg>
        <pc:spChg chg="add mod">
          <ac:chgData name="Aurelien Domont" userId="6da7715ce44349b3" providerId="LiveId" clId="{7CD043B0-6B74-4D9A-84AE-1D8FE229AAC4}" dt="2023-01-19T23:49:55.596" v="729" actId="2711"/>
          <ac:spMkLst>
            <pc:docMk/>
            <pc:sldMk cId="3391907502" sldId="2524"/>
            <ac:spMk id="4" creationId="{E5145D74-FB43-E084-503A-425B1F67C568}"/>
          </ac:spMkLst>
        </pc:spChg>
        <pc:spChg chg="add mod">
          <ac:chgData name="Aurelien Domont" userId="6da7715ce44349b3" providerId="LiveId" clId="{7CD043B0-6B74-4D9A-84AE-1D8FE229AAC4}" dt="2023-01-19T23:49:55.596" v="729" actId="2711"/>
          <ac:spMkLst>
            <pc:docMk/>
            <pc:sldMk cId="3391907502" sldId="2524"/>
            <ac:spMk id="9" creationId="{6EEA698D-4E1E-F368-0FF4-EA23573E443C}"/>
          </ac:spMkLst>
        </pc:spChg>
        <pc:spChg chg="add mod">
          <ac:chgData name="Aurelien Domont" userId="6da7715ce44349b3" providerId="LiveId" clId="{7CD043B0-6B74-4D9A-84AE-1D8FE229AAC4}" dt="2023-01-19T23:50:18.191" v="736" actId="20577"/>
          <ac:spMkLst>
            <pc:docMk/>
            <pc:sldMk cId="3391907502" sldId="2524"/>
            <ac:spMk id="10" creationId="{202AD567-C1CF-6943-5B61-9EC751729222}"/>
          </ac:spMkLst>
        </pc:spChg>
        <pc:picChg chg="add mod">
          <ac:chgData name="Aurelien Domont" userId="6da7715ce44349b3" providerId="LiveId" clId="{7CD043B0-6B74-4D9A-84AE-1D8FE229AAC4}" dt="2023-01-19T23:44:56.016" v="674" actId="1035"/>
          <ac:picMkLst>
            <pc:docMk/>
            <pc:sldMk cId="3391907502" sldId="2524"/>
            <ac:picMk id="7" creationId="{A704C0AE-8749-F6D4-0200-FCCCAF04631D}"/>
          </ac:picMkLst>
        </pc:picChg>
        <pc:picChg chg="add mod">
          <ac:chgData name="Aurelien Domont" userId="6da7715ce44349b3" providerId="LiveId" clId="{7CD043B0-6B74-4D9A-84AE-1D8FE229AAC4}" dt="2023-01-19T23:45:25.730" v="680" actId="1076"/>
          <ac:picMkLst>
            <pc:docMk/>
            <pc:sldMk cId="3391907502" sldId="2524"/>
            <ac:picMk id="8" creationId="{B45617DD-93A6-5C00-17B4-53A224573594}"/>
          </ac:picMkLst>
        </pc:picChg>
      </pc:sldChg>
      <pc:sldChg chg="addSp delSp modSp add mod">
        <pc:chgData name="Aurelien Domont" userId="6da7715ce44349b3" providerId="LiveId" clId="{7CD043B0-6B74-4D9A-84AE-1D8FE229AAC4}" dt="2023-01-19T23:52:40.842" v="808" actId="1076"/>
        <pc:sldMkLst>
          <pc:docMk/>
          <pc:sldMk cId="2006761934" sldId="2525"/>
        </pc:sldMkLst>
        <pc:spChg chg="mod">
          <ac:chgData name="Aurelien Domont" userId="6da7715ce44349b3" providerId="LiveId" clId="{7CD043B0-6B74-4D9A-84AE-1D8FE229AAC4}" dt="2023-01-19T23:51:03.253" v="751" actId="20577"/>
          <ac:spMkLst>
            <pc:docMk/>
            <pc:sldMk cId="2006761934" sldId="2525"/>
            <ac:spMk id="2" creationId="{ECDF104A-9E59-E761-D36F-2E9810D370E5}"/>
          </ac:spMkLst>
        </pc:spChg>
        <pc:spChg chg="mod">
          <ac:chgData name="Aurelien Domont" userId="6da7715ce44349b3" providerId="LiveId" clId="{7CD043B0-6B74-4D9A-84AE-1D8FE229AAC4}" dt="2023-01-19T23:52:38.327" v="807" actId="1076"/>
          <ac:spMkLst>
            <pc:docMk/>
            <pc:sldMk cId="2006761934" sldId="2525"/>
            <ac:spMk id="4" creationId="{E5145D74-FB43-E084-503A-425B1F67C568}"/>
          </ac:spMkLst>
        </pc:spChg>
        <pc:spChg chg="add mod">
          <ac:chgData name="Aurelien Domont" userId="6da7715ce44349b3" providerId="LiveId" clId="{7CD043B0-6B74-4D9A-84AE-1D8FE229AAC4}" dt="2023-01-19T23:52:40.842" v="808" actId="1076"/>
          <ac:spMkLst>
            <pc:docMk/>
            <pc:sldMk cId="2006761934" sldId="2525"/>
            <ac:spMk id="6" creationId="{846DB13D-C967-0131-8941-52965E4694B7}"/>
          </ac:spMkLst>
        </pc:spChg>
        <pc:spChg chg="del">
          <ac:chgData name="Aurelien Domont" userId="6da7715ce44349b3" providerId="LiveId" clId="{7CD043B0-6B74-4D9A-84AE-1D8FE229AAC4}" dt="2023-01-19T23:51:59.823" v="802" actId="478"/>
          <ac:spMkLst>
            <pc:docMk/>
            <pc:sldMk cId="2006761934" sldId="2525"/>
            <ac:spMk id="9" creationId="{6EEA698D-4E1E-F368-0FF4-EA23573E443C}"/>
          </ac:spMkLst>
        </pc:spChg>
        <pc:spChg chg="del">
          <ac:chgData name="Aurelien Domont" userId="6da7715ce44349b3" providerId="LiveId" clId="{7CD043B0-6B74-4D9A-84AE-1D8FE229AAC4}" dt="2023-01-19T23:51:59.823" v="802" actId="478"/>
          <ac:spMkLst>
            <pc:docMk/>
            <pc:sldMk cId="2006761934" sldId="2525"/>
            <ac:spMk id="10" creationId="{202AD567-C1CF-6943-5B61-9EC751729222}"/>
          </ac:spMkLst>
        </pc:spChg>
      </pc:sldChg>
      <pc:sldChg chg="addSp modSp add mod">
        <pc:chgData name="Aurelien Domont" userId="6da7715ce44349b3" providerId="LiveId" clId="{7CD043B0-6B74-4D9A-84AE-1D8FE229AAC4}" dt="2023-01-20T03:57:13.897" v="3083"/>
        <pc:sldMkLst>
          <pc:docMk/>
          <pc:sldMk cId="3751701482" sldId="2526"/>
        </pc:sldMkLst>
        <pc:spChg chg="add mod">
          <ac:chgData name="Aurelien Domont" userId="6da7715ce44349b3" providerId="LiveId" clId="{7CD043B0-6B74-4D9A-84AE-1D8FE229AAC4}" dt="2023-01-20T03:46:52.665" v="3004"/>
          <ac:spMkLst>
            <pc:docMk/>
            <pc:sldMk cId="3751701482" sldId="2526"/>
            <ac:spMk id="2" creationId="{67C27260-4997-655D-3440-334EB0F58AA2}"/>
          </ac:spMkLst>
        </pc:spChg>
        <pc:spChg chg="mod">
          <ac:chgData name="Aurelien Domont" userId="6da7715ce44349b3" providerId="LiveId" clId="{7CD043B0-6B74-4D9A-84AE-1D8FE229AAC4}" dt="2023-01-20T02:49:29.904" v="2119"/>
          <ac:spMkLst>
            <pc:docMk/>
            <pc:sldMk cId="3751701482" sldId="2526"/>
            <ac:spMk id="59" creationId="{ED9FA0FE-FD6F-D8EE-C734-DDECE6B41390}"/>
          </ac:spMkLst>
        </pc:spChg>
        <pc:spChg chg="mod">
          <ac:chgData name="Aurelien Domont" userId="6da7715ce44349b3" providerId="LiveId" clId="{7CD043B0-6B74-4D9A-84AE-1D8FE229AAC4}" dt="2023-01-20T03:57:13.897" v="3083"/>
          <ac:spMkLst>
            <pc:docMk/>
            <pc:sldMk cId="3751701482" sldId="2526"/>
            <ac:spMk id="60" creationId="{70012F14-6ACF-648B-A0C3-9831F28FCDD5}"/>
          </ac:spMkLst>
        </pc:spChg>
        <pc:spChg chg="mod">
          <ac:chgData name="Aurelien Domont" userId="6da7715ce44349b3" providerId="LiveId" clId="{7CD043B0-6B74-4D9A-84AE-1D8FE229AAC4}" dt="2023-01-19T23:53:06.834" v="823" actId="1036"/>
          <ac:spMkLst>
            <pc:docMk/>
            <pc:sldMk cId="3751701482" sldId="2526"/>
            <ac:spMk id="66" creationId="{D2A8DFC7-27D0-2248-2089-0502807F476A}"/>
          </ac:spMkLst>
        </pc:spChg>
      </pc:sldChg>
      <pc:sldChg chg="addSp modSp add mod">
        <pc:chgData name="Aurelien Domont" userId="6da7715ce44349b3" providerId="LiveId" clId="{7CD043B0-6B74-4D9A-84AE-1D8FE229AAC4}" dt="2023-01-20T03:57:13.897" v="3083"/>
        <pc:sldMkLst>
          <pc:docMk/>
          <pc:sldMk cId="12014084" sldId="2527"/>
        </pc:sldMkLst>
        <pc:spChg chg="add mod">
          <ac:chgData name="Aurelien Domont" userId="6da7715ce44349b3" providerId="LiveId" clId="{7CD043B0-6B74-4D9A-84AE-1D8FE229AAC4}" dt="2023-01-20T03:46:55.219" v="3005"/>
          <ac:spMkLst>
            <pc:docMk/>
            <pc:sldMk cId="12014084" sldId="2527"/>
            <ac:spMk id="2" creationId="{A50F4E43-C0D1-24E2-6A77-B5C9A333B9CA}"/>
          </ac:spMkLst>
        </pc:spChg>
        <pc:spChg chg="mod">
          <ac:chgData name="Aurelien Domont" userId="6da7715ce44349b3" providerId="LiveId" clId="{7CD043B0-6B74-4D9A-84AE-1D8FE229AAC4}" dt="2023-01-20T02:49:29.904" v="2119"/>
          <ac:spMkLst>
            <pc:docMk/>
            <pc:sldMk cId="12014084" sldId="2527"/>
            <ac:spMk id="59" creationId="{ED9FA0FE-FD6F-D8EE-C734-DDECE6B41390}"/>
          </ac:spMkLst>
        </pc:spChg>
        <pc:spChg chg="mod">
          <ac:chgData name="Aurelien Domont" userId="6da7715ce44349b3" providerId="LiveId" clId="{7CD043B0-6B74-4D9A-84AE-1D8FE229AAC4}" dt="2023-01-20T03:57:13.897" v="3083"/>
          <ac:spMkLst>
            <pc:docMk/>
            <pc:sldMk cId="12014084" sldId="2527"/>
            <ac:spMk id="60" creationId="{70012F14-6ACF-648B-A0C3-9831F28FCDD5}"/>
          </ac:spMkLst>
        </pc:spChg>
        <pc:spChg chg="mod">
          <ac:chgData name="Aurelien Domont" userId="6da7715ce44349b3" providerId="LiveId" clId="{7CD043B0-6B74-4D9A-84AE-1D8FE229AAC4}" dt="2023-01-20T00:04:28.047" v="949" actId="1036"/>
          <ac:spMkLst>
            <pc:docMk/>
            <pc:sldMk cId="12014084" sldId="2527"/>
            <ac:spMk id="66" creationId="{D2A8DFC7-27D0-2248-2089-0502807F476A}"/>
          </ac:spMkLst>
        </pc:spChg>
      </pc:sldChg>
      <pc:sldChg chg="addSp delSp modSp add mod">
        <pc:chgData name="Aurelien Domont" userId="6da7715ce44349b3" providerId="LiveId" clId="{7CD043B0-6B74-4D9A-84AE-1D8FE229AAC4}" dt="2023-01-20T00:26:40.353" v="1040" actId="790"/>
        <pc:sldMkLst>
          <pc:docMk/>
          <pc:sldMk cId="1518822418" sldId="2528"/>
        </pc:sldMkLst>
        <pc:spChg chg="add mod">
          <ac:chgData name="Aurelien Domont" userId="6da7715ce44349b3" providerId="LiveId" clId="{7CD043B0-6B74-4D9A-84AE-1D8FE229AAC4}" dt="2023-01-20T00:19:04.620" v="1003" actId="403"/>
          <ac:spMkLst>
            <pc:docMk/>
            <pc:sldMk cId="1518822418" sldId="2528"/>
            <ac:spMk id="2" creationId="{21B6A16B-BE7F-D0DA-AAF1-AC27525A0736}"/>
          </ac:spMkLst>
        </pc:spChg>
        <pc:spChg chg="del">
          <ac:chgData name="Aurelien Domont" userId="6da7715ce44349b3" providerId="LiveId" clId="{7CD043B0-6B74-4D9A-84AE-1D8FE229AAC4}" dt="2023-01-20T00:18:11.359" v="995" actId="478"/>
          <ac:spMkLst>
            <pc:docMk/>
            <pc:sldMk cId="1518822418" sldId="2528"/>
            <ac:spMk id="4" creationId="{629E74D2-4BEF-D64C-79A7-70C0556AF5EE}"/>
          </ac:spMkLst>
        </pc:spChg>
        <pc:spChg chg="del">
          <ac:chgData name="Aurelien Domont" userId="6da7715ce44349b3" providerId="LiveId" clId="{7CD043B0-6B74-4D9A-84AE-1D8FE229AAC4}" dt="2023-01-20T00:18:13.165" v="996" actId="478"/>
          <ac:spMkLst>
            <pc:docMk/>
            <pc:sldMk cId="1518822418" sldId="2528"/>
            <ac:spMk id="8" creationId="{01EB73AB-3B93-C179-4DA6-87CE2ABF4E69}"/>
          </ac:spMkLst>
        </pc:spChg>
        <pc:spChg chg="add mod">
          <ac:chgData name="Aurelien Domont" userId="6da7715ce44349b3" providerId="LiveId" clId="{7CD043B0-6B74-4D9A-84AE-1D8FE229AAC4}" dt="2023-01-20T00:20:27.074" v="1012" actId="108"/>
          <ac:spMkLst>
            <pc:docMk/>
            <pc:sldMk cId="1518822418" sldId="2528"/>
            <ac:spMk id="9" creationId="{04C4356B-21A2-A883-60C7-1F1D14AFE3A2}"/>
          </ac:spMkLst>
        </pc:spChg>
        <pc:spChg chg="add mod">
          <ac:chgData name="Aurelien Domont" userId="6da7715ce44349b3" providerId="LiveId" clId="{7CD043B0-6B74-4D9A-84AE-1D8FE229AAC4}" dt="2023-01-20T00:20:33.076" v="1013" actId="108"/>
          <ac:spMkLst>
            <pc:docMk/>
            <pc:sldMk cId="1518822418" sldId="2528"/>
            <ac:spMk id="10" creationId="{16A80B6F-814F-B966-4178-42D4E16B6E7C}"/>
          </ac:spMkLst>
        </pc:spChg>
        <pc:spChg chg="add mod">
          <ac:chgData name="Aurelien Domont" userId="6da7715ce44349b3" providerId="LiveId" clId="{7CD043B0-6B74-4D9A-84AE-1D8FE229AAC4}" dt="2023-01-20T00:20:33.698" v="1014" actId="108"/>
          <ac:spMkLst>
            <pc:docMk/>
            <pc:sldMk cId="1518822418" sldId="2528"/>
            <ac:spMk id="11" creationId="{5EA62624-4816-82D2-2462-1FE8E189CF67}"/>
          </ac:spMkLst>
        </pc:spChg>
        <pc:spChg chg="add mod">
          <ac:chgData name="Aurelien Domont" userId="6da7715ce44349b3" providerId="LiveId" clId="{7CD043B0-6B74-4D9A-84AE-1D8FE229AAC4}" dt="2023-01-20T00:19:00.387" v="1002" actId="403"/>
          <ac:spMkLst>
            <pc:docMk/>
            <pc:sldMk cId="1518822418" sldId="2528"/>
            <ac:spMk id="12" creationId="{974224E9-074C-6049-8407-C168691DEFF2}"/>
          </ac:spMkLst>
        </pc:spChg>
        <pc:spChg chg="add mod">
          <ac:chgData name="Aurelien Domont" userId="6da7715ce44349b3" providerId="LiveId" clId="{7CD043B0-6B74-4D9A-84AE-1D8FE229AAC4}" dt="2023-01-20T00:20:38.493" v="1016" actId="108"/>
          <ac:spMkLst>
            <pc:docMk/>
            <pc:sldMk cId="1518822418" sldId="2528"/>
            <ac:spMk id="14" creationId="{10256343-1BE2-064C-52D5-865FE92B8333}"/>
          </ac:spMkLst>
        </pc:spChg>
        <pc:spChg chg="add mod">
          <ac:chgData name="Aurelien Domont" userId="6da7715ce44349b3" providerId="LiveId" clId="{7CD043B0-6B74-4D9A-84AE-1D8FE229AAC4}" dt="2023-01-20T00:20:39.086" v="1017" actId="108"/>
          <ac:spMkLst>
            <pc:docMk/>
            <pc:sldMk cId="1518822418" sldId="2528"/>
            <ac:spMk id="15" creationId="{405C7EC2-6727-F2C4-90DA-3D95E800838C}"/>
          </ac:spMkLst>
        </pc:spChg>
        <pc:spChg chg="mod">
          <ac:chgData name="Aurelien Domont" userId="6da7715ce44349b3" providerId="LiveId" clId="{7CD043B0-6B74-4D9A-84AE-1D8FE229AAC4}" dt="2023-01-20T00:18:08.198" v="994" actId="20577"/>
          <ac:spMkLst>
            <pc:docMk/>
            <pc:sldMk cId="1518822418" sldId="2528"/>
            <ac:spMk id="16" creationId="{6C2BB713-9637-4B9B-938F-E9768876782A}"/>
          </ac:spMkLst>
        </pc:spChg>
        <pc:spChg chg="add mod">
          <ac:chgData name="Aurelien Domont" userId="6da7715ce44349b3" providerId="LiveId" clId="{7CD043B0-6B74-4D9A-84AE-1D8FE229AAC4}" dt="2023-01-20T00:26:40.353" v="1040" actId="790"/>
          <ac:spMkLst>
            <pc:docMk/>
            <pc:sldMk cId="1518822418" sldId="2528"/>
            <ac:spMk id="17" creationId="{066A4CB4-5030-F344-473F-1DF6600BF211}"/>
          </ac:spMkLst>
        </pc:spChg>
        <pc:spChg chg="add mod">
          <ac:chgData name="Aurelien Domont" userId="6da7715ce44349b3" providerId="LiveId" clId="{7CD043B0-6B74-4D9A-84AE-1D8FE229AAC4}" dt="2023-01-20T00:20:34.420" v="1015" actId="108"/>
          <ac:spMkLst>
            <pc:docMk/>
            <pc:sldMk cId="1518822418" sldId="2528"/>
            <ac:spMk id="18" creationId="{011FFFF2-93BE-47B0-1B0D-866D9BFE97C9}"/>
          </ac:spMkLst>
        </pc:spChg>
        <pc:spChg chg="add mod">
          <ac:chgData name="Aurelien Domont" userId="6da7715ce44349b3" providerId="LiveId" clId="{7CD043B0-6B74-4D9A-84AE-1D8FE229AAC4}" dt="2023-01-20T00:20:40.081" v="1019" actId="108"/>
          <ac:spMkLst>
            <pc:docMk/>
            <pc:sldMk cId="1518822418" sldId="2528"/>
            <ac:spMk id="19" creationId="{27E41AA0-BD8E-AB48-588C-4424BB9B0C96}"/>
          </ac:spMkLst>
        </pc:spChg>
        <pc:grpChg chg="del">
          <ac:chgData name="Aurelien Domont" userId="6da7715ce44349b3" providerId="LiveId" clId="{7CD043B0-6B74-4D9A-84AE-1D8FE229AAC4}" dt="2023-01-20T00:18:11.359" v="995" actId="478"/>
          <ac:grpSpMkLst>
            <pc:docMk/>
            <pc:sldMk cId="1518822418" sldId="2528"/>
            <ac:grpSpMk id="5" creationId="{676DD684-C666-571C-F41E-BF8EE4C26F1F}"/>
          </ac:grpSpMkLst>
        </pc:grpChg>
      </pc:sldChg>
      <pc:sldChg chg="addSp delSp modSp add mod">
        <pc:chgData name="Aurelien Domont" userId="6da7715ce44349b3" providerId="LiveId" clId="{7CD043B0-6B74-4D9A-84AE-1D8FE229AAC4}" dt="2023-01-20T00:22:25.352" v="1035" actId="403"/>
        <pc:sldMkLst>
          <pc:docMk/>
          <pc:sldMk cId="218914048" sldId="2529"/>
        </pc:sldMkLst>
        <pc:spChg chg="del">
          <ac:chgData name="Aurelien Domont" userId="6da7715ce44349b3" providerId="LiveId" clId="{7CD043B0-6B74-4D9A-84AE-1D8FE229AAC4}" dt="2023-01-20T00:21:24.019" v="1029" actId="478"/>
          <ac:spMkLst>
            <pc:docMk/>
            <pc:sldMk cId="218914048" sldId="2529"/>
            <ac:spMk id="2" creationId="{21B6A16B-BE7F-D0DA-AAF1-AC27525A0736}"/>
          </ac:spMkLst>
        </pc:spChg>
        <pc:spChg chg="add mod">
          <ac:chgData name="Aurelien Domont" userId="6da7715ce44349b3" providerId="LiveId" clId="{7CD043B0-6B74-4D9A-84AE-1D8FE229AAC4}" dt="2023-01-20T00:22:25.352" v="1035" actId="403"/>
          <ac:spMkLst>
            <pc:docMk/>
            <pc:sldMk cId="218914048" sldId="2529"/>
            <ac:spMk id="4" creationId="{FE6299AD-A758-89E1-9748-4C3EBE94DC8D}"/>
          </ac:spMkLst>
        </pc:spChg>
        <pc:spChg chg="del">
          <ac:chgData name="Aurelien Domont" userId="6da7715ce44349b3" providerId="LiveId" clId="{7CD043B0-6B74-4D9A-84AE-1D8FE229AAC4}" dt="2023-01-20T00:21:24.019" v="1029" actId="478"/>
          <ac:spMkLst>
            <pc:docMk/>
            <pc:sldMk cId="218914048" sldId="2529"/>
            <ac:spMk id="9" creationId="{04C4356B-21A2-A883-60C7-1F1D14AFE3A2}"/>
          </ac:spMkLst>
        </pc:spChg>
        <pc:spChg chg="del">
          <ac:chgData name="Aurelien Domont" userId="6da7715ce44349b3" providerId="LiveId" clId="{7CD043B0-6B74-4D9A-84AE-1D8FE229AAC4}" dt="2023-01-20T00:21:24.019" v="1029" actId="478"/>
          <ac:spMkLst>
            <pc:docMk/>
            <pc:sldMk cId="218914048" sldId="2529"/>
            <ac:spMk id="10" creationId="{16A80B6F-814F-B966-4178-42D4E16B6E7C}"/>
          </ac:spMkLst>
        </pc:spChg>
        <pc:spChg chg="del">
          <ac:chgData name="Aurelien Domont" userId="6da7715ce44349b3" providerId="LiveId" clId="{7CD043B0-6B74-4D9A-84AE-1D8FE229AAC4}" dt="2023-01-20T00:21:24.019" v="1029" actId="478"/>
          <ac:spMkLst>
            <pc:docMk/>
            <pc:sldMk cId="218914048" sldId="2529"/>
            <ac:spMk id="11" creationId="{5EA62624-4816-82D2-2462-1FE8E189CF67}"/>
          </ac:spMkLst>
        </pc:spChg>
        <pc:spChg chg="del">
          <ac:chgData name="Aurelien Domont" userId="6da7715ce44349b3" providerId="LiveId" clId="{7CD043B0-6B74-4D9A-84AE-1D8FE229AAC4}" dt="2023-01-20T00:21:24.019" v="1029" actId="478"/>
          <ac:spMkLst>
            <pc:docMk/>
            <pc:sldMk cId="218914048" sldId="2529"/>
            <ac:spMk id="12" creationId="{974224E9-074C-6049-8407-C168691DEFF2}"/>
          </ac:spMkLst>
        </pc:spChg>
        <pc:spChg chg="del">
          <ac:chgData name="Aurelien Domont" userId="6da7715ce44349b3" providerId="LiveId" clId="{7CD043B0-6B74-4D9A-84AE-1D8FE229AAC4}" dt="2023-01-20T00:21:24.019" v="1029" actId="478"/>
          <ac:spMkLst>
            <pc:docMk/>
            <pc:sldMk cId="218914048" sldId="2529"/>
            <ac:spMk id="14" creationId="{10256343-1BE2-064C-52D5-865FE92B8333}"/>
          </ac:spMkLst>
        </pc:spChg>
        <pc:spChg chg="del">
          <ac:chgData name="Aurelien Domont" userId="6da7715ce44349b3" providerId="LiveId" clId="{7CD043B0-6B74-4D9A-84AE-1D8FE229AAC4}" dt="2023-01-20T00:21:24.019" v="1029" actId="478"/>
          <ac:spMkLst>
            <pc:docMk/>
            <pc:sldMk cId="218914048" sldId="2529"/>
            <ac:spMk id="15" creationId="{405C7EC2-6727-F2C4-90DA-3D95E800838C}"/>
          </ac:spMkLst>
        </pc:spChg>
        <pc:spChg chg="mod">
          <ac:chgData name="Aurelien Domont" userId="6da7715ce44349b3" providerId="LiveId" clId="{7CD043B0-6B74-4D9A-84AE-1D8FE229AAC4}" dt="2023-01-20T00:21:17.373" v="1028" actId="20577"/>
          <ac:spMkLst>
            <pc:docMk/>
            <pc:sldMk cId="218914048" sldId="2529"/>
            <ac:spMk id="16" creationId="{6C2BB713-9637-4B9B-938F-E9768876782A}"/>
          </ac:spMkLst>
        </pc:spChg>
        <pc:spChg chg="del">
          <ac:chgData name="Aurelien Domont" userId="6da7715ce44349b3" providerId="LiveId" clId="{7CD043B0-6B74-4D9A-84AE-1D8FE229AAC4}" dt="2023-01-20T00:21:24.019" v="1029" actId="478"/>
          <ac:spMkLst>
            <pc:docMk/>
            <pc:sldMk cId="218914048" sldId="2529"/>
            <ac:spMk id="17" creationId="{066A4CB4-5030-F344-473F-1DF6600BF211}"/>
          </ac:spMkLst>
        </pc:spChg>
        <pc:spChg chg="del">
          <ac:chgData name="Aurelien Domont" userId="6da7715ce44349b3" providerId="LiveId" clId="{7CD043B0-6B74-4D9A-84AE-1D8FE229AAC4}" dt="2023-01-20T00:21:24.019" v="1029" actId="478"/>
          <ac:spMkLst>
            <pc:docMk/>
            <pc:sldMk cId="218914048" sldId="2529"/>
            <ac:spMk id="18" creationId="{011FFFF2-93BE-47B0-1B0D-866D9BFE97C9}"/>
          </ac:spMkLst>
        </pc:spChg>
        <pc:spChg chg="del">
          <ac:chgData name="Aurelien Domont" userId="6da7715ce44349b3" providerId="LiveId" clId="{7CD043B0-6B74-4D9A-84AE-1D8FE229AAC4}" dt="2023-01-20T00:21:24.019" v="1029" actId="478"/>
          <ac:spMkLst>
            <pc:docMk/>
            <pc:sldMk cId="218914048" sldId="2529"/>
            <ac:spMk id="19" creationId="{27E41AA0-BD8E-AB48-588C-4424BB9B0C96}"/>
          </ac:spMkLst>
        </pc:spChg>
      </pc:sldChg>
      <pc:sldChg chg="addSp modSp add mod">
        <pc:chgData name="Aurelien Domont" userId="6da7715ce44349b3" providerId="LiveId" clId="{7CD043B0-6B74-4D9A-84AE-1D8FE229AAC4}" dt="2023-01-20T03:57:13.897" v="3083"/>
        <pc:sldMkLst>
          <pc:docMk/>
          <pc:sldMk cId="3091794586" sldId="2530"/>
        </pc:sldMkLst>
        <pc:spChg chg="add mod">
          <ac:chgData name="Aurelien Domont" userId="6da7715ce44349b3" providerId="LiveId" clId="{7CD043B0-6B74-4D9A-84AE-1D8FE229AAC4}" dt="2023-01-20T03:46:58.412" v="3006"/>
          <ac:spMkLst>
            <pc:docMk/>
            <pc:sldMk cId="3091794586" sldId="2530"/>
            <ac:spMk id="2" creationId="{B562D59D-9F61-77E9-2995-D2C58876CAD3}"/>
          </ac:spMkLst>
        </pc:spChg>
        <pc:spChg chg="mod">
          <ac:chgData name="Aurelien Domont" userId="6da7715ce44349b3" providerId="LiveId" clId="{7CD043B0-6B74-4D9A-84AE-1D8FE229AAC4}" dt="2023-01-20T02:49:29.904" v="2119"/>
          <ac:spMkLst>
            <pc:docMk/>
            <pc:sldMk cId="3091794586" sldId="2530"/>
            <ac:spMk id="59" creationId="{ED9FA0FE-FD6F-D8EE-C734-DDECE6B41390}"/>
          </ac:spMkLst>
        </pc:spChg>
        <pc:spChg chg="mod">
          <ac:chgData name="Aurelien Domont" userId="6da7715ce44349b3" providerId="LiveId" clId="{7CD043B0-6B74-4D9A-84AE-1D8FE229AAC4}" dt="2023-01-20T03:57:13.897" v="3083"/>
          <ac:spMkLst>
            <pc:docMk/>
            <pc:sldMk cId="3091794586" sldId="2530"/>
            <ac:spMk id="60" creationId="{70012F14-6ACF-648B-A0C3-9831F28FCDD5}"/>
          </ac:spMkLst>
        </pc:spChg>
        <pc:spChg chg="mod">
          <ac:chgData name="Aurelien Domont" userId="6da7715ce44349b3" providerId="LiveId" clId="{7CD043B0-6B74-4D9A-84AE-1D8FE229AAC4}" dt="2023-01-20T00:30:20.610" v="1055" actId="1036"/>
          <ac:spMkLst>
            <pc:docMk/>
            <pc:sldMk cId="3091794586" sldId="2530"/>
            <ac:spMk id="66" creationId="{D2A8DFC7-27D0-2248-2089-0502807F476A}"/>
          </ac:spMkLst>
        </pc:spChg>
      </pc:sldChg>
      <pc:sldChg chg="modSp add mod">
        <pc:chgData name="Aurelien Domont" userId="6da7715ce44349b3" providerId="LiveId" clId="{7CD043B0-6B74-4D9A-84AE-1D8FE229AAC4}" dt="2023-01-20T00:31:26.621" v="1068"/>
        <pc:sldMkLst>
          <pc:docMk/>
          <pc:sldMk cId="3438752713" sldId="2531"/>
        </pc:sldMkLst>
        <pc:spChg chg="mod">
          <ac:chgData name="Aurelien Domont" userId="6da7715ce44349b3" providerId="LiveId" clId="{7CD043B0-6B74-4D9A-84AE-1D8FE229AAC4}" dt="2023-01-20T00:31:26.621" v="1068"/>
          <ac:spMkLst>
            <pc:docMk/>
            <pc:sldMk cId="3438752713" sldId="2531"/>
            <ac:spMk id="8" creationId="{01EB73AB-3B93-C179-4DA6-87CE2ABF4E69}"/>
          </ac:spMkLst>
        </pc:spChg>
        <pc:spChg chg="mod">
          <ac:chgData name="Aurelien Domont" userId="6da7715ce44349b3" providerId="LiveId" clId="{7CD043B0-6B74-4D9A-84AE-1D8FE229AAC4}" dt="2023-01-20T00:31:20.063" v="1067" actId="20577"/>
          <ac:spMkLst>
            <pc:docMk/>
            <pc:sldMk cId="3438752713" sldId="2531"/>
            <ac:spMk id="16" creationId="{6C2BB713-9637-4B9B-938F-E9768876782A}"/>
          </ac:spMkLst>
        </pc:spChg>
      </pc:sldChg>
      <pc:sldChg chg="addSp delSp modSp add mod">
        <pc:chgData name="Aurelien Domont" userId="6da7715ce44349b3" providerId="LiveId" clId="{7CD043B0-6B74-4D9A-84AE-1D8FE229AAC4}" dt="2023-01-20T00:32:05.739" v="1084" actId="207"/>
        <pc:sldMkLst>
          <pc:docMk/>
          <pc:sldMk cId="114241174" sldId="2532"/>
        </pc:sldMkLst>
        <pc:spChg chg="add mod">
          <ac:chgData name="Aurelien Domont" userId="6da7715ce44349b3" providerId="LiveId" clId="{7CD043B0-6B74-4D9A-84AE-1D8FE229AAC4}" dt="2023-01-20T00:32:05.739" v="1084" actId="207"/>
          <ac:spMkLst>
            <pc:docMk/>
            <pc:sldMk cId="114241174" sldId="2532"/>
            <ac:spMk id="2" creationId="{2C6F6A95-F0F0-2B63-F3A9-02D065C85F78}"/>
          </ac:spMkLst>
        </pc:spChg>
        <pc:spChg chg="del">
          <ac:chgData name="Aurelien Domont" userId="6da7715ce44349b3" providerId="LiveId" clId="{7CD043B0-6B74-4D9A-84AE-1D8FE229AAC4}" dt="2023-01-20T00:31:46.351" v="1081" actId="478"/>
          <ac:spMkLst>
            <pc:docMk/>
            <pc:sldMk cId="114241174" sldId="2532"/>
            <ac:spMk id="4" creationId="{629E74D2-4BEF-D64C-79A7-70C0556AF5EE}"/>
          </ac:spMkLst>
        </pc:spChg>
        <pc:spChg chg="del">
          <ac:chgData name="Aurelien Domont" userId="6da7715ce44349b3" providerId="LiveId" clId="{7CD043B0-6B74-4D9A-84AE-1D8FE229AAC4}" dt="2023-01-20T00:31:46.351" v="1081" actId="478"/>
          <ac:spMkLst>
            <pc:docMk/>
            <pc:sldMk cId="114241174" sldId="2532"/>
            <ac:spMk id="8" creationId="{01EB73AB-3B93-C179-4DA6-87CE2ABF4E69}"/>
          </ac:spMkLst>
        </pc:spChg>
        <pc:spChg chg="add mod">
          <ac:chgData name="Aurelien Domont" userId="6da7715ce44349b3" providerId="LiveId" clId="{7CD043B0-6B74-4D9A-84AE-1D8FE229AAC4}" dt="2023-01-20T00:32:05.739" v="1084" actId="207"/>
          <ac:spMkLst>
            <pc:docMk/>
            <pc:sldMk cId="114241174" sldId="2532"/>
            <ac:spMk id="9" creationId="{E2850080-E3F2-A2AA-AC40-8C36B1F06E22}"/>
          </ac:spMkLst>
        </pc:spChg>
        <pc:spChg chg="add mod">
          <ac:chgData name="Aurelien Domont" userId="6da7715ce44349b3" providerId="LiveId" clId="{7CD043B0-6B74-4D9A-84AE-1D8FE229AAC4}" dt="2023-01-20T00:32:05.739" v="1084" actId="207"/>
          <ac:spMkLst>
            <pc:docMk/>
            <pc:sldMk cId="114241174" sldId="2532"/>
            <ac:spMk id="10" creationId="{2DCC5F5B-4EE6-925A-9842-85E3FBD36043}"/>
          </ac:spMkLst>
        </pc:spChg>
        <pc:spChg chg="add mod">
          <ac:chgData name="Aurelien Domont" userId="6da7715ce44349b3" providerId="LiveId" clId="{7CD043B0-6B74-4D9A-84AE-1D8FE229AAC4}" dt="2023-01-20T00:31:51.435" v="1082"/>
          <ac:spMkLst>
            <pc:docMk/>
            <pc:sldMk cId="114241174" sldId="2532"/>
            <ac:spMk id="11" creationId="{3AD51340-0E9C-4DB8-69D6-3919A5B62EFB}"/>
          </ac:spMkLst>
        </pc:spChg>
        <pc:spChg chg="add mod">
          <ac:chgData name="Aurelien Domont" userId="6da7715ce44349b3" providerId="LiveId" clId="{7CD043B0-6B74-4D9A-84AE-1D8FE229AAC4}" dt="2023-01-20T00:31:51.435" v="1082"/>
          <ac:spMkLst>
            <pc:docMk/>
            <pc:sldMk cId="114241174" sldId="2532"/>
            <ac:spMk id="12" creationId="{3CA19FC7-76BA-486F-C4AF-5D09B117E30D}"/>
          </ac:spMkLst>
        </pc:spChg>
        <pc:spChg chg="add mod">
          <ac:chgData name="Aurelien Domont" userId="6da7715ce44349b3" providerId="LiveId" clId="{7CD043B0-6B74-4D9A-84AE-1D8FE229AAC4}" dt="2023-01-20T00:32:05.739" v="1084" actId="207"/>
          <ac:spMkLst>
            <pc:docMk/>
            <pc:sldMk cId="114241174" sldId="2532"/>
            <ac:spMk id="14" creationId="{4E14FA1D-86F2-982E-9B3B-B460D4063A53}"/>
          </ac:spMkLst>
        </pc:spChg>
        <pc:spChg chg="add mod">
          <ac:chgData name="Aurelien Domont" userId="6da7715ce44349b3" providerId="LiveId" clId="{7CD043B0-6B74-4D9A-84AE-1D8FE229AAC4}" dt="2023-01-20T00:31:51.435" v="1082"/>
          <ac:spMkLst>
            <pc:docMk/>
            <pc:sldMk cId="114241174" sldId="2532"/>
            <ac:spMk id="15" creationId="{79437310-8699-3D88-73A0-6FC09AF0B15C}"/>
          </ac:spMkLst>
        </pc:spChg>
        <pc:spChg chg="mod">
          <ac:chgData name="Aurelien Domont" userId="6da7715ce44349b3" providerId="LiveId" clId="{7CD043B0-6B74-4D9A-84AE-1D8FE229AAC4}" dt="2023-01-20T00:31:43.313" v="1080" actId="20577"/>
          <ac:spMkLst>
            <pc:docMk/>
            <pc:sldMk cId="114241174" sldId="2532"/>
            <ac:spMk id="16" creationId="{6C2BB713-9637-4B9B-938F-E9768876782A}"/>
          </ac:spMkLst>
        </pc:spChg>
        <pc:spChg chg="add mod">
          <ac:chgData name="Aurelien Domont" userId="6da7715ce44349b3" providerId="LiveId" clId="{7CD043B0-6B74-4D9A-84AE-1D8FE229AAC4}" dt="2023-01-20T00:31:51.435" v="1082"/>
          <ac:spMkLst>
            <pc:docMk/>
            <pc:sldMk cId="114241174" sldId="2532"/>
            <ac:spMk id="17" creationId="{79A3743F-46B9-10F6-4AC6-B48A76E66958}"/>
          </ac:spMkLst>
        </pc:spChg>
        <pc:spChg chg="add mod">
          <ac:chgData name="Aurelien Domont" userId="6da7715ce44349b3" providerId="LiveId" clId="{7CD043B0-6B74-4D9A-84AE-1D8FE229AAC4}" dt="2023-01-20T00:32:05.739" v="1084" actId="207"/>
          <ac:spMkLst>
            <pc:docMk/>
            <pc:sldMk cId="114241174" sldId="2532"/>
            <ac:spMk id="19" creationId="{10ECE868-1D8B-491D-E8B2-91A631143294}"/>
          </ac:spMkLst>
        </pc:spChg>
        <pc:spChg chg="add mod">
          <ac:chgData name="Aurelien Domont" userId="6da7715ce44349b3" providerId="LiveId" clId="{7CD043B0-6B74-4D9A-84AE-1D8FE229AAC4}" dt="2023-01-20T00:31:51.435" v="1082"/>
          <ac:spMkLst>
            <pc:docMk/>
            <pc:sldMk cId="114241174" sldId="2532"/>
            <ac:spMk id="20" creationId="{F66C0503-CFBA-002B-4B48-2040C768ACA4}"/>
          </ac:spMkLst>
        </pc:spChg>
        <pc:grpChg chg="del">
          <ac:chgData name="Aurelien Domont" userId="6da7715ce44349b3" providerId="LiveId" clId="{7CD043B0-6B74-4D9A-84AE-1D8FE229AAC4}" dt="2023-01-20T00:31:46.351" v="1081" actId="478"/>
          <ac:grpSpMkLst>
            <pc:docMk/>
            <pc:sldMk cId="114241174" sldId="2532"/>
            <ac:grpSpMk id="5" creationId="{676DD684-C666-571C-F41E-BF8EE4C26F1F}"/>
          </ac:grpSpMkLst>
        </pc:grpChg>
        <pc:cxnChg chg="add del mod">
          <ac:chgData name="Aurelien Domont" userId="6da7715ce44349b3" providerId="LiveId" clId="{7CD043B0-6B74-4D9A-84AE-1D8FE229AAC4}" dt="2023-01-20T00:31:57.469" v="1083" actId="478"/>
          <ac:cxnSpMkLst>
            <pc:docMk/>
            <pc:sldMk cId="114241174" sldId="2532"/>
            <ac:cxnSpMk id="18" creationId="{9F8AECAD-AB50-33D6-5C37-97BF589133D0}"/>
          </ac:cxnSpMkLst>
        </pc:cxnChg>
      </pc:sldChg>
      <pc:sldChg chg="addSp modSp add mod">
        <pc:chgData name="Aurelien Domont" userId="6da7715ce44349b3" providerId="LiveId" clId="{7CD043B0-6B74-4D9A-84AE-1D8FE229AAC4}" dt="2023-01-20T03:57:13.897" v="3083"/>
        <pc:sldMkLst>
          <pc:docMk/>
          <pc:sldMk cId="1898338050" sldId="2533"/>
        </pc:sldMkLst>
        <pc:spChg chg="add mod">
          <ac:chgData name="Aurelien Domont" userId="6da7715ce44349b3" providerId="LiveId" clId="{7CD043B0-6B74-4D9A-84AE-1D8FE229AAC4}" dt="2023-01-20T03:47:00.819" v="3007"/>
          <ac:spMkLst>
            <pc:docMk/>
            <pc:sldMk cId="1898338050" sldId="2533"/>
            <ac:spMk id="2" creationId="{1BA5BF2A-6707-9AA7-3FD0-DA517388A963}"/>
          </ac:spMkLst>
        </pc:spChg>
        <pc:spChg chg="mod">
          <ac:chgData name="Aurelien Domont" userId="6da7715ce44349b3" providerId="LiveId" clId="{7CD043B0-6B74-4D9A-84AE-1D8FE229AAC4}" dt="2023-01-20T02:49:29.904" v="2119"/>
          <ac:spMkLst>
            <pc:docMk/>
            <pc:sldMk cId="1898338050" sldId="2533"/>
            <ac:spMk id="59" creationId="{ED9FA0FE-FD6F-D8EE-C734-DDECE6B41390}"/>
          </ac:spMkLst>
        </pc:spChg>
        <pc:spChg chg="mod">
          <ac:chgData name="Aurelien Domont" userId="6da7715ce44349b3" providerId="LiveId" clId="{7CD043B0-6B74-4D9A-84AE-1D8FE229AAC4}" dt="2023-01-20T03:57:13.897" v="3083"/>
          <ac:spMkLst>
            <pc:docMk/>
            <pc:sldMk cId="1898338050" sldId="2533"/>
            <ac:spMk id="60" creationId="{70012F14-6ACF-648B-A0C3-9831F28FCDD5}"/>
          </ac:spMkLst>
        </pc:spChg>
        <pc:spChg chg="mod">
          <ac:chgData name="Aurelien Domont" userId="6da7715ce44349b3" providerId="LiveId" clId="{7CD043B0-6B74-4D9A-84AE-1D8FE229AAC4}" dt="2023-01-20T00:33:26.477" v="1097" actId="1035"/>
          <ac:spMkLst>
            <pc:docMk/>
            <pc:sldMk cId="1898338050" sldId="2533"/>
            <ac:spMk id="66" creationId="{D2A8DFC7-27D0-2248-2089-0502807F476A}"/>
          </ac:spMkLst>
        </pc:spChg>
      </pc:sldChg>
      <pc:sldChg chg="addSp delSp modSp add mod">
        <pc:chgData name="Aurelien Domont" userId="6da7715ce44349b3" providerId="LiveId" clId="{7CD043B0-6B74-4D9A-84AE-1D8FE229AAC4}" dt="2023-01-20T01:39:39.322" v="1133" actId="20577"/>
        <pc:sldMkLst>
          <pc:docMk/>
          <pc:sldMk cId="3710951792" sldId="2534"/>
        </pc:sldMkLst>
        <pc:spChg chg="add del mod">
          <ac:chgData name="Aurelien Domont" userId="6da7715ce44349b3" providerId="LiveId" clId="{7CD043B0-6B74-4D9A-84AE-1D8FE229AAC4}" dt="2023-01-20T01:38:43.643" v="1130" actId="478"/>
          <ac:spMkLst>
            <pc:docMk/>
            <pc:sldMk cId="3710951792" sldId="2534"/>
            <ac:spMk id="2" creationId="{01A9661B-B795-1A61-2929-01F61A342FA2}"/>
          </ac:spMkLst>
        </pc:spChg>
        <pc:spChg chg="del">
          <ac:chgData name="Aurelien Domont" userId="6da7715ce44349b3" providerId="LiveId" clId="{7CD043B0-6B74-4D9A-84AE-1D8FE229AAC4}" dt="2023-01-20T01:37:45.734" v="1120" actId="478"/>
          <ac:spMkLst>
            <pc:docMk/>
            <pc:sldMk cId="3710951792" sldId="2534"/>
            <ac:spMk id="4" creationId="{629E74D2-4BEF-D64C-79A7-70C0556AF5EE}"/>
          </ac:spMkLst>
        </pc:spChg>
        <pc:spChg chg="del mod">
          <ac:chgData name="Aurelien Domont" userId="6da7715ce44349b3" providerId="LiveId" clId="{7CD043B0-6B74-4D9A-84AE-1D8FE229AAC4}" dt="2023-01-20T01:37:47.874" v="1121" actId="478"/>
          <ac:spMkLst>
            <pc:docMk/>
            <pc:sldMk cId="3710951792" sldId="2534"/>
            <ac:spMk id="8" creationId="{01EB73AB-3B93-C179-4DA6-87CE2ABF4E69}"/>
          </ac:spMkLst>
        </pc:spChg>
        <pc:spChg chg="add mod">
          <ac:chgData name="Aurelien Domont" userId="6da7715ce44349b3" providerId="LiveId" clId="{7CD043B0-6B74-4D9A-84AE-1D8FE229AAC4}" dt="2023-01-20T01:39:39.322" v="1133" actId="20577"/>
          <ac:spMkLst>
            <pc:docMk/>
            <pc:sldMk cId="3710951792" sldId="2534"/>
            <ac:spMk id="9" creationId="{264AD83F-2678-C45A-8A97-0D84D5BCC0DF}"/>
          </ac:spMkLst>
        </pc:spChg>
        <pc:spChg chg="mod">
          <ac:chgData name="Aurelien Domont" userId="6da7715ce44349b3" providerId="LiveId" clId="{7CD043B0-6B74-4D9A-84AE-1D8FE229AAC4}" dt="2023-01-20T01:38:34.864" v="1128" actId="20577"/>
          <ac:spMkLst>
            <pc:docMk/>
            <pc:sldMk cId="3710951792" sldId="2534"/>
            <ac:spMk id="16" creationId="{6C2BB713-9637-4B9B-938F-E9768876782A}"/>
          </ac:spMkLst>
        </pc:spChg>
        <pc:grpChg chg="del">
          <ac:chgData name="Aurelien Domont" userId="6da7715ce44349b3" providerId="LiveId" clId="{7CD043B0-6B74-4D9A-84AE-1D8FE229AAC4}" dt="2023-01-20T01:37:45.734" v="1120" actId="478"/>
          <ac:grpSpMkLst>
            <pc:docMk/>
            <pc:sldMk cId="3710951792" sldId="2534"/>
            <ac:grpSpMk id="5" creationId="{676DD684-C666-571C-F41E-BF8EE4C26F1F}"/>
          </ac:grpSpMkLst>
        </pc:grpChg>
      </pc:sldChg>
      <pc:sldChg chg="addSp modSp add mod">
        <pc:chgData name="Aurelien Domont" userId="6da7715ce44349b3" providerId="LiveId" clId="{7CD043B0-6B74-4D9A-84AE-1D8FE229AAC4}" dt="2023-01-20T03:57:13.897" v="3083"/>
        <pc:sldMkLst>
          <pc:docMk/>
          <pc:sldMk cId="869038798" sldId="2535"/>
        </pc:sldMkLst>
        <pc:spChg chg="add mod">
          <ac:chgData name="Aurelien Domont" userId="6da7715ce44349b3" providerId="LiveId" clId="{7CD043B0-6B74-4D9A-84AE-1D8FE229AAC4}" dt="2023-01-20T03:47:02.992" v="3008"/>
          <ac:spMkLst>
            <pc:docMk/>
            <pc:sldMk cId="869038798" sldId="2535"/>
            <ac:spMk id="2" creationId="{C7E658CD-E843-804D-95FD-DAD77557D034}"/>
          </ac:spMkLst>
        </pc:spChg>
        <pc:spChg chg="mod">
          <ac:chgData name="Aurelien Domont" userId="6da7715ce44349b3" providerId="LiveId" clId="{7CD043B0-6B74-4D9A-84AE-1D8FE229AAC4}" dt="2023-01-20T02:49:29.904" v="2119"/>
          <ac:spMkLst>
            <pc:docMk/>
            <pc:sldMk cId="869038798" sldId="2535"/>
            <ac:spMk id="59" creationId="{ED9FA0FE-FD6F-D8EE-C734-DDECE6B41390}"/>
          </ac:spMkLst>
        </pc:spChg>
        <pc:spChg chg="mod">
          <ac:chgData name="Aurelien Domont" userId="6da7715ce44349b3" providerId="LiveId" clId="{7CD043B0-6B74-4D9A-84AE-1D8FE229AAC4}" dt="2023-01-20T03:57:13.897" v="3083"/>
          <ac:spMkLst>
            <pc:docMk/>
            <pc:sldMk cId="869038798" sldId="2535"/>
            <ac:spMk id="60" creationId="{70012F14-6ACF-648B-A0C3-9831F28FCDD5}"/>
          </ac:spMkLst>
        </pc:spChg>
        <pc:spChg chg="mod">
          <ac:chgData name="Aurelien Domont" userId="6da7715ce44349b3" providerId="LiveId" clId="{7CD043B0-6B74-4D9A-84AE-1D8FE229AAC4}" dt="2023-01-20T01:46:48.557" v="1155" actId="14100"/>
          <ac:spMkLst>
            <pc:docMk/>
            <pc:sldMk cId="869038798" sldId="2535"/>
            <ac:spMk id="66" creationId="{D2A8DFC7-27D0-2248-2089-0502807F476A}"/>
          </ac:spMkLst>
        </pc:spChg>
      </pc:sldChg>
      <pc:sldChg chg="modSp add mod">
        <pc:chgData name="Aurelien Domont" userId="6da7715ce44349b3" providerId="LiveId" clId="{7CD043B0-6B74-4D9A-84AE-1D8FE229AAC4}" dt="2023-01-20T01:50:17.113" v="1244" actId="20577"/>
        <pc:sldMkLst>
          <pc:docMk/>
          <pc:sldMk cId="4266527838" sldId="2536"/>
        </pc:sldMkLst>
        <pc:spChg chg="mod">
          <ac:chgData name="Aurelien Domont" userId="6da7715ce44349b3" providerId="LiveId" clId="{7CD043B0-6B74-4D9A-84AE-1D8FE229AAC4}" dt="2023-01-20T01:50:07.373" v="1235" actId="20577"/>
          <ac:spMkLst>
            <pc:docMk/>
            <pc:sldMk cId="4266527838" sldId="2536"/>
            <ac:spMk id="9" creationId="{C3864419-C26A-42D5-8FDC-9A9D4A693761}"/>
          </ac:spMkLst>
        </pc:spChg>
        <pc:spChg chg="mod">
          <ac:chgData name="Aurelien Domont" userId="6da7715ce44349b3" providerId="LiveId" clId="{7CD043B0-6B74-4D9A-84AE-1D8FE229AAC4}" dt="2023-01-20T01:50:10.020" v="1238" actId="20577"/>
          <ac:spMkLst>
            <pc:docMk/>
            <pc:sldMk cId="4266527838" sldId="2536"/>
            <ac:spMk id="10" creationId="{1FA09F76-46EF-423B-84D2-2040684DB3C7}"/>
          </ac:spMkLst>
        </pc:spChg>
        <pc:spChg chg="mod">
          <ac:chgData name="Aurelien Domont" userId="6da7715ce44349b3" providerId="LiveId" clId="{7CD043B0-6B74-4D9A-84AE-1D8FE229AAC4}" dt="2023-01-20T01:50:13.541" v="1241" actId="20577"/>
          <ac:spMkLst>
            <pc:docMk/>
            <pc:sldMk cId="4266527838" sldId="2536"/>
            <ac:spMk id="11" creationId="{778198BC-D9B0-4DCB-A5D8-3A42A5E9EC5B}"/>
          </ac:spMkLst>
        </pc:spChg>
        <pc:spChg chg="mod">
          <ac:chgData name="Aurelien Domont" userId="6da7715ce44349b3" providerId="LiveId" clId="{7CD043B0-6B74-4D9A-84AE-1D8FE229AAC4}" dt="2023-01-20T01:50:17.113" v="1244" actId="20577"/>
          <ac:spMkLst>
            <pc:docMk/>
            <pc:sldMk cId="4266527838" sldId="2536"/>
            <ac:spMk id="12" creationId="{9E493FD2-8F33-43CD-9667-FDDF0F018EC2}"/>
          </ac:spMkLst>
        </pc:spChg>
        <pc:spChg chg="mod">
          <ac:chgData name="Aurelien Domont" userId="6da7715ce44349b3" providerId="LiveId" clId="{7CD043B0-6B74-4D9A-84AE-1D8FE229AAC4}" dt="2023-01-20T01:49:59.519" v="1232" actId="20577"/>
          <ac:spMkLst>
            <pc:docMk/>
            <pc:sldMk cId="4266527838" sldId="2536"/>
            <ac:spMk id="16" creationId="{6C2BB713-9637-4B9B-938F-E9768876782A}"/>
          </ac:spMkLst>
        </pc:spChg>
      </pc:sldChg>
      <pc:sldChg chg="addSp modSp add mod">
        <pc:chgData name="Aurelien Domont" userId="6da7715ce44349b3" providerId="LiveId" clId="{7CD043B0-6B74-4D9A-84AE-1D8FE229AAC4}" dt="2023-01-20T03:57:13.897" v="3083"/>
        <pc:sldMkLst>
          <pc:docMk/>
          <pc:sldMk cId="1160751031" sldId="2537"/>
        </pc:sldMkLst>
        <pc:spChg chg="add mod">
          <ac:chgData name="Aurelien Domont" userId="6da7715ce44349b3" providerId="LiveId" clId="{7CD043B0-6B74-4D9A-84AE-1D8FE229AAC4}" dt="2023-01-20T03:47:05.056" v="3009"/>
          <ac:spMkLst>
            <pc:docMk/>
            <pc:sldMk cId="1160751031" sldId="2537"/>
            <ac:spMk id="2" creationId="{9430B609-D017-F330-55B1-3C3CF3FADE96}"/>
          </ac:spMkLst>
        </pc:spChg>
        <pc:spChg chg="mod">
          <ac:chgData name="Aurelien Domont" userId="6da7715ce44349b3" providerId="LiveId" clId="{7CD043B0-6B74-4D9A-84AE-1D8FE229AAC4}" dt="2023-01-20T01:50:40.003" v="1247" actId="108"/>
          <ac:spMkLst>
            <pc:docMk/>
            <pc:sldMk cId="1160751031" sldId="2537"/>
            <ac:spMk id="37" creationId="{4FF932B5-0172-8D7B-AAC0-BBD9B54B1B29}"/>
          </ac:spMkLst>
        </pc:spChg>
        <pc:spChg chg="mod">
          <ac:chgData name="Aurelien Domont" userId="6da7715ce44349b3" providerId="LiveId" clId="{7CD043B0-6B74-4D9A-84AE-1D8FE229AAC4}" dt="2023-01-20T01:50:37.141" v="1246" actId="207"/>
          <ac:spMkLst>
            <pc:docMk/>
            <pc:sldMk cId="1160751031" sldId="2537"/>
            <ac:spMk id="40" creationId="{603E3248-A081-114E-6860-CE1755A4110E}"/>
          </ac:spMkLst>
        </pc:spChg>
        <pc:spChg chg="mod">
          <ac:chgData name="Aurelien Domont" userId="6da7715ce44349b3" providerId="LiveId" clId="{7CD043B0-6B74-4D9A-84AE-1D8FE229AAC4}" dt="2023-01-20T02:49:29.904" v="2119"/>
          <ac:spMkLst>
            <pc:docMk/>
            <pc:sldMk cId="1160751031" sldId="2537"/>
            <ac:spMk id="59" creationId="{ED9FA0FE-FD6F-D8EE-C734-DDECE6B41390}"/>
          </ac:spMkLst>
        </pc:spChg>
        <pc:spChg chg="mod">
          <ac:chgData name="Aurelien Domont" userId="6da7715ce44349b3" providerId="LiveId" clId="{7CD043B0-6B74-4D9A-84AE-1D8FE229AAC4}" dt="2023-01-20T03:57:13.897" v="3083"/>
          <ac:spMkLst>
            <pc:docMk/>
            <pc:sldMk cId="1160751031" sldId="2537"/>
            <ac:spMk id="60" creationId="{70012F14-6ACF-648B-A0C3-9831F28FCDD5}"/>
          </ac:spMkLst>
        </pc:spChg>
        <pc:spChg chg="mod">
          <ac:chgData name="Aurelien Domont" userId="6da7715ce44349b3" providerId="LiveId" clId="{7CD043B0-6B74-4D9A-84AE-1D8FE229AAC4}" dt="2023-01-20T01:50:44.954" v="1248" actId="1076"/>
          <ac:spMkLst>
            <pc:docMk/>
            <pc:sldMk cId="1160751031" sldId="2537"/>
            <ac:spMk id="66" creationId="{D2A8DFC7-27D0-2248-2089-0502807F476A}"/>
          </ac:spMkLst>
        </pc:spChg>
      </pc:sldChg>
      <pc:sldChg chg="addSp modSp add mod">
        <pc:chgData name="Aurelien Domont" userId="6da7715ce44349b3" providerId="LiveId" clId="{7CD043B0-6B74-4D9A-84AE-1D8FE229AAC4}" dt="2023-01-20T03:57:13.897" v="3083"/>
        <pc:sldMkLst>
          <pc:docMk/>
          <pc:sldMk cId="3451781639" sldId="2538"/>
        </pc:sldMkLst>
        <pc:spChg chg="add mod">
          <ac:chgData name="Aurelien Domont" userId="6da7715ce44349b3" providerId="LiveId" clId="{7CD043B0-6B74-4D9A-84AE-1D8FE229AAC4}" dt="2023-01-20T03:47:07.297" v="3010"/>
          <ac:spMkLst>
            <pc:docMk/>
            <pc:sldMk cId="3451781639" sldId="2538"/>
            <ac:spMk id="2" creationId="{6A9A3018-E508-B431-CB54-2CC6201B2B16}"/>
          </ac:spMkLst>
        </pc:spChg>
        <pc:spChg chg="mod">
          <ac:chgData name="Aurelien Domont" userId="6da7715ce44349b3" providerId="LiveId" clId="{7CD043B0-6B74-4D9A-84AE-1D8FE229AAC4}" dt="2023-01-20T02:49:29.904" v="2119"/>
          <ac:spMkLst>
            <pc:docMk/>
            <pc:sldMk cId="3451781639" sldId="2538"/>
            <ac:spMk id="59" creationId="{ED9FA0FE-FD6F-D8EE-C734-DDECE6B41390}"/>
          </ac:spMkLst>
        </pc:spChg>
        <pc:spChg chg="mod">
          <ac:chgData name="Aurelien Domont" userId="6da7715ce44349b3" providerId="LiveId" clId="{7CD043B0-6B74-4D9A-84AE-1D8FE229AAC4}" dt="2023-01-20T03:57:13.897" v="3083"/>
          <ac:spMkLst>
            <pc:docMk/>
            <pc:sldMk cId="3451781639" sldId="2538"/>
            <ac:spMk id="60" creationId="{70012F14-6ACF-648B-A0C3-9831F28FCDD5}"/>
          </ac:spMkLst>
        </pc:spChg>
        <pc:spChg chg="mod">
          <ac:chgData name="Aurelien Domont" userId="6da7715ce44349b3" providerId="LiveId" clId="{7CD043B0-6B74-4D9A-84AE-1D8FE229AAC4}" dt="2023-01-20T01:51:11.102" v="1273" actId="14100"/>
          <ac:spMkLst>
            <pc:docMk/>
            <pc:sldMk cId="3451781639" sldId="2538"/>
            <ac:spMk id="66" creationId="{D2A8DFC7-27D0-2248-2089-0502807F476A}"/>
          </ac:spMkLst>
        </pc:spChg>
      </pc:sldChg>
      <pc:sldChg chg="addSp modSp add mod">
        <pc:chgData name="Aurelien Domont" userId="6da7715ce44349b3" providerId="LiveId" clId="{7CD043B0-6B74-4D9A-84AE-1D8FE229AAC4}" dt="2023-01-20T03:57:13.897" v="3083"/>
        <pc:sldMkLst>
          <pc:docMk/>
          <pc:sldMk cId="200304886" sldId="2539"/>
        </pc:sldMkLst>
        <pc:spChg chg="add mod">
          <ac:chgData name="Aurelien Domont" userId="6da7715ce44349b3" providerId="LiveId" clId="{7CD043B0-6B74-4D9A-84AE-1D8FE229AAC4}" dt="2023-01-20T03:47:09.192" v="3011"/>
          <ac:spMkLst>
            <pc:docMk/>
            <pc:sldMk cId="200304886" sldId="2539"/>
            <ac:spMk id="2" creationId="{F3543A05-D459-27DF-E8E1-7294AB894AAC}"/>
          </ac:spMkLst>
        </pc:spChg>
        <pc:spChg chg="mod">
          <ac:chgData name="Aurelien Domont" userId="6da7715ce44349b3" providerId="LiveId" clId="{7CD043B0-6B74-4D9A-84AE-1D8FE229AAC4}" dt="2023-01-20T02:49:29.904" v="2119"/>
          <ac:spMkLst>
            <pc:docMk/>
            <pc:sldMk cId="200304886" sldId="2539"/>
            <ac:spMk id="59" creationId="{ED9FA0FE-FD6F-D8EE-C734-DDECE6B41390}"/>
          </ac:spMkLst>
        </pc:spChg>
        <pc:spChg chg="mod">
          <ac:chgData name="Aurelien Domont" userId="6da7715ce44349b3" providerId="LiveId" clId="{7CD043B0-6B74-4D9A-84AE-1D8FE229AAC4}" dt="2023-01-20T03:57:13.897" v="3083"/>
          <ac:spMkLst>
            <pc:docMk/>
            <pc:sldMk cId="200304886" sldId="2539"/>
            <ac:spMk id="60" creationId="{70012F14-6ACF-648B-A0C3-9831F28FCDD5}"/>
          </ac:spMkLst>
        </pc:spChg>
        <pc:spChg chg="mod">
          <ac:chgData name="Aurelien Domont" userId="6da7715ce44349b3" providerId="LiveId" clId="{7CD043B0-6B74-4D9A-84AE-1D8FE229AAC4}" dt="2023-01-20T01:52:37.167" v="1293" actId="1036"/>
          <ac:spMkLst>
            <pc:docMk/>
            <pc:sldMk cId="200304886" sldId="2539"/>
            <ac:spMk id="66" creationId="{D2A8DFC7-27D0-2248-2089-0502807F476A}"/>
          </ac:spMkLst>
        </pc:spChg>
      </pc:sldChg>
      <pc:sldChg chg="addSp modSp add mod">
        <pc:chgData name="Aurelien Domont" userId="6da7715ce44349b3" providerId="LiveId" clId="{7CD043B0-6B74-4D9A-84AE-1D8FE229AAC4}" dt="2023-01-20T03:57:13.897" v="3083"/>
        <pc:sldMkLst>
          <pc:docMk/>
          <pc:sldMk cId="3541979900" sldId="2540"/>
        </pc:sldMkLst>
        <pc:spChg chg="add mod">
          <ac:chgData name="Aurelien Domont" userId="6da7715ce44349b3" providerId="LiveId" clId="{7CD043B0-6B74-4D9A-84AE-1D8FE229AAC4}" dt="2023-01-20T03:47:12.081" v="3012"/>
          <ac:spMkLst>
            <pc:docMk/>
            <pc:sldMk cId="3541979900" sldId="2540"/>
            <ac:spMk id="2" creationId="{3B5705B0-C013-7647-9368-DE75D4EFD362}"/>
          </ac:spMkLst>
        </pc:spChg>
        <pc:spChg chg="mod">
          <ac:chgData name="Aurelien Domont" userId="6da7715ce44349b3" providerId="LiveId" clId="{7CD043B0-6B74-4D9A-84AE-1D8FE229AAC4}" dt="2023-01-20T02:49:29.904" v="2119"/>
          <ac:spMkLst>
            <pc:docMk/>
            <pc:sldMk cId="3541979900" sldId="2540"/>
            <ac:spMk id="59" creationId="{ED9FA0FE-FD6F-D8EE-C734-DDECE6B41390}"/>
          </ac:spMkLst>
        </pc:spChg>
        <pc:spChg chg="mod">
          <ac:chgData name="Aurelien Domont" userId="6da7715ce44349b3" providerId="LiveId" clId="{7CD043B0-6B74-4D9A-84AE-1D8FE229AAC4}" dt="2023-01-20T03:57:13.897" v="3083"/>
          <ac:spMkLst>
            <pc:docMk/>
            <pc:sldMk cId="3541979900" sldId="2540"/>
            <ac:spMk id="60" creationId="{70012F14-6ACF-648B-A0C3-9831F28FCDD5}"/>
          </ac:spMkLst>
        </pc:spChg>
        <pc:spChg chg="mod">
          <ac:chgData name="Aurelien Domont" userId="6da7715ce44349b3" providerId="LiveId" clId="{7CD043B0-6B74-4D9A-84AE-1D8FE229AAC4}" dt="2023-01-20T01:52:49.827" v="1315" actId="1036"/>
          <ac:spMkLst>
            <pc:docMk/>
            <pc:sldMk cId="3541979900" sldId="2540"/>
            <ac:spMk id="66" creationId="{D2A8DFC7-27D0-2248-2089-0502807F476A}"/>
          </ac:spMkLst>
        </pc:spChg>
      </pc:sldChg>
      <pc:sldChg chg="addSp modSp add mod">
        <pc:chgData name="Aurelien Domont" userId="6da7715ce44349b3" providerId="LiveId" clId="{7CD043B0-6B74-4D9A-84AE-1D8FE229AAC4}" dt="2023-01-20T03:57:13.897" v="3083"/>
        <pc:sldMkLst>
          <pc:docMk/>
          <pc:sldMk cId="869654287" sldId="2541"/>
        </pc:sldMkLst>
        <pc:spChg chg="add mod">
          <ac:chgData name="Aurelien Domont" userId="6da7715ce44349b3" providerId="LiveId" clId="{7CD043B0-6B74-4D9A-84AE-1D8FE229AAC4}" dt="2023-01-20T03:47:16.305" v="3013"/>
          <ac:spMkLst>
            <pc:docMk/>
            <pc:sldMk cId="869654287" sldId="2541"/>
            <ac:spMk id="2" creationId="{2C72528C-3841-5BFD-7227-48851FD67D96}"/>
          </ac:spMkLst>
        </pc:spChg>
        <pc:spChg chg="mod">
          <ac:chgData name="Aurelien Domont" userId="6da7715ce44349b3" providerId="LiveId" clId="{7CD043B0-6B74-4D9A-84AE-1D8FE229AAC4}" dt="2023-01-20T02:49:29.904" v="2119"/>
          <ac:spMkLst>
            <pc:docMk/>
            <pc:sldMk cId="869654287" sldId="2541"/>
            <ac:spMk id="59" creationId="{ED9FA0FE-FD6F-D8EE-C734-DDECE6B41390}"/>
          </ac:spMkLst>
        </pc:spChg>
        <pc:spChg chg="mod">
          <ac:chgData name="Aurelien Domont" userId="6da7715ce44349b3" providerId="LiveId" clId="{7CD043B0-6B74-4D9A-84AE-1D8FE229AAC4}" dt="2023-01-20T03:57:13.897" v="3083"/>
          <ac:spMkLst>
            <pc:docMk/>
            <pc:sldMk cId="869654287" sldId="2541"/>
            <ac:spMk id="60" creationId="{70012F14-6ACF-648B-A0C3-9831F28FCDD5}"/>
          </ac:spMkLst>
        </pc:spChg>
        <pc:spChg chg="mod ord">
          <ac:chgData name="Aurelien Domont" userId="6da7715ce44349b3" providerId="LiveId" clId="{7CD043B0-6B74-4D9A-84AE-1D8FE229AAC4}" dt="2023-01-20T01:53:26.954" v="1333" actId="167"/>
          <ac:spMkLst>
            <pc:docMk/>
            <pc:sldMk cId="869654287" sldId="2541"/>
            <ac:spMk id="66" creationId="{D2A8DFC7-27D0-2248-2089-0502807F476A}"/>
          </ac:spMkLst>
        </pc:spChg>
      </pc:sldChg>
      <pc:sldChg chg="addSp modSp add mod">
        <pc:chgData name="Aurelien Domont" userId="6da7715ce44349b3" providerId="LiveId" clId="{7CD043B0-6B74-4D9A-84AE-1D8FE229AAC4}" dt="2023-01-20T03:57:13.897" v="3083"/>
        <pc:sldMkLst>
          <pc:docMk/>
          <pc:sldMk cId="3540213376" sldId="2542"/>
        </pc:sldMkLst>
        <pc:spChg chg="add mod">
          <ac:chgData name="Aurelien Domont" userId="6da7715ce44349b3" providerId="LiveId" clId="{7CD043B0-6B74-4D9A-84AE-1D8FE229AAC4}" dt="2023-01-20T03:47:19.285" v="3014"/>
          <ac:spMkLst>
            <pc:docMk/>
            <pc:sldMk cId="3540213376" sldId="2542"/>
            <ac:spMk id="2" creationId="{6FD0B209-320E-9036-5FA4-8302BD15BD34}"/>
          </ac:spMkLst>
        </pc:spChg>
        <pc:spChg chg="mod">
          <ac:chgData name="Aurelien Domont" userId="6da7715ce44349b3" providerId="LiveId" clId="{7CD043B0-6B74-4D9A-84AE-1D8FE229AAC4}" dt="2023-01-20T02:49:29.904" v="2119"/>
          <ac:spMkLst>
            <pc:docMk/>
            <pc:sldMk cId="3540213376" sldId="2542"/>
            <ac:spMk id="59" creationId="{ED9FA0FE-FD6F-D8EE-C734-DDECE6B41390}"/>
          </ac:spMkLst>
        </pc:spChg>
        <pc:spChg chg="mod">
          <ac:chgData name="Aurelien Domont" userId="6da7715ce44349b3" providerId="LiveId" clId="{7CD043B0-6B74-4D9A-84AE-1D8FE229AAC4}" dt="2023-01-20T03:57:13.897" v="3083"/>
          <ac:spMkLst>
            <pc:docMk/>
            <pc:sldMk cId="3540213376" sldId="2542"/>
            <ac:spMk id="60" creationId="{70012F14-6ACF-648B-A0C3-9831F28FCDD5}"/>
          </ac:spMkLst>
        </pc:spChg>
        <pc:spChg chg="mod">
          <ac:chgData name="Aurelien Domont" userId="6da7715ce44349b3" providerId="LiveId" clId="{7CD043B0-6B74-4D9A-84AE-1D8FE229AAC4}" dt="2023-01-20T02:06:42.910" v="1371" actId="1036"/>
          <ac:spMkLst>
            <pc:docMk/>
            <pc:sldMk cId="3540213376" sldId="2542"/>
            <ac:spMk id="66" creationId="{D2A8DFC7-27D0-2248-2089-0502807F476A}"/>
          </ac:spMkLst>
        </pc:spChg>
      </pc:sldChg>
      <pc:sldChg chg="addSp delSp modSp add mod">
        <pc:chgData name="Aurelien Domont" userId="6da7715ce44349b3" providerId="LiveId" clId="{7CD043B0-6B74-4D9A-84AE-1D8FE229AAC4}" dt="2023-01-20T02:37:52.989" v="1920" actId="478"/>
        <pc:sldMkLst>
          <pc:docMk/>
          <pc:sldMk cId="1460840373" sldId="2543"/>
        </pc:sldMkLst>
        <pc:spChg chg="add del mod">
          <ac:chgData name="Aurelien Domont" userId="6da7715ce44349b3" providerId="LiveId" clId="{7CD043B0-6B74-4D9A-84AE-1D8FE229AAC4}" dt="2023-01-20T02:09:11.187" v="1407" actId="478"/>
          <ac:spMkLst>
            <pc:docMk/>
            <pc:sldMk cId="1460840373" sldId="2543"/>
            <ac:spMk id="7" creationId="{A41A4449-3FFC-F442-85AB-7CFB6EBC7F1B}"/>
          </ac:spMkLst>
        </pc:spChg>
        <pc:spChg chg="add del mod">
          <ac:chgData name="Aurelien Domont" userId="6da7715ce44349b3" providerId="LiveId" clId="{7CD043B0-6B74-4D9A-84AE-1D8FE229AAC4}" dt="2023-01-20T02:37:52.989" v="1920" actId="478"/>
          <ac:spMkLst>
            <pc:docMk/>
            <pc:sldMk cId="1460840373" sldId="2543"/>
            <ac:spMk id="8" creationId="{AF1C2E4F-639F-B9C3-1114-7AEAD2115D97}"/>
          </ac:spMkLst>
        </pc:spChg>
        <pc:spChg chg="mod">
          <ac:chgData name="Aurelien Domont" userId="6da7715ce44349b3" providerId="LiveId" clId="{7CD043B0-6B74-4D9A-84AE-1D8FE229AAC4}" dt="2023-01-20T02:07:09.154" v="1386" actId="20577"/>
          <ac:spMkLst>
            <pc:docMk/>
            <pc:sldMk cId="1460840373" sldId="2543"/>
            <ac:spMk id="16" creationId="{6C2BB713-9637-4B9B-938F-E9768876782A}"/>
          </ac:spMkLst>
        </pc:spChg>
        <pc:spChg chg="mod">
          <ac:chgData name="Aurelien Domont" userId="6da7715ce44349b3" providerId="LiveId" clId="{7CD043B0-6B74-4D9A-84AE-1D8FE229AAC4}" dt="2023-01-20T02:11:18.413" v="1419" actId="20577"/>
          <ac:spMkLst>
            <pc:docMk/>
            <pc:sldMk cId="1460840373" sldId="2543"/>
            <ac:spMk id="24" creationId="{5262883E-429E-4FBD-BE90-9FFFC2CD6641}"/>
          </ac:spMkLst>
        </pc:spChg>
      </pc:sldChg>
      <pc:sldChg chg="addSp delSp modSp add mod ord">
        <pc:chgData name="Aurelien Domont" userId="6da7715ce44349b3" providerId="LiveId" clId="{7CD043B0-6B74-4D9A-84AE-1D8FE229AAC4}" dt="2023-01-20T02:29:30.975" v="1715" actId="571"/>
        <pc:sldMkLst>
          <pc:docMk/>
          <pc:sldMk cId="3234245594" sldId="2544"/>
        </pc:sldMkLst>
        <pc:spChg chg="add mod">
          <ac:chgData name="Aurelien Domont" userId="6da7715ce44349b3" providerId="LiveId" clId="{7CD043B0-6B74-4D9A-84AE-1D8FE229AAC4}" dt="2023-01-20T02:18:49.719" v="1531" actId="20577"/>
          <ac:spMkLst>
            <pc:docMk/>
            <pc:sldMk cId="3234245594" sldId="2544"/>
            <ac:spMk id="2" creationId="{2519C4B1-62A2-C518-3161-76B8D5942FBE}"/>
          </ac:spMkLst>
        </pc:spChg>
        <pc:spChg chg="add mod">
          <ac:chgData name="Aurelien Domont" userId="6da7715ce44349b3" providerId="LiveId" clId="{7CD043B0-6B74-4D9A-84AE-1D8FE229AAC4}" dt="2023-01-20T02:18:54.015" v="1536" actId="20577"/>
          <ac:spMkLst>
            <pc:docMk/>
            <pc:sldMk cId="3234245594" sldId="2544"/>
            <ac:spMk id="4" creationId="{5BBE5408-1F7C-6382-3A60-1D2EBE90C12D}"/>
          </ac:spMkLst>
        </pc:spChg>
        <pc:spChg chg="add mod">
          <ac:chgData name="Aurelien Domont" userId="6da7715ce44349b3" providerId="LiveId" clId="{7CD043B0-6B74-4D9A-84AE-1D8FE229AAC4}" dt="2023-01-20T02:19:05.406" v="1541" actId="20577"/>
          <ac:spMkLst>
            <pc:docMk/>
            <pc:sldMk cId="3234245594" sldId="2544"/>
            <ac:spMk id="5" creationId="{248DA087-77D3-4CEF-9872-CEB766F52447}"/>
          </ac:spMkLst>
        </pc:spChg>
        <pc:spChg chg="add mod">
          <ac:chgData name="Aurelien Domont" userId="6da7715ce44349b3" providerId="LiveId" clId="{7CD043B0-6B74-4D9A-84AE-1D8FE229AAC4}" dt="2023-01-20T02:28:45.059" v="1706" actId="179"/>
          <ac:spMkLst>
            <pc:docMk/>
            <pc:sldMk cId="3234245594" sldId="2544"/>
            <ac:spMk id="6" creationId="{6B014724-B698-5914-27BA-7A35DC46C628}"/>
          </ac:spMkLst>
        </pc:spChg>
        <pc:spChg chg="add del mod">
          <ac:chgData name="Aurelien Domont" userId="6da7715ce44349b3" providerId="LiveId" clId="{7CD043B0-6B74-4D9A-84AE-1D8FE229AAC4}" dt="2023-01-20T02:16:07.398" v="1489" actId="478"/>
          <ac:spMkLst>
            <pc:docMk/>
            <pc:sldMk cId="3234245594" sldId="2544"/>
            <ac:spMk id="7" creationId="{84E403EF-D741-DA44-47ED-835615A52254}"/>
          </ac:spMkLst>
        </pc:spChg>
        <pc:spChg chg="add del mod">
          <ac:chgData name="Aurelien Domont" userId="6da7715ce44349b3" providerId="LiveId" clId="{7CD043B0-6B74-4D9A-84AE-1D8FE229AAC4}" dt="2023-01-20T02:16:07.398" v="1489" actId="478"/>
          <ac:spMkLst>
            <pc:docMk/>
            <pc:sldMk cId="3234245594" sldId="2544"/>
            <ac:spMk id="8" creationId="{2F7F860C-6C12-9772-40A4-F4F59EA668F6}"/>
          </ac:spMkLst>
        </pc:spChg>
        <pc:spChg chg="add mod">
          <ac:chgData name="Aurelien Domont" userId="6da7715ce44349b3" providerId="LiveId" clId="{7CD043B0-6B74-4D9A-84AE-1D8FE229AAC4}" dt="2023-01-20T02:17:23.252" v="1520" actId="571"/>
          <ac:spMkLst>
            <pc:docMk/>
            <pc:sldMk cId="3234245594" sldId="2544"/>
            <ac:spMk id="9" creationId="{2A098FCF-4828-F341-D133-3C1568D2E409}"/>
          </ac:spMkLst>
        </pc:spChg>
        <pc:spChg chg="add mod">
          <ac:chgData name="Aurelien Domont" userId="6da7715ce44349b3" providerId="LiveId" clId="{7CD043B0-6B74-4D9A-84AE-1D8FE229AAC4}" dt="2023-01-20T02:17:31.663" v="1523" actId="571"/>
          <ac:spMkLst>
            <pc:docMk/>
            <pc:sldMk cId="3234245594" sldId="2544"/>
            <ac:spMk id="10" creationId="{7A9D7B5B-E7CD-A95D-2573-8D7997DB6822}"/>
          </ac:spMkLst>
        </pc:spChg>
        <pc:spChg chg="add mod">
          <ac:chgData name="Aurelien Domont" userId="6da7715ce44349b3" providerId="LiveId" clId="{7CD043B0-6B74-4D9A-84AE-1D8FE229AAC4}" dt="2023-01-20T02:17:31.663" v="1523" actId="571"/>
          <ac:spMkLst>
            <pc:docMk/>
            <pc:sldMk cId="3234245594" sldId="2544"/>
            <ac:spMk id="11" creationId="{7BA12D94-BFD1-BFC6-672D-48305022B35E}"/>
          </ac:spMkLst>
        </pc:spChg>
        <pc:spChg chg="add mod">
          <ac:chgData name="Aurelien Domont" userId="6da7715ce44349b3" providerId="LiveId" clId="{7CD043B0-6B74-4D9A-84AE-1D8FE229AAC4}" dt="2023-01-20T02:17:31.663" v="1523" actId="571"/>
          <ac:spMkLst>
            <pc:docMk/>
            <pc:sldMk cId="3234245594" sldId="2544"/>
            <ac:spMk id="12" creationId="{DC07937D-B0E1-3E49-BC7D-CB8154CC50F9}"/>
          </ac:spMkLst>
        </pc:spChg>
        <pc:spChg chg="add mod">
          <ac:chgData name="Aurelien Domont" userId="6da7715ce44349b3" providerId="LiveId" clId="{7CD043B0-6B74-4D9A-84AE-1D8FE229AAC4}" dt="2023-01-20T02:19:12.981" v="1549" actId="20577"/>
          <ac:spMkLst>
            <pc:docMk/>
            <pc:sldMk cId="3234245594" sldId="2544"/>
            <ac:spMk id="14" creationId="{F9D43B7E-A4EA-164D-1CB1-47DA187802C2}"/>
          </ac:spMkLst>
        </pc:spChg>
        <pc:spChg chg="add mod">
          <ac:chgData name="Aurelien Domont" userId="6da7715ce44349b3" providerId="LiveId" clId="{7CD043B0-6B74-4D9A-84AE-1D8FE229AAC4}" dt="2023-01-20T02:21:04.445" v="1585" actId="20577"/>
          <ac:spMkLst>
            <pc:docMk/>
            <pc:sldMk cId="3234245594" sldId="2544"/>
            <ac:spMk id="15" creationId="{BA80E3CC-877E-54E9-20AB-CB8EC1879670}"/>
          </ac:spMkLst>
        </pc:spChg>
        <pc:spChg chg="mod">
          <ac:chgData name="Aurelien Domont" userId="6da7715ce44349b3" providerId="LiveId" clId="{7CD043B0-6B74-4D9A-84AE-1D8FE229AAC4}" dt="2023-01-20T02:07:40.500" v="1395"/>
          <ac:spMkLst>
            <pc:docMk/>
            <pc:sldMk cId="3234245594" sldId="2544"/>
            <ac:spMk id="16" creationId="{6C2BB713-9637-4B9B-938F-E9768876782A}"/>
          </ac:spMkLst>
        </pc:spChg>
        <pc:spChg chg="add mod">
          <ac:chgData name="Aurelien Domont" userId="6da7715ce44349b3" providerId="LiveId" clId="{7CD043B0-6B74-4D9A-84AE-1D8FE229AAC4}" dt="2023-01-20T02:19:20.427" v="1558" actId="20577"/>
          <ac:spMkLst>
            <pc:docMk/>
            <pc:sldMk cId="3234245594" sldId="2544"/>
            <ac:spMk id="17" creationId="{8CE867CE-6A60-803D-B1C7-743E2E032E61}"/>
          </ac:spMkLst>
        </pc:spChg>
        <pc:spChg chg="del">
          <ac:chgData name="Aurelien Domont" userId="6da7715ce44349b3" providerId="LiveId" clId="{7CD043B0-6B74-4D9A-84AE-1D8FE229AAC4}" dt="2023-01-20T02:13:08.701" v="1424" actId="478"/>
          <ac:spMkLst>
            <pc:docMk/>
            <pc:sldMk cId="3234245594" sldId="2544"/>
            <ac:spMk id="21" creationId="{5A7A89B3-CE02-43E9-A194-9EA746B11288}"/>
          </ac:spMkLst>
        </pc:spChg>
        <pc:spChg chg="del">
          <ac:chgData name="Aurelien Domont" userId="6da7715ce44349b3" providerId="LiveId" clId="{7CD043B0-6B74-4D9A-84AE-1D8FE229AAC4}" dt="2023-01-20T02:13:08.701" v="1424" actId="478"/>
          <ac:spMkLst>
            <pc:docMk/>
            <pc:sldMk cId="3234245594" sldId="2544"/>
            <ac:spMk id="22" creationId="{785F2D1C-9C68-44B7-8B00-5B75C34ECAAF}"/>
          </ac:spMkLst>
        </pc:spChg>
        <pc:spChg chg="del">
          <ac:chgData name="Aurelien Domont" userId="6da7715ce44349b3" providerId="LiveId" clId="{7CD043B0-6B74-4D9A-84AE-1D8FE229AAC4}" dt="2023-01-20T02:13:08.701" v="1424" actId="478"/>
          <ac:spMkLst>
            <pc:docMk/>
            <pc:sldMk cId="3234245594" sldId="2544"/>
            <ac:spMk id="23" creationId="{7C5B938B-EFAE-4F2B-9FA7-600E1D72FAD2}"/>
          </ac:spMkLst>
        </pc:spChg>
        <pc:spChg chg="del">
          <ac:chgData name="Aurelien Domont" userId="6da7715ce44349b3" providerId="LiveId" clId="{7CD043B0-6B74-4D9A-84AE-1D8FE229AAC4}" dt="2023-01-20T02:13:08.701" v="1424" actId="478"/>
          <ac:spMkLst>
            <pc:docMk/>
            <pc:sldMk cId="3234245594" sldId="2544"/>
            <ac:spMk id="24" creationId="{7C2E8371-5A56-4AC1-8684-6F550AA076B0}"/>
          </ac:spMkLst>
        </pc:spChg>
        <pc:spChg chg="del">
          <ac:chgData name="Aurelien Domont" userId="6da7715ce44349b3" providerId="LiveId" clId="{7CD043B0-6B74-4D9A-84AE-1D8FE229AAC4}" dt="2023-01-20T02:13:08.701" v="1424" actId="478"/>
          <ac:spMkLst>
            <pc:docMk/>
            <pc:sldMk cId="3234245594" sldId="2544"/>
            <ac:spMk id="25" creationId="{0D2B7C4D-1404-4A0B-A154-56957B67B188}"/>
          </ac:spMkLst>
        </pc:spChg>
        <pc:spChg chg="del">
          <ac:chgData name="Aurelien Domont" userId="6da7715ce44349b3" providerId="LiveId" clId="{7CD043B0-6B74-4D9A-84AE-1D8FE229AAC4}" dt="2023-01-20T02:13:08.701" v="1424" actId="478"/>
          <ac:spMkLst>
            <pc:docMk/>
            <pc:sldMk cId="3234245594" sldId="2544"/>
            <ac:spMk id="26" creationId="{EAB3C447-DC64-4F03-8791-ABC05AB45AF4}"/>
          </ac:spMkLst>
        </pc:spChg>
        <pc:spChg chg="del">
          <ac:chgData name="Aurelien Domont" userId="6da7715ce44349b3" providerId="LiveId" clId="{7CD043B0-6B74-4D9A-84AE-1D8FE229AAC4}" dt="2023-01-20T02:13:08.701" v="1424" actId="478"/>
          <ac:spMkLst>
            <pc:docMk/>
            <pc:sldMk cId="3234245594" sldId="2544"/>
            <ac:spMk id="27" creationId="{6FE08E57-591B-40C4-920C-639C51D1B77F}"/>
          </ac:spMkLst>
        </pc:spChg>
        <pc:spChg chg="del">
          <ac:chgData name="Aurelien Domont" userId="6da7715ce44349b3" providerId="LiveId" clId="{7CD043B0-6B74-4D9A-84AE-1D8FE229AAC4}" dt="2023-01-20T02:13:08.701" v="1424" actId="478"/>
          <ac:spMkLst>
            <pc:docMk/>
            <pc:sldMk cId="3234245594" sldId="2544"/>
            <ac:spMk id="28" creationId="{D0DB33CD-27BC-4A2B-AF00-40029BA02E4B}"/>
          </ac:spMkLst>
        </pc:spChg>
        <pc:spChg chg="del">
          <ac:chgData name="Aurelien Domont" userId="6da7715ce44349b3" providerId="LiveId" clId="{7CD043B0-6B74-4D9A-84AE-1D8FE229AAC4}" dt="2023-01-20T02:13:08.701" v="1424" actId="478"/>
          <ac:spMkLst>
            <pc:docMk/>
            <pc:sldMk cId="3234245594" sldId="2544"/>
            <ac:spMk id="29" creationId="{48915338-C2F9-46FF-A7FE-D4860701DF74}"/>
          </ac:spMkLst>
        </pc:spChg>
        <pc:spChg chg="add mod">
          <ac:chgData name="Aurelien Domont" userId="6da7715ce44349b3" providerId="LiveId" clId="{7CD043B0-6B74-4D9A-84AE-1D8FE229AAC4}" dt="2023-01-20T02:25:45.404" v="1625" actId="1076"/>
          <ac:spMkLst>
            <pc:docMk/>
            <pc:sldMk cId="3234245594" sldId="2544"/>
            <ac:spMk id="41" creationId="{92708568-B14B-DCDF-F06F-E854D4923990}"/>
          </ac:spMkLst>
        </pc:spChg>
        <pc:spChg chg="add mod">
          <ac:chgData name="Aurelien Domont" userId="6da7715ce44349b3" providerId="LiveId" clId="{7CD043B0-6B74-4D9A-84AE-1D8FE229AAC4}" dt="2023-01-20T02:29:23.185" v="1713" actId="20577"/>
          <ac:spMkLst>
            <pc:docMk/>
            <pc:sldMk cId="3234245594" sldId="2544"/>
            <ac:spMk id="42" creationId="{27EDED4D-891C-2F52-4944-3A431158D732}"/>
          </ac:spMkLst>
        </pc:spChg>
        <pc:spChg chg="add mod">
          <ac:chgData name="Aurelien Domont" userId="6da7715ce44349b3" providerId="LiveId" clId="{7CD043B0-6B74-4D9A-84AE-1D8FE229AAC4}" dt="2023-01-20T02:29:24.947" v="1714" actId="20577"/>
          <ac:spMkLst>
            <pc:docMk/>
            <pc:sldMk cId="3234245594" sldId="2544"/>
            <ac:spMk id="43" creationId="{DEBF9C7F-E36F-0F2E-8355-326830732D96}"/>
          </ac:spMkLst>
        </pc:spChg>
        <pc:spChg chg="add del mod">
          <ac:chgData name="Aurelien Domont" userId="6da7715ce44349b3" providerId="LiveId" clId="{7CD043B0-6B74-4D9A-84AE-1D8FE229AAC4}" dt="2023-01-20T02:29:20.619" v="1712" actId="478"/>
          <ac:spMkLst>
            <pc:docMk/>
            <pc:sldMk cId="3234245594" sldId="2544"/>
            <ac:spMk id="44" creationId="{8B0E1D69-8F43-0A3E-5D07-4721AF95B838}"/>
          </ac:spMkLst>
        </pc:spChg>
        <pc:spChg chg="add del mod">
          <ac:chgData name="Aurelien Domont" userId="6da7715ce44349b3" providerId="LiveId" clId="{7CD043B0-6B74-4D9A-84AE-1D8FE229AAC4}" dt="2023-01-20T02:29:20.619" v="1712" actId="478"/>
          <ac:spMkLst>
            <pc:docMk/>
            <pc:sldMk cId="3234245594" sldId="2544"/>
            <ac:spMk id="45" creationId="{AE025B49-6F32-E6F9-DA9D-0905B2BF3148}"/>
          </ac:spMkLst>
        </pc:spChg>
        <pc:spChg chg="del">
          <ac:chgData name="Aurelien Domont" userId="6da7715ce44349b3" providerId="LiveId" clId="{7CD043B0-6B74-4D9A-84AE-1D8FE229AAC4}" dt="2023-01-20T02:13:08.701" v="1424" actId="478"/>
          <ac:spMkLst>
            <pc:docMk/>
            <pc:sldMk cId="3234245594" sldId="2544"/>
            <ac:spMk id="46" creationId="{D6B47C0B-C629-48DE-9137-8E0ACC2F4673}"/>
          </ac:spMkLst>
        </pc:spChg>
        <pc:spChg chg="del">
          <ac:chgData name="Aurelien Domont" userId="6da7715ce44349b3" providerId="LiveId" clId="{7CD043B0-6B74-4D9A-84AE-1D8FE229AAC4}" dt="2023-01-20T02:13:08.701" v="1424" actId="478"/>
          <ac:spMkLst>
            <pc:docMk/>
            <pc:sldMk cId="3234245594" sldId="2544"/>
            <ac:spMk id="47" creationId="{A8537851-CD5B-4A37-AFCA-BDA47671F12F}"/>
          </ac:spMkLst>
        </pc:spChg>
        <pc:spChg chg="del">
          <ac:chgData name="Aurelien Domont" userId="6da7715ce44349b3" providerId="LiveId" clId="{7CD043B0-6B74-4D9A-84AE-1D8FE229AAC4}" dt="2023-01-20T02:13:08.701" v="1424" actId="478"/>
          <ac:spMkLst>
            <pc:docMk/>
            <pc:sldMk cId="3234245594" sldId="2544"/>
            <ac:spMk id="48" creationId="{F355C4D8-58C2-4B39-83A4-028544374531}"/>
          </ac:spMkLst>
        </pc:spChg>
        <pc:spChg chg="add del mod">
          <ac:chgData name="Aurelien Domont" userId="6da7715ce44349b3" providerId="LiveId" clId="{7CD043B0-6B74-4D9A-84AE-1D8FE229AAC4}" dt="2023-01-20T02:29:20.619" v="1712" actId="478"/>
          <ac:spMkLst>
            <pc:docMk/>
            <pc:sldMk cId="3234245594" sldId="2544"/>
            <ac:spMk id="49" creationId="{FF1F68ED-51E0-8189-4E26-7D474A39DF53}"/>
          </ac:spMkLst>
        </pc:spChg>
        <pc:spChg chg="add mod">
          <ac:chgData name="Aurelien Domont" userId="6da7715ce44349b3" providerId="LiveId" clId="{7CD043B0-6B74-4D9A-84AE-1D8FE229AAC4}" dt="2023-01-20T02:29:30.975" v="1715" actId="571"/>
          <ac:spMkLst>
            <pc:docMk/>
            <pc:sldMk cId="3234245594" sldId="2544"/>
            <ac:spMk id="50" creationId="{55696494-446E-4072-96A4-B4C4CA1C0A77}"/>
          </ac:spMkLst>
        </pc:spChg>
        <pc:spChg chg="add mod">
          <ac:chgData name="Aurelien Domont" userId="6da7715ce44349b3" providerId="LiveId" clId="{7CD043B0-6B74-4D9A-84AE-1D8FE229AAC4}" dt="2023-01-20T02:29:30.975" v="1715" actId="571"/>
          <ac:spMkLst>
            <pc:docMk/>
            <pc:sldMk cId="3234245594" sldId="2544"/>
            <ac:spMk id="51" creationId="{750AAC8B-6E14-3EED-A453-AFDE0BD10B78}"/>
          </ac:spMkLst>
        </pc:spChg>
        <pc:spChg chg="add mod">
          <ac:chgData name="Aurelien Domont" userId="6da7715ce44349b3" providerId="LiveId" clId="{7CD043B0-6B74-4D9A-84AE-1D8FE229AAC4}" dt="2023-01-20T02:29:30.975" v="1715" actId="571"/>
          <ac:spMkLst>
            <pc:docMk/>
            <pc:sldMk cId="3234245594" sldId="2544"/>
            <ac:spMk id="52" creationId="{21C9684D-95E4-2459-C6A7-9CB779AE0964}"/>
          </ac:spMkLst>
        </pc:spChg>
        <pc:picChg chg="add mod">
          <ac:chgData name="Aurelien Domont" userId="6da7715ce44349b3" providerId="LiveId" clId="{7CD043B0-6B74-4D9A-84AE-1D8FE229AAC4}" dt="2023-01-20T02:21:14.916" v="1589" actId="14100"/>
          <ac:picMkLst>
            <pc:docMk/>
            <pc:sldMk cId="3234245594" sldId="2544"/>
            <ac:picMk id="19" creationId="{85A88362-2F17-4704-9DBD-6401EAC2F1A0}"/>
          </ac:picMkLst>
        </pc:picChg>
        <pc:picChg chg="add mod">
          <ac:chgData name="Aurelien Domont" userId="6da7715ce44349b3" providerId="LiveId" clId="{7CD043B0-6B74-4D9A-84AE-1D8FE229AAC4}" dt="2023-01-20T02:21:10.230" v="1587" actId="14100"/>
          <ac:picMkLst>
            <pc:docMk/>
            <pc:sldMk cId="3234245594" sldId="2544"/>
            <ac:picMk id="30" creationId="{4DCCA3FB-B33E-CD71-66BD-5E4BF5A867BD}"/>
          </ac:picMkLst>
        </pc:picChg>
        <pc:picChg chg="add mod">
          <ac:chgData name="Aurelien Domont" userId="6da7715ce44349b3" providerId="LiveId" clId="{7CD043B0-6B74-4D9A-84AE-1D8FE229AAC4}" dt="2023-01-20T02:20:52.746" v="1581" actId="1076"/>
          <ac:picMkLst>
            <pc:docMk/>
            <pc:sldMk cId="3234245594" sldId="2544"/>
            <ac:picMk id="32" creationId="{AFAF5C96-4A36-1DE3-4554-623F42152C8E}"/>
          </ac:picMkLst>
        </pc:picChg>
        <pc:picChg chg="add mod">
          <ac:chgData name="Aurelien Domont" userId="6da7715ce44349b3" providerId="LiveId" clId="{7CD043B0-6B74-4D9A-84AE-1D8FE229AAC4}" dt="2023-01-20T02:25:14.318" v="1622" actId="1037"/>
          <ac:picMkLst>
            <pc:docMk/>
            <pc:sldMk cId="3234245594" sldId="2544"/>
            <ac:picMk id="34" creationId="{88ADF1BB-62FF-F0D9-E912-B3A269D62904}"/>
          </ac:picMkLst>
        </pc:picChg>
        <pc:picChg chg="add mod">
          <ac:chgData name="Aurelien Domont" userId="6da7715ce44349b3" providerId="LiveId" clId="{7CD043B0-6B74-4D9A-84AE-1D8FE229AAC4}" dt="2023-01-20T02:22:21.994" v="1612" actId="1037"/>
          <ac:picMkLst>
            <pc:docMk/>
            <pc:sldMk cId="3234245594" sldId="2544"/>
            <ac:picMk id="36" creationId="{FBCF1CCE-2ECA-2AAC-0E6C-A7A2C490C7EB}"/>
          </ac:picMkLst>
        </pc:picChg>
        <pc:picChg chg="add del mod">
          <ac:chgData name="Aurelien Domont" userId="6da7715ce44349b3" providerId="LiveId" clId="{7CD043B0-6B74-4D9A-84AE-1D8FE229AAC4}" dt="2023-01-20T02:24:50.760" v="1620" actId="478"/>
          <ac:picMkLst>
            <pc:docMk/>
            <pc:sldMk cId="3234245594" sldId="2544"/>
            <ac:picMk id="38" creationId="{B02AF891-1C22-25C5-2018-EFF3A00E874D}"/>
          </ac:picMkLst>
        </pc:picChg>
        <pc:picChg chg="add del mod">
          <ac:chgData name="Aurelien Domont" userId="6da7715ce44349b3" providerId="LiveId" clId="{7CD043B0-6B74-4D9A-84AE-1D8FE229AAC4}" dt="2023-01-20T02:24:11.622" v="1618" actId="478"/>
          <ac:picMkLst>
            <pc:docMk/>
            <pc:sldMk cId="3234245594" sldId="2544"/>
            <ac:picMk id="40" creationId="{2BC0C914-392A-68CB-033F-17FC4CE63E11}"/>
          </ac:picMkLst>
        </pc:picChg>
      </pc:sldChg>
      <pc:sldChg chg="modSp add del mod">
        <pc:chgData name="Aurelien Domont" userId="6da7715ce44349b3" providerId="LiveId" clId="{7CD043B0-6B74-4D9A-84AE-1D8FE229AAC4}" dt="2023-01-20T02:27:53.984" v="1700" actId="47"/>
        <pc:sldMkLst>
          <pc:docMk/>
          <pc:sldMk cId="3144477695" sldId="2545"/>
        </pc:sldMkLst>
        <pc:spChg chg="mod">
          <ac:chgData name="Aurelien Domont" userId="6da7715ce44349b3" providerId="LiveId" clId="{7CD043B0-6B74-4D9A-84AE-1D8FE229AAC4}" dt="2023-01-20T02:07:36.888" v="1394"/>
          <ac:spMkLst>
            <pc:docMk/>
            <pc:sldMk cId="3144477695" sldId="2545"/>
            <ac:spMk id="16" creationId="{6C2BB713-9637-4B9B-938F-E9768876782A}"/>
          </ac:spMkLst>
        </pc:spChg>
      </pc:sldChg>
      <pc:sldChg chg="modSp add del mod">
        <pc:chgData name="Aurelien Domont" userId="6da7715ce44349b3" providerId="LiveId" clId="{7CD043B0-6B74-4D9A-84AE-1D8FE229AAC4}" dt="2023-01-20T02:27:53.984" v="1700" actId="47"/>
        <pc:sldMkLst>
          <pc:docMk/>
          <pc:sldMk cId="3764728440" sldId="2546"/>
        </pc:sldMkLst>
        <pc:spChg chg="mod">
          <ac:chgData name="Aurelien Domont" userId="6da7715ce44349b3" providerId="LiveId" clId="{7CD043B0-6B74-4D9A-84AE-1D8FE229AAC4}" dt="2023-01-20T02:13:24.045" v="1442" actId="20577"/>
          <ac:spMkLst>
            <pc:docMk/>
            <pc:sldMk cId="3764728440" sldId="2546"/>
            <ac:spMk id="16" creationId="{6C2BB713-9637-4B9B-938F-E9768876782A}"/>
          </ac:spMkLst>
        </pc:spChg>
      </pc:sldChg>
      <pc:sldChg chg="modSp add del mod">
        <pc:chgData name="Aurelien Domont" userId="6da7715ce44349b3" providerId="LiveId" clId="{7CD043B0-6B74-4D9A-84AE-1D8FE229AAC4}" dt="2023-01-20T02:30:01.044" v="1719" actId="47"/>
        <pc:sldMkLst>
          <pc:docMk/>
          <pc:sldMk cId="3235134396" sldId="2547"/>
        </pc:sldMkLst>
        <pc:spChg chg="mod">
          <ac:chgData name="Aurelien Domont" userId="6da7715ce44349b3" providerId="LiveId" clId="{7CD043B0-6B74-4D9A-84AE-1D8FE229AAC4}" dt="2023-01-20T02:28:33.282" v="1703"/>
          <ac:spMkLst>
            <pc:docMk/>
            <pc:sldMk cId="3235134396" sldId="2547"/>
            <ac:spMk id="6" creationId="{6B014724-B698-5914-27BA-7A35DC46C628}"/>
          </ac:spMkLst>
        </pc:spChg>
        <pc:spChg chg="mod">
          <ac:chgData name="Aurelien Domont" userId="6da7715ce44349b3" providerId="LiveId" clId="{7CD043B0-6B74-4D9A-84AE-1D8FE229AAC4}" dt="2023-01-20T02:27:47.552" v="1699" actId="20577"/>
          <ac:spMkLst>
            <pc:docMk/>
            <pc:sldMk cId="3235134396" sldId="2547"/>
            <ac:spMk id="16" creationId="{6C2BB713-9637-4B9B-938F-E9768876782A}"/>
          </ac:spMkLst>
        </pc:spChg>
      </pc:sldChg>
      <pc:sldChg chg="modSp add mod">
        <pc:chgData name="Aurelien Domont" userId="6da7715ce44349b3" providerId="LiveId" clId="{7CD043B0-6B74-4D9A-84AE-1D8FE229AAC4}" dt="2023-01-20T02:33:51.280" v="1752"/>
        <pc:sldMkLst>
          <pc:docMk/>
          <pc:sldMk cId="1171926163" sldId="2548"/>
        </pc:sldMkLst>
        <pc:spChg chg="mod">
          <ac:chgData name="Aurelien Domont" userId="6da7715ce44349b3" providerId="LiveId" clId="{7CD043B0-6B74-4D9A-84AE-1D8FE229AAC4}" dt="2023-01-20T02:30:18.390" v="1723"/>
          <ac:spMkLst>
            <pc:docMk/>
            <pc:sldMk cId="1171926163" sldId="2548"/>
            <ac:spMk id="6" creationId="{6B014724-B698-5914-27BA-7A35DC46C628}"/>
          </ac:spMkLst>
        </pc:spChg>
        <pc:spChg chg="mod">
          <ac:chgData name="Aurelien Domont" userId="6da7715ce44349b3" providerId="LiveId" clId="{7CD043B0-6B74-4D9A-84AE-1D8FE229AAC4}" dt="2023-01-20T02:29:48.431" v="1717"/>
          <ac:spMkLst>
            <pc:docMk/>
            <pc:sldMk cId="1171926163" sldId="2548"/>
            <ac:spMk id="16" creationId="{6C2BB713-9637-4B9B-938F-E9768876782A}"/>
          </ac:spMkLst>
        </pc:spChg>
        <pc:spChg chg="mod">
          <ac:chgData name="Aurelien Domont" userId="6da7715ce44349b3" providerId="LiveId" clId="{7CD043B0-6B74-4D9A-84AE-1D8FE229AAC4}" dt="2023-01-20T02:32:49.045" v="1738" actId="20577"/>
          <ac:spMkLst>
            <pc:docMk/>
            <pc:sldMk cId="1171926163" sldId="2548"/>
            <ac:spMk id="42" creationId="{27EDED4D-891C-2F52-4944-3A431158D732}"/>
          </ac:spMkLst>
        </pc:spChg>
        <pc:spChg chg="mod">
          <ac:chgData name="Aurelien Domont" userId="6da7715ce44349b3" providerId="LiveId" clId="{7CD043B0-6B74-4D9A-84AE-1D8FE229AAC4}" dt="2023-01-20T02:32:44.197" v="1734"/>
          <ac:spMkLst>
            <pc:docMk/>
            <pc:sldMk cId="1171926163" sldId="2548"/>
            <ac:spMk id="43" creationId="{DEBF9C7F-E36F-0F2E-8355-326830732D96}"/>
          </ac:spMkLst>
        </pc:spChg>
        <pc:spChg chg="mod">
          <ac:chgData name="Aurelien Domont" userId="6da7715ce44349b3" providerId="LiveId" clId="{7CD043B0-6B74-4D9A-84AE-1D8FE229AAC4}" dt="2023-01-20T02:33:19.166" v="1746" actId="20577"/>
          <ac:spMkLst>
            <pc:docMk/>
            <pc:sldMk cId="1171926163" sldId="2548"/>
            <ac:spMk id="50" creationId="{55696494-446E-4072-96A4-B4C4CA1C0A77}"/>
          </ac:spMkLst>
        </pc:spChg>
        <pc:spChg chg="mod">
          <ac:chgData name="Aurelien Domont" userId="6da7715ce44349b3" providerId="LiveId" clId="{7CD043B0-6B74-4D9A-84AE-1D8FE229AAC4}" dt="2023-01-20T02:33:36.406" v="1749"/>
          <ac:spMkLst>
            <pc:docMk/>
            <pc:sldMk cId="1171926163" sldId="2548"/>
            <ac:spMk id="51" creationId="{750AAC8B-6E14-3EED-A453-AFDE0BD10B78}"/>
          </ac:spMkLst>
        </pc:spChg>
        <pc:spChg chg="mod">
          <ac:chgData name="Aurelien Domont" userId="6da7715ce44349b3" providerId="LiveId" clId="{7CD043B0-6B74-4D9A-84AE-1D8FE229AAC4}" dt="2023-01-20T02:33:51.280" v="1752"/>
          <ac:spMkLst>
            <pc:docMk/>
            <pc:sldMk cId="1171926163" sldId="2548"/>
            <ac:spMk id="52" creationId="{21C9684D-95E4-2459-C6A7-9CB779AE0964}"/>
          </ac:spMkLst>
        </pc:spChg>
      </pc:sldChg>
      <pc:sldChg chg="addSp modSp add mod">
        <pc:chgData name="Aurelien Domont" userId="6da7715ce44349b3" providerId="LiveId" clId="{7CD043B0-6B74-4D9A-84AE-1D8FE229AAC4}" dt="2023-01-20T02:37:30.838" v="1919" actId="20577"/>
        <pc:sldMkLst>
          <pc:docMk/>
          <pc:sldMk cId="3319712758" sldId="2549"/>
        </pc:sldMkLst>
        <pc:spChg chg="add mod">
          <ac:chgData name="Aurelien Domont" userId="6da7715ce44349b3" providerId="LiveId" clId="{7CD043B0-6B74-4D9A-84AE-1D8FE229AAC4}" dt="2023-01-20T02:36:12.288" v="1814" actId="14100"/>
          <ac:spMkLst>
            <pc:docMk/>
            <pc:sldMk cId="3319712758" sldId="2549"/>
            <ac:spMk id="7" creationId="{DE96B0A5-78E2-9515-DBC9-7B9412E2FE58}"/>
          </ac:spMkLst>
        </pc:spChg>
        <pc:spChg chg="add mod">
          <ac:chgData name="Aurelien Domont" userId="6da7715ce44349b3" providerId="LiveId" clId="{7CD043B0-6B74-4D9A-84AE-1D8FE229AAC4}" dt="2023-01-20T02:37:30.838" v="1919" actId="20577"/>
          <ac:spMkLst>
            <pc:docMk/>
            <pc:sldMk cId="3319712758" sldId="2549"/>
            <ac:spMk id="8" creationId="{A4993614-DD15-1DAC-75C7-24CFA2ABA063}"/>
          </ac:spMkLst>
        </pc:spChg>
        <pc:spChg chg="mod">
          <ac:chgData name="Aurelien Domont" userId="6da7715ce44349b3" providerId="LiveId" clId="{7CD043B0-6B74-4D9A-84AE-1D8FE229AAC4}" dt="2023-01-20T02:34:12.433" v="1765" actId="20577"/>
          <ac:spMkLst>
            <pc:docMk/>
            <pc:sldMk cId="3319712758" sldId="2549"/>
            <ac:spMk id="16" creationId="{6C2BB713-9637-4B9B-938F-E9768876782A}"/>
          </ac:spMkLst>
        </pc:spChg>
      </pc:sldChg>
      <pc:sldChg chg="addSp modSp add mod">
        <pc:chgData name="Aurelien Domont" userId="6da7715ce44349b3" providerId="LiveId" clId="{7CD043B0-6B74-4D9A-84AE-1D8FE229AAC4}" dt="2023-01-20T03:57:13.897" v="3083"/>
        <pc:sldMkLst>
          <pc:docMk/>
          <pc:sldMk cId="3973505001" sldId="2550"/>
        </pc:sldMkLst>
        <pc:spChg chg="add mod">
          <ac:chgData name="Aurelien Domont" userId="6da7715ce44349b3" providerId="LiveId" clId="{7CD043B0-6B74-4D9A-84AE-1D8FE229AAC4}" dt="2023-01-20T03:47:22.099" v="3015"/>
          <ac:spMkLst>
            <pc:docMk/>
            <pc:sldMk cId="3973505001" sldId="2550"/>
            <ac:spMk id="2" creationId="{EEBEE169-ADD6-BFFA-954F-B4F258922CF3}"/>
          </ac:spMkLst>
        </pc:spChg>
        <pc:spChg chg="mod">
          <ac:chgData name="Aurelien Domont" userId="6da7715ce44349b3" providerId="LiveId" clId="{7CD043B0-6B74-4D9A-84AE-1D8FE229AAC4}" dt="2023-01-20T02:49:47.467" v="2121" actId="1035"/>
          <ac:spMkLst>
            <pc:docMk/>
            <pc:sldMk cId="3973505001" sldId="2550"/>
            <ac:spMk id="59" creationId="{ED9FA0FE-FD6F-D8EE-C734-DDECE6B41390}"/>
          </ac:spMkLst>
        </pc:spChg>
        <pc:spChg chg="mod">
          <ac:chgData name="Aurelien Domont" userId="6da7715ce44349b3" providerId="LiveId" clId="{7CD043B0-6B74-4D9A-84AE-1D8FE229AAC4}" dt="2023-01-20T03:57:13.897" v="3083"/>
          <ac:spMkLst>
            <pc:docMk/>
            <pc:sldMk cId="3973505001" sldId="2550"/>
            <ac:spMk id="60" creationId="{70012F14-6ACF-648B-A0C3-9831F28FCDD5}"/>
          </ac:spMkLst>
        </pc:spChg>
        <pc:spChg chg="mod">
          <ac:chgData name="Aurelien Domont" userId="6da7715ce44349b3" providerId="LiveId" clId="{7CD043B0-6B74-4D9A-84AE-1D8FE229AAC4}" dt="2023-01-20T02:48:55.420" v="2118" actId="14100"/>
          <ac:spMkLst>
            <pc:docMk/>
            <pc:sldMk cId="3973505001" sldId="2550"/>
            <ac:spMk id="66" creationId="{D2A8DFC7-27D0-2248-2089-0502807F476A}"/>
          </ac:spMkLst>
        </pc:spChg>
      </pc:sldChg>
      <pc:sldChg chg="modSp add mod">
        <pc:chgData name="Aurelien Domont" userId="6da7715ce44349b3" providerId="LiveId" clId="{7CD043B0-6B74-4D9A-84AE-1D8FE229AAC4}" dt="2023-01-20T02:40:28.961" v="2032" actId="14861"/>
        <pc:sldMkLst>
          <pc:docMk/>
          <pc:sldMk cId="2825689156" sldId="2551"/>
        </pc:sldMkLst>
        <pc:spChg chg="mod">
          <ac:chgData name="Aurelien Domont" userId="6da7715ce44349b3" providerId="LiveId" clId="{7CD043B0-6B74-4D9A-84AE-1D8FE229AAC4}" dt="2023-01-20T02:39:01.856" v="1973" actId="113"/>
          <ac:spMkLst>
            <pc:docMk/>
            <pc:sldMk cId="2825689156" sldId="2551"/>
            <ac:spMk id="16" creationId="{6C2BB713-9637-4B9B-938F-E9768876782A}"/>
          </ac:spMkLst>
        </pc:spChg>
        <pc:spChg chg="mod">
          <ac:chgData name="Aurelien Domont" userId="6da7715ce44349b3" providerId="LiveId" clId="{7CD043B0-6B74-4D9A-84AE-1D8FE229AAC4}" dt="2023-01-20T02:40:28.961" v="2032" actId="14861"/>
          <ac:spMkLst>
            <pc:docMk/>
            <pc:sldMk cId="2825689156" sldId="2551"/>
            <ac:spMk id="24" creationId="{83A9CD77-ADAB-41C7-817C-8A06F22EB74B}"/>
          </ac:spMkLst>
        </pc:spChg>
        <pc:spChg chg="mod">
          <ac:chgData name="Aurelien Domont" userId="6da7715ce44349b3" providerId="LiveId" clId="{7CD043B0-6B74-4D9A-84AE-1D8FE229AAC4}" dt="2023-01-20T02:40:15.168" v="2029" actId="20577"/>
          <ac:spMkLst>
            <pc:docMk/>
            <pc:sldMk cId="2825689156" sldId="2551"/>
            <ac:spMk id="27" creationId="{AC8B7369-7E6F-43E6-96D5-9FE68700ADE3}"/>
          </ac:spMkLst>
        </pc:spChg>
      </pc:sldChg>
      <pc:sldChg chg="modSp add mod">
        <pc:chgData name="Aurelien Domont" userId="6da7715ce44349b3" providerId="LiveId" clId="{7CD043B0-6B74-4D9A-84AE-1D8FE229AAC4}" dt="2023-01-20T02:40:49.309" v="2037"/>
        <pc:sldMkLst>
          <pc:docMk/>
          <pc:sldMk cId="3015757233" sldId="2552"/>
        </pc:sldMkLst>
        <pc:spChg chg="mod">
          <ac:chgData name="Aurelien Domont" userId="6da7715ce44349b3" providerId="LiveId" clId="{7CD043B0-6B74-4D9A-84AE-1D8FE229AAC4}" dt="2023-01-20T02:40:49.309" v="2037"/>
          <ac:spMkLst>
            <pc:docMk/>
            <pc:sldMk cId="3015757233" sldId="2552"/>
            <ac:spMk id="16" creationId="{6C2BB713-9637-4B9B-938F-E9768876782A}"/>
          </ac:spMkLst>
        </pc:spChg>
      </pc:sldChg>
      <pc:sldChg chg="modSp add mod">
        <pc:chgData name="Aurelien Domont" userId="6da7715ce44349b3" providerId="LiveId" clId="{7CD043B0-6B74-4D9A-84AE-1D8FE229AAC4}" dt="2023-01-20T02:42:34.658" v="2072" actId="20577"/>
        <pc:sldMkLst>
          <pc:docMk/>
          <pc:sldMk cId="2341912036" sldId="2553"/>
        </pc:sldMkLst>
        <pc:spChg chg="mod">
          <ac:chgData name="Aurelien Domont" userId="6da7715ce44349b3" providerId="LiveId" clId="{7CD043B0-6B74-4D9A-84AE-1D8FE229AAC4}" dt="2023-01-20T02:42:34.658" v="2072" actId="20577"/>
          <ac:spMkLst>
            <pc:docMk/>
            <pc:sldMk cId="2341912036" sldId="2553"/>
            <ac:spMk id="16" creationId="{6C2BB713-9637-4B9B-938F-E9768876782A}"/>
          </ac:spMkLst>
        </pc:spChg>
      </pc:sldChg>
      <pc:sldChg chg="add del">
        <pc:chgData name="Aurelien Domont" userId="6da7715ce44349b3" providerId="LiveId" clId="{7CD043B0-6B74-4D9A-84AE-1D8FE229AAC4}" dt="2023-01-20T02:42:14.141" v="2069" actId="47"/>
        <pc:sldMkLst>
          <pc:docMk/>
          <pc:sldMk cId="2234872944" sldId="2554"/>
        </pc:sldMkLst>
      </pc:sldChg>
      <pc:sldChg chg="add del">
        <pc:chgData name="Aurelien Domont" userId="6da7715ce44349b3" providerId="LiveId" clId="{7CD043B0-6B74-4D9A-84AE-1D8FE229AAC4}" dt="2023-01-20T02:42:51.837" v="2078" actId="47"/>
        <pc:sldMkLst>
          <pc:docMk/>
          <pc:sldMk cId="2337722519" sldId="2555"/>
        </pc:sldMkLst>
      </pc:sldChg>
      <pc:sldChg chg="add del">
        <pc:chgData name="Aurelien Domont" userId="6da7715ce44349b3" providerId="LiveId" clId="{7CD043B0-6B74-4D9A-84AE-1D8FE229AAC4}" dt="2023-01-20T02:43:18.973" v="2082" actId="47"/>
        <pc:sldMkLst>
          <pc:docMk/>
          <pc:sldMk cId="3329763501" sldId="2556"/>
        </pc:sldMkLst>
      </pc:sldChg>
      <pc:sldChg chg="addSp delSp modSp add mod">
        <pc:chgData name="Aurelien Domont" userId="6da7715ce44349b3" providerId="LiveId" clId="{7CD043B0-6B74-4D9A-84AE-1D8FE229AAC4}" dt="2023-01-20T02:42:11.393" v="2068"/>
        <pc:sldMkLst>
          <pc:docMk/>
          <pc:sldMk cId="3069476395" sldId="2557"/>
        </pc:sldMkLst>
        <pc:spChg chg="add mod">
          <ac:chgData name="Aurelien Domont" userId="6da7715ce44349b3" providerId="LiveId" clId="{7CD043B0-6B74-4D9A-84AE-1D8FE229AAC4}" dt="2023-01-20T02:42:11.393" v="2068"/>
          <ac:spMkLst>
            <pc:docMk/>
            <pc:sldMk cId="3069476395" sldId="2557"/>
            <ac:spMk id="2" creationId="{67ECB042-C670-7BDF-4657-B798E6539516}"/>
          </ac:spMkLst>
        </pc:spChg>
        <pc:spChg chg="del">
          <ac:chgData name="Aurelien Domont" userId="6da7715ce44349b3" providerId="LiveId" clId="{7CD043B0-6B74-4D9A-84AE-1D8FE229AAC4}" dt="2023-01-20T02:42:05.746" v="2067" actId="478"/>
          <ac:spMkLst>
            <pc:docMk/>
            <pc:sldMk cId="3069476395" sldId="2557"/>
            <ac:spMk id="9" creationId="{BE08DE42-BC34-2CB5-B8D0-9A674610A298}"/>
          </ac:spMkLst>
        </pc:spChg>
        <pc:spChg chg="mod">
          <ac:chgData name="Aurelien Domont" userId="6da7715ce44349b3" providerId="LiveId" clId="{7CD043B0-6B74-4D9A-84AE-1D8FE229AAC4}" dt="2023-01-20T02:42:03.533" v="2066" actId="20577"/>
          <ac:spMkLst>
            <pc:docMk/>
            <pc:sldMk cId="3069476395" sldId="2557"/>
            <ac:spMk id="16" creationId="{6C2BB713-9637-4B9B-938F-E9768876782A}"/>
          </ac:spMkLst>
        </pc:spChg>
      </pc:sldChg>
      <pc:sldChg chg="add del">
        <pc:chgData name="Aurelien Domont" userId="6da7715ce44349b3" providerId="LiveId" clId="{7CD043B0-6B74-4D9A-84AE-1D8FE229AAC4}" dt="2023-01-20T02:38:58.252" v="1972"/>
        <pc:sldMkLst>
          <pc:docMk/>
          <pc:sldMk cId="3745939090" sldId="2557"/>
        </pc:sldMkLst>
      </pc:sldChg>
      <pc:sldChg chg="addSp delSp modSp add mod">
        <pc:chgData name="Aurelien Domont" userId="6da7715ce44349b3" providerId="LiveId" clId="{7CD043B0-6B74-4D9A-84AE-1D8FE229AAC4}" dt="2023-01-20T02:42:46.941" v="2077"/>
        <pc:sldMkLst>
          <pc:docMk/>
          <pc:sldMk cId="823243625" sldId="2558"/>
        </pc:sldMkLst>
        <pc:spChg chg="add mod">
          <ac:chgData name="Aurelien Domont" userId="6da7715ce44349b3" providerId="LiveId" clId="{7CD043B0-6B74-4D9A-84AE-1D8FE229AAC4}" dt="2023-01-20T02:42:46.941" v="2077"/>
          <ac:spMkLst>
            <pc:docMk/>
            <pc:sldMk cId="823243625" sldId="2558"/>
            <ac:spMk id="2" creationId="{A3EE74B0-2E4B-0C91-AFBB-774AFA1B2E69}"/>
          </ac:spMkLst>
        </pc:spChg>
        <pc:spChg chg="del">
          <ac:chgData name="Aurelien Domont" userId="6da7715ce44349b3" providerId="LiveId" clId="{7CD043B0-6B74-4D9A-84AE-1D8FE229AAC4}" dt="2023-01-20T02:42:46.705" v="2076" actId="478"/>
          <ac:spMkLst>
            <pc:docMk/>
            <pc:sldMk cId="823243625" sldId="2558"/>
            <ac:spMk id="9" creationId="{BE08DE42-BC34-2CB5-B8D0-9A674610A298}"/>
          </ac:spMkLst>
        </pc:spChg>
        <pc:spChg chg="mod">
          <ac:chgData name="Aurelien Domont" userId="6da7715ce44349b3" providerId="LiveId" clId="{7CD043B0-6B74-4D9A-84AE-1D8FE229AAC4}" dt="2023-01-20T02:42:39.588" v="2075" actId="20577"/>
          <ac:spMkLst>
            <pc:docMk/>
            <pc:sldMk cId="823243625" sldId="2558"/>
            <ac:spMk id="16" creationId="{6C2BB713-9637-4B9B-938F-E9768876782A}"/>
          </ac:spMkLst>
        </pc:spChg>
      </pc:sldChg>
      <pc:sldChg chg="add del">
        <pc:chgData name="Aurelien Domont" userId="6da7715ce44349b3" providerId="LiveId" clId="{7CD043B0-6B74-4D9A-84AE-1D8FE229AAC4}" dt="2023-01-20T02:38:58.252" v="1972"/>
        <pc:sldMkLst>
          <pc:docMk/>
          <pc:sldMk cId="1852854460" sldId="2558"/>
        </pc:sldMkLst>
      </pc:sldChg>
      <pc:sldChg chg="add del">
        <pc:chgData name="Aurelien Domont" userId="6da7715ce44349b3" providerId="LiveId" clId="{7CD043B0-6B74-4D9A-84AE-1D8FE229AAC4}" dt="2023-01-20T02:38:58.252" v="1972"/>
        <pc:sldMkLst>
          <pc:docMk/>
          <pc:sldMk cId="2414164799" sldId="2559"/>
        </pc:sldMkLst>
      </pc:sldChg>
      <pc:sldChg chg="addSp delSp modSp add mod">
        <pc:chgData name="Aurelien Domont" userId="6da7715ce44349b3" providerId="LiveId" clId="{7CD043B0-6B74-4D9A-84AE-1D8FE229AAC4}" dt="2023-01-20T02:43:17.260" v="2081"/>
        <pc:sldMkLst>
          <pc:docMk/>
          <pc:sldMk cId="3771701700" sldId="2559"/>
        </pc:sldMkLst>
        <pc:spChg chg="del">
          <ac:chgData name="Aurelien Domont" userId="6da7715ce44349b3" providerId="LiveId" clId="{7CD043B0-6B74-4D9A-84AE-1D8FE229AAC4}" dt="2023-01-20T02:43:17.005" v="2080" actId="478"/>
          <ac:spMkLst>
            <pc:docMk/>
            <pc:sldMk cId="3771701700" sldId="2559"/>
            <ac:spMk id="2" creationId="{67ECB042-C670-7BDF-4657-B798E6539516}"/>
          </ac:spMkLst>
        </pc:spChg>
        <pc:spChg chg="add mod">
          <ac:chgData name="Aurelien Domont" userId="6da7715ce44349b3" providerId="LiveId" clId="{7CD043B0-6B74-4D9A-84AE-1D8FE229AAC4}" dt="2023-01-20T02:43:17.260" v="2081"/>
          <ac:spMkLst>
            <pc:docMk/>
            <pc:sldMk cId="3771701700" sldId="2559"/>
            <ac:spMk id="4" creationId="{F9639DFC-D9C5-AFB0-4728-BF063BA96EF1}"/>
          </ac:spMkLst>
        </pc:spChg>
      </pc:sldChg>
      <pc:sldChg chg="addSp modSp add mod">
        <pc:chgData name="Aurelien Domont" userId="6da7715ce44349b3" providerId="LiveId" clId="{7CD043B0-6B74-4D9A-84AE-1D8FE229AAC4}" dt="2023-01-20T03:57:13.897" v="3083"/>
        <pc:sldMkLst>
          <pc:docMk/>
          <pc:sldMk cId="450494475" sldId="2560"/>
        </pc:sldMkLst>
        <pc:spChg chg="add mod">
          <ac:chgData name="Aurelien Domont" userId="6da7715ce44349b3" providerId="LiveId" clId="{7CD043B0-6B74-4D9A-84AE-1D8FE229AAC4}" dt="2023-01-20T03:47:25.569" v="3016"/>
          <ac:spMkLst>
            <pc:docMk/>
            <pc:sldMk cId="450494475" sldId="2560"/>
            <ac:spMk id="2" creationId="{5FAADC80-195C-160C-636D-977D4A0EF7E1}"/>
          </ac:spMkLst>
        </pc:spChg>
        <pc:spChg chg="mod">
          <ac:chgData name="Aurelien Domont" userId="6da7715ce44349b3" providerId="LiveId" clId="{7CD043B0-6B74-4D9A-84AE-1D8FE229AAC4}" dt="2023-01-20T02:50:35.697" v="2123" actId="207"/>
          <ac:spMkLst>
            <pc:docMk/>
            <pc:sldMk cId="450494475" sldId="2560"/>
            <ac:spMk id="38" creationId="{439383D9-25CD-1FE7-1C6E-E98D4A6F6CEF}"/>
          </ac:spMkLst>
        </pc:spChg>
        <pc:spChg chg="mod">
          <ac:chgData name="Aurelien Domont" userId="6da7715ce44349b3" providerId="LiveId" clId="{7CD043B0-6B74-4D9A-84AE-1D8FE229AAC4}" dt="2023-01-20T02:50:39.272" v="2124" actId="207"/>
          <ac:spMkLst>
            <pc:docMk/>
            <pc:sldMk cId="450494475" sldId="2560"/>
            <ac:spMk id="40" creationId="{603E3248-A081-114E-6860-CE1755A4110E}"/>
          </ac:spMkLst>
        </pc:spChg>
        <pc:spChg chg="mod">
          <ac:chgData name="Aurelien Domont" userId="6da7715ce44349b3" providerId="LiveId" clId="{7CD043B0-6B74-4D9A-84AE-1D8FE229AAC4}" dt="2023-01-20T03:57:13.897" v="3083"/>
          <ac:spMkLst>
            <pc:docMk/>
            <pc:sldMk cId="450494475" sldId="2560"/>
            <ac:spMk id="60" creationId="{70012F14-6ACF-648B-A0C3-9831F28FCDD5}"/>
          </ac:spMkLst>
        </pc:spChg>
        <pc:spChg chg="mod ord">
          <ac:chgData name="Aurelien Domont" userId="6da7715ce44349b3" providerId="LiveId" clId="{7CD043B0-6B74-4D9A-84AE-1D8FE229AAC4}" dt="2023-01-20T02:50:49.043" v="2127" actId="167"/>
          <ac:spMkLst>
            <pc:docMk/>
            <pc:sldMk cId="450494475" sldId="2560"/>
            <ac:spMk id="66" creationId="{D2A8DFC7-27D0-2248-2089-0502807F476A}"/>
          </ac:spMkLst>
        </pc:spChg>
      </pc:sldChg>
      <pc:sldChg chg="add del">
        <pc:chgData name="Aurelien Domont" userId="6da7715ce44349b3" providerId="LiveId" clId="{7CD043B0-6B74-4D9A-84AE-1D8FE229AAC4}" dt="2023-01-20T02:38:58.252" v="1972"/>
        <pc:sldMkLst>
          <pc:docMk/>
          <pc:sldMk cId="554875810" sldId="2560"/>
        </pc:sldMkLst>
      </pc:sldChg>
      <pc:sldChg chg="add del">
        <pc:chgData name="Aurelien Domont" userId="6da7715ce44349b3" providerId="LiveId" clId="{7CD043B0-6B74-4D9A-84AE-1D8FE229AAC4}" dt="2023-01-20T02:38:58.252" v="1972"/>
        <pc:sldMkLst>
          <pc:docMk/>
          <pc:sldMk cId="1016190844" sldId="2561"/>
        </pc:sldMkLst>
      </pc:sldChg>
      <pc:sldChg chg="addSp modSp add mod">
        <pc:chgData name="Aurelien Domont" userId="6da7715ce44349b3" providerId="LiveId" clId="{7CD043B0-6B74-4D9A-84AE-1D8FE229AAC4}" dt="2023-01-20T03:57:13.897" v="3083"/>
        <pc:sldMkLst>
          <pc:docMk/>
          <pc:sldMk cId="1118915593" sldId="2561"/>
        </pc:sldMkLst>
        <pc:spChg chg="add mod">
          <ac:chgData name="Aurelien Domont" userId="6da7715ce44349b3" providerId="LiveId" clId="{7CD043B0-6B74-4D9A-84AE-1D8FE229AAC4}" dt="2023-01-20T03:47:28.425" v="3017"/>
          <ac:spMkLst>
            <pc:docMk/>
            <pc:sldMk cId="1118915593" sldId="2561"/>
            <ac:spMk id="2" creationId="{7BE04AAC-E054-4058-0274-5A00ADF22E21}"/>
          </ac:spMkLst>
        </pc:spChg>
        <pc:spChg chg="mod">
          <ac:chgData name="Aurelien Domont" userId="6da7715ce44349b3" providerId="LiveId" clId="{7CD043B0-6B74-4D9A-84AE-1D8FE229AAC4}" dt="2023-01-20T02:52:32.480" v="2185" actId="1036"/>
          <ac:spMkLst>
            <pc:docMk/>
            <pc:sldMk cId="1118915593" sldId="2561"/>
            <ac:spMk id="49" creationId="{1689A9D7-0037-AE54-C9C0-20A421CB4AC2}"/>
          </ac:spMkLst>
        </pc:spChg>
        <pc:spChg chg="mod">
          <ac:chgData name="Aurelien Domont" userId="6da7715ce44349b3" providerId="LiveId" clId="{7CD043B0-6B74-4D9A-84AE-1D8FE229AAC4}" dt="2023-01-20T03:57:13.897" v="3083"/>
          <ac:spMkLst>
            <pc:docMk/>
            <pc:sldMk cId="1118915593" sldId="2561"/>
            <ac:spMk id="60" creationId="{70012F14-6ACF-648B-A0C3-9831F28FCDD5}"/>
          </ac:spMkLst>
        </pc:spChg>
        <pc:spChg chg="mod">
          <ac:chgData name="Aurelien Domont" userId="6da7715ce44349b3" providerId="LiveId" clId="{7CD043B0-6B74-4D9A-84AE-1D8FE229AAC4}" dt="2023-01-20T02:52:27.651" v="2175" actId="1035"/>
          <ac:spMkLst>
            <pc:docMk/>
            <pc:sldMk cId="1118915593" sldId="2561"/>
            <ac:spMk id="66" creationId="{D2A8DFC7-27D0-2248-2089-0502807F476A}"/>
          </ac:spMkLst>
        </pc:spChg>
      </pc:sldChg>
      <pc:sldChg chg="modSp add del mod">
        <pc:chgData name="Aurelien Domont" userId="6da7715ce44349b3" providerId="LiveId" clId="{7CD043B0-6B74-4D9A-84AE-1D8FE229AAC4}" dt="2023-01-20T02:59:32.191" v="2217" actId="47"/>
        <pc:sldMkLst>
          <pc:docMk/>
          <pc:sldMk cId="217787569" sldId="2562"/>
        </pc:sldMkLst>
        <pc:spChg chg="mod">
          <ac:chgData name="Aurelien Domont" userId="6da7715ce44349b3" providerId="LiveId" clId="{7CD043B0-6B74-4D9A-84AE-1D8FE229AAC4}" dt="2023-01-20T02:53:23.038" v="2189" actId="20577"/>
          <ac:spMkLst>
            <pc:docMk/>
            <pc:sldMk cId="217787569" sldId="2562"/>
            <ac:spMk id="16" creationId="{6C2BB713-9637-4B9B-938F-E9768876782A}"/>
          </ac:spMkLst>
        </pc:spChg>
        <pc:spChg chg="mod">
          <ac:chgData name="Aurelien Domont" userId="6da7715ce44349b3" providerId="LiveId" clId="{7CD043B0-6B74-4D9A-84AE-1D8FE229AAC4}" dt="2023-01-20T02:53:25.175" v="2192" actId="20577"/>
          <ac:spMkLst>
            <pc:docMk/>
            <pc:sldMk cId="217787569" sldId="2562"/>
            <ac:spMk id="27" creationId="{AC8B7369-7E6F-43E6-96D5-9FE68700ADE3}"/>
          </ac:spMkLst>
        </pc:spChg>
      </pc:sldChg>
      <pc:sldChg chg="add del">
        <pc:chgData name="Aurelien Domont" userId="6da7715ce44349b3" providerId="LiveId" clId="{7CD043B0-6B74-4D9A-84AE-1D8FE229AAC4}" dt="2023-01-20T02:38:58.252" v="1972"/>
        <pc:sldMkLst>
          <pc:docMk/>
          <pc:sldMk cId="2259288495" sldId="2562"/>
        </pc:sldMkLst>
      </pc:sldChg>
      <pc:sldChg chg="delSp modSp add del mod">
        <pc:chgData name="Aurelien Domont" userId="6da7715ce44349b3" providerId="LiveId" clId="{7CD043B0-6B74-4D9A-84AE-1D8FE229AAC4}" dt="2023-01-25T05:15:07.571" v="9230" actId="47"/>
        <pc:sldMkLst>
          <pc:docMk/>
          <pc:sldMk cId="889624982" sldId="2563"/>
        </pc:sldMkLst>
        <pc:spChg chg="del">
          <ac:chgData name="Aurelien Domont" userId="6da7715ce44349b3" providerId="LiveId" clId="{7CD043B0-6B74-4D9A-84AE-1D8FE229AAC4}" dt="2023-01-20T02:53:38.202" v="2200" actId="478"/>
          <ac:spMkLst>
            <pc:docMk/>
            <pc:sldMk cId="889624982" sldId="2563"/>
            <ac:spMk id="9" creationId="{BE08DE42-BC34-2CB5-B8D0-9A674610A298}"/>
          </ac:spMkLst>
        </pc:spChg>
        <pc:spChg chg="mod">
          <ac:chgData name="Aurelien Domont" userId="6da7715ce44349b3" providerId="LiveId" clId="{7CD043B0-6B74-4D9A-84AE-1D8FE229AAC4}" dt="2023-01-20T02:53:40.677" v="2203" actId="20577"/>
          <ac:spMkLst>
            <pc:docMk/>
            <pc:sldMk cId="889624982" sldId="2563"/>
            <ac:spMk id="16" creationId="{6C2BB713-9637-4B9B-938F-E9768876782A}"/>
          </ac:spMkLst>
        </pc:spChg>
      </pc:sldChg>
      <pc:sldChg chg="delSp modSp add del mod">
        <pc:chgData name="Aurelien Domont" userId="6da7715ce44349b3" providerId="LiveId" clId="{7CD043B0-6B74-4D9A-84AE-1D8FE229AAC4}" dt="2023-01-25T05:15:07.571" v="9230" actId="47"/>
        <pc:sldMkLst>
          <pc:docMk/>
          <pc:sldMk cId="1217326178" sldId="2564"/>
        </pc:sldMkLst>
        <pc:spChg chg="del">
          <ac:chgData name="Aurelien Domont" userId="6da7715ce44349b3" providerId="LiveId" clId="{7CD043B0-6B74-4D9A-84AE-1D8FE229AAC4}" dt="2023-01-20T02:53:34.773" v="2199" actId="478"/>
          <ac:spMkLst>
            <pc:docMk/>
            <pc:sldMk cId="1217326178" sldId="2564"/>
            <ac:spMk id="2" creationId="{67ECB042-C670-7BDF-4657-B798E6539516}"/>
          </ac:spMkLst>
        </pc:spChg>
        <pc:spChg chg="mod">
          <ac:chgData name="Aurelien Domont" userId="6da7715ce44349b3" providerId="LiveId" clId="{7CD043B0-6B74-4D9A-84AE-1D8FE229AAC4}" dt="2023-01-20T02:53:31.703" v="2198" actId="20577"/>
          <ac:spMkLst>
            <pc:docMk/>
            <pc:sldMk cId="1217326178" sldId="2564"/>
            <ac:spMk id="16" creationId="{6C2BB713-9637-4B9B-938F-E9768876782A}"/>
          </ac:spMkLst>
        </pc:spChg>
      </pc:sldChg>
      <pc:sldChg chg="addSp delSp modSp add del mod">
        <pc:chgData name="Aurelien Domont" userId="6da7715ce44349b3" providerId="LiveId" clId="{7CD043B0-6B74-4D9A-84AE-1D8FE229AAC4}" dt="2023-01-20T03:03:41.469" v="2265" actId="47"/>
        <pc:sldMkLst>
          <pc:docMk/>
          <pc:sldMk cId="4214743595" sldId="2565"/>
        </pc:sldMkLst>
        <pc:spChg chg="add mod ord">
          <ac:chgData name="Aurelien Domont" userId="6da7715ce44349b3" providerId="LiveId" clId="{7CD043B0-6B74-4D9A-84AE-1D8FE229AAC4}" dt="2023-01-20T03:03:34.225" v="2264" actId="1076"/>
          <ac:spMkLst>
            <pc:docMk/>
            <pc:sldMk cId="4214743595" sldId="2565"/>
            <ac:spMk id="4" creationId="{05AB3DCB-01CB-25E4-6136-39964D70985B}"/>
          </ac:spMkLst>
        </pc:spChg>
        <pc:spChg chg="mod">
          <ac:chgData name="Aurelien Domont" userId="6da7715ce44349b3" providerId="LiveId" clId="{7CD043B0-6B74-4D9A-84AE-1D8FE229AAC4}" dt="2023-01-20T02:59:48.918" v="2239" actId="20577"/>
          <ac:spMkLst>
            <pc:docMk/>
            <pc:sldMk cId="4214743595" sldId="2565"/>
            <ac:spMk id="16" creationId="{6C2BB713-9637-4B9B-938F-E9768876782A}"/>
          </ac:spMkLst>
        </pc:spChg>
        <pc:spChg chg="del">
          <ac:chgData name="Aurelien Domont" userId="6da7715ce44349b3" providerId="LiveId" clId="{7CD043B0-6B74-4D9A-84AE-1D8FE229AAC4}" dt="2023-01-20T03:00:29.870" v="2244" actId="478"/>
          <ac:spMkLst>
            <pc:docMk/>
            <pc:sldMk cId="4214743595" sldId="2565"/>
            <ac:spMk id="24" creationId="{83A9CD77-ADAB-41C7-817C-8A06F22EB74B}"/>
          </ac:spMkLst>
        </pc:spChg>
        <pc:spChg chg="del mod">
          <ac:chgData name="Aurelien Domont" userId="6da7715ce44349b3" providerId="LiveId" clId="{7CD043B0-6B74-4D9A-84AE-1D8FE229AAC4}" dt="2023-01-20T03:00:44.035" v="2248" actId="478"/>
          <ac:spMkLst>
            <pc:docMk/>
            <pc:sldMk cId="4214743595" sldId="2565"/>
            <ac:spMk id="27" creationId="{AC8B7369-7E6F-43E6-96D5-9FE68700ADE3}"/>
          </ac:spMkLst>
        </pc:spChg>
        <pc:grpChg chg="del">
          <ac:chgData name="Aurelien Domont" userId="6da7715ce44349b3" providerId="LiveId" clId="{7CD043B0-6B74-4D9A-84AE-1D8FE229AAC4}" dt="2023-01-20T03:00:30.752" v="2245" actId="478"/>
          <ac:grpSpMkLst>
            <pc:docMk/>
            <pc:sldMk cId="4214743595" sldId="2565"/>
            <ac:grpSpMk id="2" creationId="{F24F8531-7A9A-4F6E-85C2-5B231F0EACEC}"/>
          </ac:grpSpMkLst>
        </pc:grpChg>
        <pc:picChg chg="add mod">
          <ac:chgData name="Aurelien Domont" userId="6da7715ce44349b3" providerId="LiveId" clId="{7CD043B0-6B74-4D9A-84AE-1D8FE229AAC4}" dt="2023-01-20T03:03:18.221" v="2259" actId="1076"/>
          <ac:picMkLst>
            <pc:docMk/>
            <pc:sldMk cId="4214743595" sldId="2565"/>
            <ac:picMk id="6" creationId="{6019D338-319A-233E-62DE-6594AF69F812}"/>
          </ac:picMkLst>
        </pc:picChg>
      </pc:sldChg>
      <pc:sldChg chg="addSp delSp modSp add mod">
        <pc:chgData name="Aurelien Domont" userId="6da7715ce44349b3" providerId="LiveId" clId="{7CD043B0-6B74-4D9A-84AE-1D8FE229AAC4}" dt="2023-01-20T04:06:33.044" v="3258" actId="478"/>
        <pc:sldMkLst>
          <pc:docMk/>
          <pc:sldMk cId="3285208466" sldId="2566"/>
        </pc:sldMkLst>
        <pc:spChg chg="add mod">
          <ac:chgData name="Aurelien Domont" userId="6da7715ce44349b3" providerId="LiveId" clId="{7CD043B0-6B74-4D9A-84AE-1D8FE229AAC4}" dt="2023-01-20T03:16:59.372" v="2523" actId="14100"/>
          <ac:spMkLst>
            <pc:docMk/>
            <pc:sldMk cId="3285208466" sldId="2566"/>
            <ac:spMk id="2" creationId="{735B51FD-8BA6-6CD0-F874-6A9A86E69D3A}"/>
          </ac:spMkLst>
        </pc:spChg>
        <pc:spChg chg="add del mod">
          <ac:chgData name="Aurelien Domont" userId="6da7715ce44349b3" providerId="LiveId" clId="{7CD043B0-6B74-4D9A-84AE-1D8FE229AAC4}" dt="2023-01-20T03:09:36.012" v="2378" actId="478"/>
          <ac:spMkLst>
            <pc:docMk/>
            <pc:sldMk cId="3285208466" sldId="2566"/>
            <ac:spMk id="4" creationId="{AB4577A0-F583-6BCC-57EE-E8E62CF6C44E}"/>
          </ac:spMkLst>
        </pc:spChg>
        <pc:spChg chg="add del mod">
          <ac:chgData name="Aurelien Domont" userId="6da7715ce44349b3" providerId="LiveId" clId="{7CD043B0-6B74-4D9A-84AE-1D8FE229AAC4}" dt="2023-01-20T03:09:36.012" v="2378" actId="478"/>
          <ac:spMkLst>
            <pc:docMk/>
            <pc:sldMk cId="3285208466" sldId="2566"/>
            <ac:spMk id="5" creationId="{AAA4A776-4298-9969-1108-D755752CAA74}"/>
          </ac:spMkLst>
        </pc:spChg>
        <pc:spChg chg="add del mod">
          <ac:chgData name="Aurelien Domont" userId="6da7715ce44349b3" providerId="LiveId" clId="{7CD043B0-6B74-4D9A-84AE-1D8FE229AAC4}" dt="2023-01-20T03:09:36.012" v="2378" actId="478"/>
          <ac:spMkLst>
            <pc:docMk/>
            <pc:sldMk cId="3285208466" sldId="2566"/>
            <ac:spMk id="6" creationId="{58B519A0-F154-658D-C740-532F59D87241}"/>
          </ac:spMkLst>
        </pc:spChg>
        <pc:spChg chg="add del mod">
          <ac:chgData name="Aurelien Domont" userId="6da7715ce44349b3" providerId="LiveId" clId="{7CD043B0-6B74-4D9A-84AE-1D8FE229AAC4}" dt="2023-01-20T03:09:36.012" v="2378" actId="478"/>
          <ac:spMkLst>
            <pc:docMk/>
            <pc:sldMk cId="3285208466" sldId="2566"/>
            <ac:spMk id="7" creationId="{EFBD260C-5AA0-E572-CBE5-72369E816090}"/>
          </ac:spMkLst>
        </pc:spChg>
        <pc:spChg chg="del">
          <ac:chgData name="Aurelien Domont" userId="6da7715ce44349b3" providerId="LiveId" clId="{7CD043B0-6B74-4D9A-84AE-1D8FE229AAC4}" dt="2023-01-20T04:06:33.044" v="3258" actId="478"/>
          <ac:spMkLst>
            <pc:docMk/>
            <pc:sldMk cId="3285208466" sldId="2566"/>
            <ac:spMk id="8" creationId="{A59D9EB3-E9B5-436C-B84C-64290C638E46}"/>
          </ac:spMkLst>
        </pc:spChg>
        <pc:spChg chg="add del mod">
          <ac:chgData name="Aurelien Domont" userId="6da7715ce44349b3" providerId="LiveId" clId="{7CD043B0-6B74-4D9A-84AE-1D8FE229AAC4}" dt="2023-01-20T03:09:41.499" v="2380" actId="478"/>
          <ac:spMkLst>
            <pc:docMk/>
            <pc:sldMk cId="3285208466" sldId="2566"/>
            <ac:spMk id="9" creationId="{401B5093-76BE-27E1-D4A1-A5E6D9E89437}"/>
          </ac:spMkLst>
        </pc:spChg>
        <pc:spChg chg="add mod">
          <ac:chgData name="Aurelien Domont" userId="6da7715ce44349b3" providerId="LiveId" clId="{7CD043B0-6B74-4D9A-84AE-1D8FE229AAC4}" dt="2023-01-20T03:16:59.372" v="2523" actId="14100"/>
          <ac:spMkLst>
            <pc:docMk/>
            <pc:sldMk cId="3285208466" sldId="2566"/>
            <ac:spMk id="10" creationId="{CAB5E83E-6760-1F52-D977-C10D0398D622}"/>
          </ac:spMkLst>
        </pc:spChg>
        <pc:spChg chg="add mod">
          <ac:chgData name="Aurelien Domont" userId="6da7715ce44349b3" providerId="LiveId" clId="{7CD043B0-6B74-4D9A-84AE-1D8FE229AAC4}" dt="2023-01-20T03:16:59.372" v="2523" actId="14100"/>
          <ac:spMkLst>
            <pc:docMk/>
            <pc:sldMk cId="3285208466" sldId="2566"/>
            <ac:spMk id="11" creationId="{B4C9C8B4-4012-7C5E-61AC-486AC5621964}"/>
          </ac:spMkLst>
        </pc:spChg>
        <pc:spChg chg="add mod">
          <ac:chgData name="Aurelien Domont" userId="6da7715ce44349b3" providerId="LiveId" clId="{7CD043B0-6B74-4D9A-84AE-1D8FE229AAC4}" dt="2023-01-20T03:16:59.372" v="2523" actId="14100"/>
          <ac:spMkLst>
            <pc:docMk/>
            <pc:sldMk cId="3285208466" sldId="2566"/>
            <ac:spMk id="12" creationId="{981D2D8E-29E2-7660-EBD8-41CF68B8DEB6}"/>
          </ac:spMkLst>
        </pc:spChg>
        <pc:spChg chg="add mod">
          <ac:chgData name="Aurelien Domont" userId="6da7715ce44349b3" providerId="LiveId" clId="{7CD043B0-6B74-4D9A-84AE-1D8FE229AAC4}" dt="2023-01-20T03:16:59.372" v="2523" actId="14100"/>
          <ac:spMkLst>
            <pc:docMk/>
            <pc:sldMk cId="3285208466" sldId="2566"/>
            <ac:spMk id="14" creationId="{F2F8AC25-5050-842C-F0E5-89D0C0056CF6}"/>
          </ac:spMkLst>
        </pc:spChg>
        <pc:spChg chg="mod">
          <ac:chgData name="Aurelien Domont" userId="6da7715ce44349b3" providerId="LiveId" clId="{7CD043B0-6B74-4D9A-84AE-1D8FE229AAC4}" dt="2023-01-20T03:07:52.009" v="2349"/>
          <ac:spMkLst>
            <pc:docMk/>
            <pc:sldMk cId="3285208466" sldId="2566"/>
            <ac:spMk id="16" creationId="{6C2BB713-9637-4B9B-938F-E9768876782A}"/>
          </ac:spMkLst>
        </pc:spChg>
        <pc:picChg chg="add mod">
          <ac:chgData name="Aurelien Domont" userId="6da7715ce44349b3" providerId="LiveId" clId="{7CD043B0-6B74-4D9A-84AE-1D8FE229AAC4}" dt="2023-01-20T03:16:11.655" v="2507" actId="14100"/>
          <ac:picMkLst>
            <pc:docMk/>
            <pc:sldMk cId="3285208466" sldId="2566"/>
            <ac:picMk id="17" creationId="{B91E96AA-9ABA-57A3-6216-9534666C012B}"/>
          </ac:picMkLst>
        </pc:picChg>
        <pc:picChg chg="add mod">
          <ac:chgData name="Aurelien Domont" userId="6da7715ce44349b3" providerId="LiveId" clId="{7CD043B0-6B74-4D9A-84AE-1D8FE229AAC4}" dt="2023-01-20T03:16:09.064" v="2505" actId="1076"/>
          <ac:picMkLst>
            <pc:docMk/>
            <pc:sldMk cId="3285208466" sldId="2566"/>
            <ac:picMk id="19" creationId="{35B57DC4-01C5-57D1-624C-74D65F210C01}"/>
          </ac:picMkLst>
        </pc:picChg>
        <pc:picChg chg="add mod">
          <ac:chgData name="Aurelien Domont" userId="6da7715ce44349b3" providerId="LiveId" clId="{7CD043B0-6B74-4D9A-84AE-1D8FE229AAC4}" dt="2023-01-20T03:16:44.040" v="2516" actId="14100"/>
          <ac:picMkLst>
            <pc:docMk/>
            <pc:sldMk cId="3285208466" sldId="2566"/>
            <ac:picMk id="21" creationId="{933BD5BE-64D0-67DE-B299-859456D23E1D}"/>
          </ac:picMkLst>
        </pc:picChg>
        <pc:picChg chg="add mod">
          <ac:chgData name="Aurelien Domont" userId="6da7715ce44349b3" providerId="LiveId" clId="{7CD043B0-6B74-4D9A-84AE-1D8FE229AAC4}" dt="2023-01-20T03:15:46.770" v="2485" actId="1076"/>
          <ac:picMkLst>
            <pc:docMk/>
            <pc:sldMk cId="3285208466" sldId="2566"/>
            <ac:picMk id="23" creationId="{AAE440E7-C853-8B2A-FEB2-D9435CB920EC}"/>
          </ac:picMkLst>
        </pc:picChg>
        <pc:picChg chg="add del mod">
          <ac:chgData name="Aurelien Domont" userId="6da7715ce44349b3" providerId="LiveId" clId="{7CD043B0-6B74-4D9A-84AE-1D8FE229AAC4}" dt="2023-01-20T03:16:16.107" v="2509" actId="478"/>
          <ac:picMkLst>
            <pc:docMk/>
            <pc:sldMk cId="3285208466" sldId="2566"/>
            <ac:picMk id="25" creationId="{C3CFD8AA-8479-62B9-4E15-413B85CBF2DA}"/>
          </ac:picMkLst>
        </pc:picChg>
        <pc:picChg chg="add mod">
          <ac:chgData name="Aurelien Domont" userId="6da7715ce44349b3" providerId="LiveId" clId="{7CD043B0-6B74-4D9A-84AE-1D8FE229AAC4}" dt="2023-01-20T03:16:49.711" v="2522" actId="1038"/>
          <ac:picMkLst>
            <pc:docMk/>
            <pc:sldMk cId="3285208466" sldId="2566"/>
            <ac:picMk id="27" creationId="{F3509EE1-DD78-BAA0-DD6E-FFAE003C7E4A}"/>
          </ac:picMkLst>
        </pc:picChg>
      </pc:sldChg>
      <pc:sldChg chg="add del">
        <pc:chgData name="Aurelien Domont" userId="6da7715ce44349b3" providerId="LiveId" clId="{7CD043B0-6B74-4D9A-84AE-1D8FE229AAC4}" dt="2023-01-20T03:21:25.206" v="2631" actId="47"/>
        <pc:sldMkLst>
          <pc:docMk/>
          <pc:sldMk cId="3515322684" sldId="2567"/>
        </pc:sldMkLst>
      </pc:sldChg>
      <pc:sldChg chg="delSp add del mod ord">
        <pc:chgData name="Aurelien Domont" userId="6da7715ce44349b3" providerId="LiveId" clId="{7CD043B0-6B74-4D9A-84AE-1D8FE229AAC4}" dt="2023-01-25T05:15:07.571" v="9230" actId="47"/>
        <pc:sldMkLst>
          <pc:docMk/>
          <pc:sldMk cId="4014275064" sldId="2568"/>
        </pc:sldMkLst>
        <pc:grpChg chg="del">
          <ac:chgData name="Aurelien Domont" userId="6da7715ce44349b3" providerId="LiveId" clId="{7CD043B0-6B74-4D9A-84AE-1D8FE229AAC4}" dt="2023-01-23T03:59:47.049" v="5109" actId="478"/>
          <ac:grpSpMkLst>
            <pc:docMk/>
            <pc:sldMk cId="4014275064" sldId="2568"/>
            <ac:grpSpMk id="2" creationId="{F24F8531-7A9A-4F6E-85C2-5B231F0EACEC}"/>
          </ac:grpSpMkLst>
        </pc:grpChg>
      </pc:sldChg>
      <pc:sldChg chg="addSp delSp modSp add del mod">
        <pc:chgData name="Aurelien Domont" userId="6da7715ce44349b3" providerId="LiveId" clId="{7CD043B0-6B74-4D9A-84AE-1D8FE229AAC4}" dt="2023-01-20T03:07:42.268" v="2347" actId="47"/>
        <pc:sldMkLst>
          <pc:docMk/>
          <pc:sldMk cId="4034531066" sldId="2569"/>
        </pc:sldMkLst>
        <pc:spChg chg="mod ord">
          <ac:chgData name="Aurelien Domont" userId="6da7715ce44349b3" providerId="LiveId" clId="{7CD043B0-6B74-4D9A-84AE-1D8FE229AAC4}" dt="2023-01-20T03:04:36.538" v="2277" actId="1076"/>
          <ac:spMkLst>
            <pc:docMk/>
            <pc:sldMk cId="4034531066" sldId="2569"/>
            <ac:spMk id="4" creationId="{05AB3DCB-01CB-25E4-6136-39964D70985B}"/>
          </ac:spMkLst>
        </pc:spChg>
        <pc:picChg chg="add mod">
          <ac:chgData name="Aurelien Domont" userId="6da7715ce44349b3" providerId="LiveId" clId="{7CD043B0-6B74-4D9A-84AE-1D8FE229AAC4}" dt="2023-01-20T03:04:22.549" v="2272" actId="1076"/>
          <ac:picMkLst>
            <pc:docMk/>
            <pc:sldMk cId="4034531066" sldId="2569"/>
            <ac:picMk id="5" creationId="{5C5E9590-A808-292A-3F94-AE5023449D7B}"/>
          </ac:picMkLst>
        </pc:picChg>
        <pc:picChg chg="del">
          <ac:chgData name="Aurelien Domont" userId="6da7715ce44349b3" providerId="LiveId" clId="{7CD043B0-6B74-4D9A-84AE-1D8FE229AAC4}" dt="2023-01-20T03:03:43.816" v="2266" actId="478"/>
          <ac:picMkLst>
            <pc:docMk/>
            <pc:sldMk cId="4034531066" sldId="2569"/>
            <ac:picMk id="6" creationId="{6019D338-319A-233E-62DE-6594AF69F812}"/>
          </ac:picMkLst>
        </pc:picChg>
      </pc:sldChg>
      <pc:sldChg chg="add del">
        <pc:chgData name="Aurelien Domont" userId="6da7715ce44349b3" providerId="LiveId" clId="{7CD043B0-6B74-4D9A-84AE-1D8FE229AAC4}" dt="2023-01-20T03:07:44.719" v="2348" actId="47"/>
        <pc:sldMkLst>
          <pc:docMk/>
          <pc:sldMk cId="242494872" sldId="2570"/>
        </pc:sldMkLst>
      </pc:sldChg>
      <pc:sldChg chg="addSp delSp modSp add del mod">
        <pc:chgData name="Aurelien Domont" userId="6da7715ce44349b3" providerId="LiveId" clId="{7CD043B0-6B74-4D9A-84AE-1D8FE229AAC4}" dt="2023-01-20T03:06:12.927" v="2295" actId="47"/>
        <pc:sldMkLst>
          <pc:docMk/>
          <pc:sldMk cId="1190452073" sldId="2571"/>
        </pc:sldMkLst>
        <pc:spChg chg="mod ord">
          <ac:chgData name="Aurelien Domont" userId="6da7715ce44349b3" providerId="LiveId" clId="{7CD043B0-6B74-4D9A-84AE-1D8FE229AAC4}" dt="2023-01-20T03:06:09.916" v="2294" actId="14100"/>
          <ac:spMkLst>
            <pc:docMk/>
            <pc:sldMk cId="1190452073" sldId="2571"/>
            <ac:spMk id="4" creationId="{05AB3DCB-01CB-25E4-6136-39964D70985B}"/>
          </ac:spMkLst>
        </pc:spChg>
        <pc:picChg chg="add del mod">
          <ac:chgData name="Aurelien Domont" userId="6da7715ce44349b3" providerId="LiveId" clId="{7CD043B0-6B74-4D9A-84AE-1D8FE229AAC4}" dt="2023-01-20T03:05:53.570" v="2286" actId="478"/>
          <ac:picMkLst>
            <pc:docMk/>
            <pc:sldMk cId="1190452073" sldId="2571"/>
            <ac:picMk id="5" creationId="{1DC14A28-DC48-08B2-4281-163229F2627C}"/>
          </ac:picMkLst>
        </pc:picChg>
        <pc:picChg chg="add mod">
          <ac:chgData name="Aurelien Domont" userId="6da7715ce44349b3" providerId="LiveId" clId="{7CD043B0-6B74-4D9A-84AE-1D8FE229AAC4}" dt="2023-01-20T03:06:00.268" v="2290" actId="14100"/>
          <ac:picMkLst>
            <pc:docMk/>
            <pc:sldMk cId="1190452073" sldId="2571"/>
            <ac:picMk id="7" creationId="{5C9675BC-76E2-6EF8-41C3-0B83BFA54595}"/>
          </ac:picMkLst>
        </pc:picChg>
      </pc:sldChg>
      <pc:sldChg chg="add del">
        <pc:chgData name="Aurelien Domont" userId="6da7715ce44349b3" providerId="LiveId" clId="{7CD043B0-6B74-4D9A-84AE-1D8FE229AAC4}" dt="2023-01-20T03:07:40.768" v="2346" actId="47"/>
        <pc:sldMkLst>
          <pc:docMk/>
          <pc:sldMk cId="1415374067" sldId="2572"/>
        </pc:sldMkLst>
      </pc:sldChg>
      <pc:sldChg chg="delSp modSp add mod">
        <pc:chgData name="Aurelien Domont" userId="6da7715ce44349b3" providerId="LiveId" clId="{7CD043B0-6B74-4D9A-84AE-1D8FE229AAC4}" dt="2023-01-20T04:06:36.198" v="3259" actId="478"/>
        <pc:sldMkLst>
          <pc:docMk/>
          <pc:sldMk cId="168400318" sldId="2573"/>
        </pc:sldMkLst>
        <pc:spChg chg="mod">
          <ac:chgData name="Aurelien Domont" userId="6da7715ce44349b3" providerId="LiveId" clId="{7CD043B0-6B74-4D9A-84AE-1D8FE229AAC4}" dt="2023-01-20T03:07:18.513" v="2345" actId="1035"/>
          <ac:spMkLst>
            <pc:docMk/>
            <pc:sldMk cId="168400318" sldId="2573"/>
            <ac:spMk id="4" creationId="{05AB3DCB-01CB-25E4-6136-39964D70985B}"/>
          </ac:spMkLst>
        </pc:spChg>
        <pc:spChg chg="del">
          <ac:chgData name="Aurelien Domont" userId="6da7715ce44349b3" providerId="LiveId" clId="{7CD043B0-6B74-4D9A-84AE-1D8FE229AAC4}" dt="2023-01-20T04:06:36.198" v="3259" actId="478"/>
          <ac:spMkLst>
            <pc:docMk/>
            <pc:sldMk cId="168400318" sldId="2573"/>
            <ac:spMk id="8" creationId="{A59D9EB3-E9B5-436C-B84C-64290C638E46}"/>
          </ac:spMkLst>
        </pc:spChg>
        <pc:picChg chg="mod">
          <ac:chgData name="Aurelien Domont" userId="6da7715ce44349b3" providerId="LiveId" clId="{7CD043B0-6B74-4D9A-84AE-1D8FE229AAC4}" dt="2023-01-20T03:07:18.513" v="2345" actId="1035"/>
          <ac:picMkLst>
            <pc:docMk/>
            <pc:sldMk cId="168400318" sldId="2573"/>
            <ac:picMk id="5" creationId="{1DC14A28-DC48-08B2-4281-163229F2627C}"/>
          </ac:picMkLst>
        </pc:picChg>
        <pc:picChg chg="del">
          <ac:chgData name="Aurelien Domont" userId="6da7715ce44349b3" providerId="LiveId" clId="{7CD043B0-6B74-4D9A-84AE-1D8FE229AAC4}" dt="2023-01-20T03:06:14.635" v="2296" actId="478"/>
          <ac:picMkLst>
            <pc:docMk/>
            <pc:sldMk cId="168400318" sldId="2573"/>
            <ac:picMk id="7" creationId="{5C9675BC-76E2-6EF8-41C3-0B83BFA54595}"/>
          </ac:picMkLst>
        </pc:picChg>
      </pc:sldChg>
      <pc:sldChg chg="delSp modSp add mod">
        <pc:chgData name="Aurelien Domont" userId="6da7715ce44349b3" providerId="LiveId" clId="{7CD043B0-6B74-4D9A-84AE-1D8FE229AAC4}" dt="2023-01-20T04:06:29.896" v="3257" actId="478"/>
        <pc:sldMkLst>
          <pc:docMk/>
          <pc:sldMk cId="3109918362" sldId="2574"/>
        </pc:sldMkLst>
        <pc:spChg chg="mod">
          <ac:chgData name="Aurelien Domont" userId="6da7715ce44349b3" providerId="LiveId" clId="{7CD043B0-6B74-4D9A-84AE-1D8FE229AAC4}" dt="2023-01-20T03:18:12.281" v="2622" actId="20577"/>
          <ac:spMkLst>
            <pc:docMk/>
            <pc:sldMk cId="3109918362" sldId="2574"/>
            <ac:spMk id="2" creationId="{735B51FD-8BA6-6CD0-F874-6A9A86E69D3A}"/>
          </ac:spMkLst>
        </pc:spChg>
        <pc:spChg chg="del">
          <ac:chgData name="Aurelien Domont" userId="6da7715ce44349b3" providerId="LiveId" clId="{7CD043B0-6B74-4D9A-84AE-1D8FE229AAC4}" dt="2023-01-20T04:06:29.896" v="3257" actId="478"/>
          <ac:spMkLst>
            <pc:docMk/>
            <pc:sldMk cId="3109918362" sldId="2574"/>
            <ac:spMk id="8" creationId="{A59D9EB3-E9B5-436C-B84C-64290C638E46}"/>
          </ac:spMkLst>
        </pc:spChg>
        <pc:spChg chg="mod">
          <ac:chgData name="Aurelien Domont" userId="6da7715ce44349b3" providerId="LiveId" clId="{7CD043B0-6B74-4D9A-84AE-1D8FE229AAC4}" dt="2023-01-20T03:18:07.571" v="2621" actId="20577"/>
          <ac:spMkLst>
            <pc:docMk/>
            <pc:sldMk cId="3109918362" sldId="2574"/>
            <ac:spMk id="10" creationId="{CAB5E83E-6760-1F52-D977-C10D0398D622}"/>
          </ac:spMkLst>
        </pc:spChg>
        <pc:spChg chg="mod">
          <ac:chgData name="Aurelien Domont" userId="6da7715ce44349b3" providerId="LiveId" clId="{7CD043B0-6B74-4D9A-84AE-1D8FE229AAC4}" dt="2023-01-20T03:18:24.313" v="2628" actId="20577"/>
          <ac:spMkLst>
            <pc:docMk/>
            <pc:sldMk cId="3109918362" sldId="2574"/>
            <ac:spMk id="11" creationId="{B4C9C8B4-4012-7C5E-61AC-486AC5621964}"/>
          </ac:spMkLst>
        </pc:spChg>
        <pc:spChg chg="mod">
          <ac:chgData name="Aurelien Domont" userId="6da7715ce44349b3" providerId="LiveId" clId="{7CD043B0-6B74-4D9A-84AE-1D8FE229AAC4}" dt="2023-01-20T03:20:54.790" v="2630" actId="20577"/>
          <ac:spMkLst>
            <pc:docMk/>
            <pc:sldMk cId="3109918362" sldId="2574"/>
            <ac:spMk id="12" creationId="{981D2D8E-29E2-7660-EBD8-41CF68B8DEB6}"/>
          </ac:spMkLst>
        </pc:spChg>
        <pc:spChg chg="mod">
          <ac:chgData name="Aurelien Domont" userId="6da7715ce44349b3" providerId="LiveId" clId="{7CD043B0-6B74-4D9A-84AE-1D8FE229AAC4}" dt="2023-01-20T03:17:12.843" v="2541" actId="20577"/>
          <ac:spMkLst>
            <pc:docMk/>
            <pc:sldMk cId="3109918362" sldId="2574"/>
            <ac:spMk id="16" creationId="{6C2BB713-9637-4B9B-938F-E9768876782A}"/>
          </ac:spMkLst>
        </pc:spChg>
      </pc:sldChg>
      <pc:sldChg chg="addSp modSp add mod">
        <pc:chgData name="Aurelien Domont" userId="6da7715ce44349b3" providerId="LiveId" clId="{7CD043B0-6B74-4D9A-84AE-1D8FE229AAC4}" dt="2023-01-20T03:57:13.897" v="3083"/>
        <pc:sldMkLst>
          <pc:docMk/>
          <pc:sldMk cId="1687835262" sldId="2575"/>
        </pc:sldMkLst>
        <pc:spChg chg="add mod">
          <ac:chgData name="Aurelien Domont" userId="6da7715ce44349b3" providerId="LiveId" clId="{7CD043B0-6B74-4D9A-84AE-1D8FE229AAC4}" dt="2023-01-20T03:47:30.605" v="3018"/>
          <ac:spMkLst>
            <pc:docMk/>
            <pc:sldMk cId="1687835262" sldId="2575"/>
            <ac:spMk id="2" creationId="{F1DD1381-8846-E643-CF44-DC770D866767}"/>
          </ac:spMkLst>
        </pc:spChg>
        <pc:spChg chg="mod">
          <ac:chgData name="Aurelien Domont" userId="6da7715ce44349b3" providerId="LiveId" clId="{7CD043B0-6B74-4D9A-84AE-1D8FE229AAC4}" dt="2023-01-20T03:57:13.897" v="3083"/>
          <ac:spMkLst>
            <pc:docMk/>
            <pc:sldMk cId="1687835262" sldId="2575"/>
            <ac:spMk id="60" creationId="{70012F14-6ACF-648B-A0C3-9831F28FCDD5}"/>
          </ac:spMkLst>
        </pc:spChg>
        <pc:spChg chg="mod modVis">
          <ac:chgData name="Aurelien Domont" userId="6da7715ce44349b3" providerId="LiveId" clId="{7CD043B0-6B74-4D9A-84AE-1D8FE229AAC4}" dt="2023-01-20T03:22:07.925" v="2638" actId="14429"/>
          <ac:spMkLst>
            <pc:docMk/>
            <pc:sldMk cId="1687835262" sldId="2575"/>
            <ac:spMk id="63" creationId="{97A3A726-74D8-4656-32E3-29F0CAA43313}"/>
          </ac:spMkLst>
        </pc:spChg>
        <pc:spChg chg="mod modVis">
          <ac:chgData name="Aurelien Domont" userId="6da7715ce44349b3" providerId="LiveId" clId="{7CD043B0-6B74-4D9A-84AE-1D8FE229AAC4}" dt="2023-01-20T03:22:06.353" v="2636" actId="14429"/>
          <ac:spMkLst>
            <pc:docMk/>
            <pc:sldMk cId="1687835262" sldId="2575"/>
            <ac:spMk id="64" creationId="{087C08FA-13CD-7984-F533-7290BF07B4E6}"/>
          </ac:spMkLst>
        </pc:spChg>
        <pc:spChg chg="mod modVis">
          <ac:chgData name="Aurelien Domont" userId="6da7715ce44349b3" providerId="LiveId" clId="{7CD043B0-6B74-4D9A-84AE-1D8FE229AAC4}" dt="2023-01-20T03:22:04.299" v="2634" actId="14429"/>
          <ac:spMkLst>
            <pc:docMk/>
            <pc:sldMk cId="1687835262" sldId="2575"/>
            <ac:spMk id="65" creationId="{4E68F974-9D19-CA25-389E-22C1414B946E}"/>
          </ac:spMkLst>
        </pc:spChg>
        <pc:spChg chg="mod">
          <ac:chgData name="Aurelien Domont" userId="6da7715ce44349b3" providerId="LiveId" clId="{7CD043B0-6B74-4D9A-84AE-1D8FE229AAC4}" dt="2023-01-20T03:22:42.653" v="2649" actId="1036"/>
          <ac:spMkLst>
            <pc:docMk/>
            <pc:sldMk cId="1687835262" sldId="2575"/>
            <ac:spMk id="66" creationId="{D2A8DFC7-27D0-2248-2089-0502807F476A}"/>
          </ac:spMkLst>
        </pc:spChg>
      </pc:sldChg>
      <pc:sldChg chg="addSp delSp modSp add mod">
        <pc:chgData name="Aurelien Domont" userId="6da7715ce44349b3" providerId="LiveId" clId="{7CD043B0-6B74-4D9A-84AE-1D8FE229AAC4}" dt="2023-01-20T04:06:24.695" v="3256" actId="478"/>
        <pc:sldMkLst>
          <pc:docMk/>
          <pc:sldMk cId="3499924189" sldId="2576"/>
        </pc:sldMkLst>
        <pc:spChg chg="add mod">
          <ac:chgData name="Aurelien Domont" userId="6da7715ce44349b3" providerId="LiveId" clId="{7CD043B0-6B74-4D9A-84AE-1D8FE229AAC4}" dt="2023-01-20T03:30:44.995" v="2734" actId="1036"/>
          <ac:spMkLst>
            <pc:docMk/>
            <pc:sldMk cId="3499924189" sldId="2576"/>
            <ac:spMk id="2" creationId="{2B1109A6-5022-2FB8-0200-09E7B13DAEC3}"/>
          </ac:spMkLst>
        </pc:spChg>
        <pc:spChg chg="del mod">
          <ac:chgData name="Aurelien Domont" userId="6da7715ce44349b3" providerId="LiveId" clId="{7CD043B0-6B74-4D9A-84AE-1D8FE229AAC4}" dt="2023-01-20T03:30:51.179" v="2735" actId="478"/>
          <ac:spMkLst>
            <pc:docMk/>
            <pc:sldMk cId="3499924189" sldId="2576"/>
            <ac:spMk id="4" creationId="{05AB3DCB-01CB-25E4-6136-39964D70985B}"/>
          </ac:spMkLst>
        </pc:spChg>
        <pc:spChg chg="del">
          <ac:chgData name="Aurelien Domont" userId="6da7715ce44349b3" providerId="LiveId" clId="{7CD043B0-6B74-4D9A-84AE-1D8FE229AAC4}" dt="2023-01-20T04:06:24.695" v="3256" actId="478"/>
          <ac:spMkLst>
            <pc:docMk/>
            <pc:sldMk cId="3499924189" sldId="2576"/>
            <ac:spMk id="8" creationId="{A59D9EB3-E9B5-436C-B84C-64290C638E46}"/>
          </ac:spMkLst>
        </pc:spChg>
        <pc:spChg chg="mod">
          <ac:chgData name="Aurelien Domont" userId="6da7715ce44349b3" providerId="LiveId" clId="{7CD043B0-6B74-4D9A-84AE-1D8FE229AAC4}" dt="2023-01-20T03:24:00.926" v="2664" actId="20577"/>
          <ac:spMkLst>
            <pc:docMk/>
            <pc:sldMk cId="3499924189" sldId="2576"/>
            <ac:spMk id="16" creationId="{6C2BB713-9637-4B9B-938F-E9768876782A}"/>
          </ac:spMkLst>
        </pc:spChg>
        <pc:picChg chg="del">
          <ac:chgData name="Aurelien Domont" userId="6da7715ce44349b3" providerId="LiveId" clId="{7CD043B0-6B74-4D9A-84AE-1D8FE229AAC4}" dt="2023-01-20T03:24:57.020" v="2685" actId="478"/>
          <ac:picMkLst>
            <pc:docMk/>
            <pc:sldMk cId="3499924189" sldId="2576"/>
            <ac:picMk id="5" creationId="{1DC14A28-DC48-08B2-4281-163229F2627C}"/>
          </ac:picMkLst>
        </pc:picChg>
        <pc:picChg chg="add del mod">
          <ac:chgData name="Aurelien Domont" userId="6da7715ce44349b3" providerId="LiveId" clId="{7CD043B0-6B74-4D9A-84AE-1D8FE229AAC4}" dt="2023-01-20T03:26:37.571" v="2692" actId="478"/>
          <ac:picMkLst>
            <pc:docMk/>
            <pc:sldMk cId="3499924189" sldId="2576"/>
            <ac:picMk id="7" creationId="{9107D705-4D11-BD93-0B2F-191D8C9FA86D}"/>
          </ac:picMkLst>
        </pc:picChg>
        <pc:picChg chg="add mod">
          <ac:chgData name="Aurelien Domont" userId="6da7715ce44349b3" providerId="LiveId" clId="{7CD043B0-6B74-4D9A-84AE-1D8FE229AAC4}" dt="2023-01-20T03:30:44.995" v="2734" actId="1036"/>
          <ac:picMkLst>
            <pc:docMk/>
            <pc:sldMk cId="3499924189" sldId="2576"/>
            <ac:picMk id="10" creationId="{52B70B71-B099-8217-3E7A-4879EDBDEB12}"/>
          </ac:picMkLst>
        </pc:picChg>
      </pc:sldChg>
      <pc:sldChg chg="addSp delSp modSp add mod">
        <pc:chgData name="Aurelien Domont" userId="6da7715ce44349b3" providerId="LiveId" clId="{7CD043B0-6B74-4D9A-84AE-1D8FE229AAC4}" dt="2023-01-20T04:06:20.555" v="3255" actId="478"/>
        <pc:sldMkLst>
          <pc:docMk/>
          <pc:sldMk cId="3274052290" sldId="2577"/>
        </pc:sldMkLst>
        <pc:spChg chg="del mod">
          <ac:chgData name="Aurelien Domont" userId="6da7715ce44349b3" providerId="LiveId" clId="{7CD043B0-6B74-4D9A-84AE-1D8FE229AAC4}" dt="2023-01-20T03:32:59.049" v="2745" actId="478"/>
          <ac:spMkLst>
            <pc:docMk/>
            <pc:sldMk cId="3274052290" sldId="2577"/>
            <ac:spMk id="2" creationId="{2B1109A6-5022-2FB8-0200-09E7B13DAEC3}"/>
          </ac:spMkLst>
        </pc:spChg>
        <pc:spChg chg="del">
          <ac:chgData name="Aurelien Domont" userId="6da7715ce44349b3" providerId="LiveId" clId="{7CD043B0-6B74-4D9A-84AE-1D8FE229AAC4}" dt="2023-01-20T03:32:59.049" v="2745" actId="478"/>
          <ac:spMkLst>
            <pc:docMk/>
            <pc:sldMk cId="3274052290" sldId="2577"/>
            <ac:spMk id="4" creationId="{05AB3DCB-01CB-25E4-6136-39964D70985B}"/>
          </ac:spMkLst>
        </pc:spChg>
        <pc:spChg chg="add mod">
          <ac:chgData name="Aurelien Domont" userId="6da7715ce44349b3" providerId="LiveId" clId="{7CD043B0-6B74-4D9A-84AE-1D8FE229AAC4}" dt="2023-01-20T03:39:44.063" v="2948" actId="113"/>
          <ac:spMkLst>
            <pc:docMk/>
            <pc:sldMk cId="3274052290" sldId="2577"/>
            <ac:spMk id="5" creationId="{8315AFDB-137F-D43A-D46F-8BE203D68B35}"/>
          </ac:spMkLst>
        </pc:spChg>
        <pc:spChg chg="add mod">
          <ac:chgData name="Aurelien Domont" userId="6da7715ce44349b3" providerId="LiveId" clId="{7CD043B0-6B74-4D9A-84AE-1D8FE229AAC4}" dt="2023-01-20T03:38:01.028" v="2932" actId="20577"/>
          <ac:spMkLst>
            <pc:docMk/>
            <pc:sldMk cId="3274052290" sldId="2577"/>
            <ac:spMk id="6" creationId="{9FBB2943-D762-EB02-8BE7-F3E450960E75}"/>
          </ac:spMkLst>
        </pc:spChg>
        <pc:spChg chg="add mod">
          <ac:chgData name="Aurelien Domont" userId="6da7715ce44349b3" providerId="LiveId" clId="{7CD043B0-6B74-4D9A-84AE-1D8FE229AAC4}" dt="2023-01-20T03:39:44.063" v="2948" actId="113"/>
          <ac:spMkLst>
            <pc:docMk/>
            <pc:sldMk cId="3274052290" sldId="2577"/>
            <ac:spMk id="7" creationId="{78279CFF-EA63-0C27-845C-C2B5FE7B0FB3}"/>
          </ac:spMkLst>
        </pc:spChg>
        <pc:spChg chg="del">
          <ac:chgData name="Aurelien Domont" userId="6da7715ce44349b3" providerId="LiveId" clId="{7CD043B0-6B74-4D9A-84AE-1D8FE229AAC4}" dt="2023-01-20T04:06:20.555" v="3255" actId="478"/>
          <ac:spMkLst>
            <pc:docMk/>
            <pc:sldMk cId="3274052290" sldId="2577"/>
            <ac:spMk id="8" creationId="{A59D9EB3-E9B5-436C-B84C-64290C638E46}"/>
          </ac:spMkLst>
        </pc:spChg>
        <pc:spChg chg="add mod">
          <ac:chgData name="Aurelien Domont" userId="6da7715ce44349b3" providerId="LiveId" clId="{7CD043B0-6B74-4D9A-84AE-1D8FE229AAC4}" dt="2023-01-20T03:38:27.440" v="2933"/>
          <ac:spMkLst>
            <pc:docMk/>
            <pc:sldMk cId="3274052290" sldId="2577"/>
            <ac:spMk id="9" creationId="{D41168FF-CB77-63A4-C549-2DFC83EC18CF}"/>
          </ac:spMkLst>
        </pc:spChg>
        <pc:spChg chg="add del mod">
          <ac:chgData name="Aurelien Domont" userId="6da7715ce44349b3" providerId="LiveId" clId="{7CD043B0-6B74-4D9A-84AE-1D8FE229AAC4}" dt="2023-01-20T03:38:29.957" v="2934" actId="478"/>
          <ac:spMkLst>
            <pc:docMk/>
            <pc:sldMk cId="3274052290" sldId="2577"/>
            <ac:spMk id="11" creationId="{01D153E9-D1AF-C434-AFD0-C7FEF3DBEE19}"/>
          </ac:spMkLst>
        </pc:spChg>
        <pc:spChg chg="mod">
          <ac:chgData name="Aurelien Domont" userId="6da7715ce44349b3" providerId="LiveId" clId="{7CD043B0-6B74-4D9A-84AE-1D8FE229AAC4}" dt="2023-01-20T03:32:56.870" v="2744" actId="20577"/>
          <ac:spMkLst>
            <pc:docMk/>
            <pc:sldMk cId="3274052290" sldId="2577"/>
            <ac:spMk id="16" creationId="{6C2BB713-9637-4B9B-938F-E9768876782A}"/>
          </ac:spMkLst>
        </pc:spChg>
        <pc:picChg chg="del">
          <ac:chgData name="Aurelien Domont" userId="6da7715ce44349b3" providerId="LiveId" clId="{7CD043B0-6B74-4D9A-84AE-1D8FE229AAC4}" dt="2023-01-20T03:32:59.049" v="2745" actId="478"/>
          <ac:picMkLst>
            <pc:docMk/>
            <pc:sldMk cId="3274052290" sldId="2577"/>
            <ac:picMk id="10" creationId="{52B70B71-B099-8217-3E7A-4879EDBDEB12}"/>
          </ac:picMkLst>
        </pc:picChg>
        <pc:picChg chg="add mod">
          <ac:chgData name="Aurelien Domont" userId="6da7715ce44349b3" providerId="LiveId" clId="{7CD043B0-6B74-4D9A-84AE-1D8FE229AAC4}" dt="2023-01-20T03:39:58.316" v="2952" actId="1035"/>
          <ac:picMkLst>
            <pc:docMk/>
            <pc:sldMk cId="3274052290" sldId="2577"/>
            <ac:picMk id="14" creationId="{9FA0349D-F906-3E09-2A15-4D23D7668CBE}"/>
          </ac:picMkLst>
        </pc:picChg>
        <pc:picChg chg="add mod">
          <ac:chgData name="Aurelien Domont" userId="6da7715ce44349b3" providerId="LiveId" clId="{7CD043B0-6B74-4D9A-84AE-1D8FE229AAC4}" dt="2023-01-20T03:39:35.723" v="2947" actId="1076"/>
          <ac:picMkLst>
            <pc:docMk/>
            <pc:sldMk cId="3274052290" sldId="2577"/>
            <ac:picMk id="17" creationId="{19CFAA9F-0962-382D-D2C3-25AD531B8599}"/>
          </ac:picMkLst>
        </pc:picChg>
      </pc:sldChg>
      <pc:sldChg chg="addSp modSp add mod">
        <pc:chgData name="Aurelien Domont" userId="6da7715ce44349b3" providerId="LiveId" clId="{7CD043B0-6B74-4D9A-84AE-1D8FE229AAC4}" dt="2023-01-23T02:18:17.382" v="3300"/>
        <pc:sldMkLst>
          <pc:docMk/>
          <pc:sldMk cId="80454488" sldId="2578"/>
        </pc:sldMkLst>
        <pc:spChg chg="add mod">
          <ac:chgData name="Aurelien Domont" userId="6da7715ce44349b3" providerId="LiveId" clId="{7CD043B0-6B74-4D9A-84AE-1D8FE229AAC4}" dt="2023-01-23T02:18:17.382" v="3300"/>
          <ac:spMkLst>
            <pc:docMk/>
            <pc:sldMk cId="80454488" sldId="2578"/>
            <ac:spMk id="2" creationId="{43607A01-5262-9D08-EE9F-9CA24EB94BE0}"/>
          </ac:spMkLst>
        </pc:spChg>
        <pc:spChg chg="mod">
          <ac:chgData name="Aurelien Domont" userId="6da7715ce44349b3" providerId="LiveId" clId="{7CD043B0-6B74-4D9A-84AE-1D8FE229AAC4}" dt="2023-01-20T03:57:13.897" v="3083"/>
          <ac:spMkLst>
            <pc:docMk/>
            <pc:sldMk cId="80454488" sldId="2578"/>
            <ac:spMk id="60" creationId="{70012F14-6ACF-648B-A0C3-9831F28FCDD5}"/>
          </ac:spMkLst>
        </pc:spChg>
        <pc:spChg chg="mod">
          <ac:chgData name="Aurelien Domont" userId="6da7715ce44349b3" providerId="LiveId" clId="{7CD043B0-6B74-4D9A-84AE-1D8FE229AAC4}" dt="2023-01-20T03:57:29.269" v="3084" actId="14100"/>
          <ac:spMkLst>
            <pc:docMk/>
            <pc:sldMk cId="80454488" sldId="2578"/>
            <ac:spMk id="66" creationId="{D2A8DFC7-27D0-2248-2089-0502807F476A}"/>
          </ac:spMkLst>
        </pc:spChg>
      </pc:sldChg>
      <pc:sldChg chg="modSp add del mod">
        <pc:chgData name="Aurelien Domont" userId="6da7715ce44349b3" providerId="LiveId" clId="{7CD043B0-6B74-4D9A-84AE-1D8FE229AAC4}" dt="2023-01-20T03:41:37.903" v="2977" actId="47"/>
        <pc:sldMkLst>
          <pc:docMk/>
          <pc:sldMk cId="723247636" sldId="2578"/>
        </pc:sldMkLst>
        <pc:spChg chg="mod">
          <ac:chgData name="Aurelien Domont" userId="6da7715ce44349b3" providerId="LiveId" clId="{7CD043B0-6B74-4D9A-84AE-1D8FE229AAC4}" dt="2023-01-20T03:40:30.240" v="2973" actId="20577"/>
          <ac:spMkLst>
            <pc:docMk/>
            <pc:sldMk cId="723247636" sldId="2578"/>
            <ac:spMk id="6" creationId="{9FBB2943-D762-EB02-8BE7-F3E450960E75}"/>
          </ac:spMkLst>
        </pc:spChg>
        <pc:spChg chg="mod">
          <ac:chgData name="Aurelien Domont" userId="6da7715ce44349b3" providerId="LiveId" clId="{7CD043B0-6B74-4D9A-84AE-1D8FE229AAC4}" dt="2023-01-20T03:40:33.134" v="2976" actId="20577"/>
          <ac:spMkLst>
            <pc:docMk/>
            <pc:sldMk cId="723247636" sldId="2578"/>
            <ac:spMk id="9" creationId="{D41168FF-CB77-63A4-C549-2DFC83EC18CF}"/>
          </ac:spMkLst>
        </pc:spChg>
        <pc:spChg chg="mod">
          <ac:chgData name="Aurelien Domont" userId="6da7715ce44349b3" providerId="LiveId" clId="{7CD043B0-6B74-4D9A-84AE-1D8FE229AAC4}" dt="2023-01-20T03:40:27.008" v="2970" actId="20577"/>
          <ac:spMkLst>
            <pc:docMk/>
            <pc:sldMk cId="723247636" sldId="2578"/>
            <ac:spMk id="16" creationId="{6C2BB713-9637-4B9B-938F-E9768876782A}"/>
          </ac:spMkLst>
        </pc:spChg>
      </pc:sldChg>
      <pc:sldChg chg="addSp delSp modSp add mod">
        <pc:chgData name="Aurelien Domont" userId="6da7715ce44349b3" providerId="LiveId" clId="{7CD043B0-6B74-4D9A-84AE-1D8FE229AAC4}" dt="2023-01-20T04:06:11.932" v="3254" actId="478"/>
        <pc:sldMkLst>
          <pc:docMk/>
          <pc:sldMk cId="149126807" sldId="2579"/>
        </pc:sldMkLst>
        <pc:spChg chg="del mod">
          <ac:chgData name="Aurelien Domont" userId="6da7715ce44349b3" providerId="LiveId" clId="{7CD043B0-6B74-4D9A-84AE-1D8FE229AAC4}" dt="2023-01-20T03:54:55.749" v="3068" actId="478"/>
          <ac:spMkLst>
            <pc:docMk/>
            <pc:sldMk cId="149126807" sldId="2579"/>
            <ac:spMk id="2" creationId="{2B1109A6-5022-2FB8-0200-09E7B13DAEC3}"/>
          </ac:spMkLst>
        </pc:spChg>
        <pc:spChg chg="add mod">
          <ac:chgData name="Aurelien Domont" userId="6da7715ce44349b3" providerId="LiveId" clId="{7CD043B0-6B74-4D9A-84AE-1D8FE229AAC4}" dt="2023-01-20T04:00:58.190" v="3086" actId="403"/>
          <ac:spMkLst>
            <pc:docMk/>
            <pc:sldMk cId="149126807" sldId="2579"/>
            <ac:spMk id="4" creationId="{471FDD12-2524-D2C4-61FC-BBD6D7EE5522}"/>
          </ac:spMkLst>
        </pc:spChg>
        <pc:spChg chg="del">
          <ac:chgData name="Aurelien Domont" userId="6da7715ce44349b3" providerId="LiveId" clId="{7CD043B0-6B74-4D9A-84AE-1D8FE229AAC4}" dt="2023-01-20T04:06:11.932" v="3254" actId="478"/>
          <ac:spMkLst>
            <pc:docMk/>
            <pc:sldMk cId="149126807" sldId="2579"/>
            <ac:spMk id="8" creationId="{A59D9EB3-E9B5-436C-B84C-64290C638E46}"/>
          </ac:spMkLst>
        </pc:spChg>
        <pc:spChg chg="mod">
          <ac:chgData name="Aurelien Domont" userId="6da7715ce44349b3" providerId="LiveId" clId="{7CD043B0-6B74-4D9A-84AE-1D8FE229AAC4}" dt="2023-01-20T03:56:47.833" v="3082" actId="20577"/>
          <ac:spMkLst>
            <pc:docMk/>
            <pc:sldMk cId="149126807" sldId="2579"/>
            <ac:spMk id="16" creationId="{6C2BB713-9637-4B9B-938F-E9768876782A}"/>
          </ac:spMkLst>
        </pc:spChg>
        <pc:picChg chg="del">
          <ac:chgData name="Aurelien Domont" userId="6da7715ce44349b3" providerId="LiveId" clId="{7CD043B0-6B74-4D9A-84AE-1D8FE229AAC4}" dt="2023-01-20T03:54:50.808" v="3066" actId="478"/>
          <ac:picMkLst>
            <pc:docMk/>
            <pc:sldMk cId="149126807" sldId="2579"/>
            <ac:picMk id="10" creationId="{52B70B71-B099-8217-3E7A-4879EDBDEB12}"/>
          </ac:picMkLst>
        </pc:picChg>
      </pc:sldChg>
      <pc:sldChg chg="addSp delSp modSp add mod">
        <pc:chgData name="Aurelien Domont" userId="6da7715ce44349b3" providerId="LiveId" clId="{7CD043B0-6B74-4D9A-84AE-1D8FE229AAC4}" dt="2023-01-20T04:07:18.135" v="3284" actId="20577"/>
        <pc:sldMkLst>
          <pc:docMk/>
          <pc:sldMk cId="920435364" sldId="2580"/>
        </pc:sldMkLst>
        <pc:spChg chg="add mod">
          <ac:chgData name="Aurelien Domont" userId="6da7715ce44349b3" providerId="LiveId" clId="{7CD043B0-6B74-4D9A-84AE-1D8FE229AAC4}" dt="2023-01-20T04:07:05.451" v="3280" actId="1036"/>
          <ac:spMkLst>
            <pc:docMk/>
            <pc:sldMk cId="920435364" sldId="2580"/>
            <ac:spMk id="2" creationId="{CAA302DA-37AF-DDCA-A922-B07E0511D098}"/>
          </ac:spMkLst>
        </pc:spChg>
        <pc:spChg chg="del mod">
          <ac:chgData name="Aurelien Domont" userId="6da7715ce44349b3" providerId="LiveId" clId="{7CD043B0-6B74-4D9A-84AE-1D8FE229AAC4}" dt="2023-01-20T04:06:06.205" v="3253" actId="478"/>
          <ac:spMkLst>
            <pc:docMk/>
            <pc:sldMk cId="920435364" sldId="2580"/>
            <ac:spMk id="3" creationId="{CE2529A3-BA97-486F-9E02-8DFAAA7D8D38}"/>
          </ac:spMkLst>
        </pc:spChg>
        <pc:spChg chg="del">
          <ac:chgData name="Aurelien Domont" userId="6da7715ce44349b3" providerId="LiveId" clId="{7CD043B0-6B74-4D9A-84AE-1D8FE229AAC4}" dt="2023-01-20T04:02:12.884" v="3106" actId="478"/>
          <ac:spMkLst>
            <pc:docMk/>
            <pc:sldMk cId="920435364" sldId="2580"/>
            <ac:spMk id="4" creationId="{471FDD12-2524-D2C4-61FC-BBD6D7EE5522}"/>
          </ac:spMkLst>
        </pc:spChg>
        <pc:spChg chg="add mod">
          <ac:chgData name="Aurelien Domont" userId="6da7715ce44349b3" providerId="LiveId" clId="{7CD043B0-6B74-4D9A-84AE-1D8FE229AAC4}" dt="2023-01-20T04:07:05.451" v="3280" actId="1036"/>
          <ac:spMkLst>
            <pc:docMk/>
            <pc:sldMk cId="920435364" sldId="2580"/>
            <ac:spMk id="5" creationId="{376D7852-78EC-F194-D45D-3665188E7C54}"/>
          </ac:spMkLst>
        </pc:spChg>
        <pc:spChg chg="add mod">
          <ac:chgData name="Aurelien Domont" userId="6da7715ce44349b3" providerId="LiveId" clId="{7CD043B0-6B74-4D9A-84AE-1D8FE229AAC4}" dt="2023-01-20T04:07:05.451" v="3280" actId="1036"/>
          <ac:spMkLst>
            <pc:docMk/>
            <pc:sldMk cId="920435364" sldId="2580"/>
            <ac:spMk id="6" creationId="{5BE02F98-2CDC-E104-ECE9-02ABE8F49171}"/>
          </ac:spMkLst>
        </pc:spChg>
        <pc:spChg chg="add mod">
          <ac:chgData name="Aurelien Domont" userId="6da7715ce44349b3" providerId="LiveId" clId="{7CD043B0-6B74-4D9A-84AE-1D8FE229AAC4}" dt="2023-01-20T04:07:05.451" v="3280" actId="1036"/>
          <ac:spMkLst>
            <pc:docMk/>
            <pc:sldMk cId="920435364" sldId="2580"/>
            <ac:spMk id="7" creationId="{CF0AE2F5-77C2-4280-1478-AF75FC1234E0}"/>
          </ac:spMkLst>
        </pc:spChg>
        <pc:spChg chg="del mod">
          <ac:chgData name="Aurelien Domont" userId="6da7715ce44349b3" providerId="LiveId" clId="{7CD043B0-6B74-4D9A-84AE-1D8FE229AAC4}" dt="2023-01-20T04:06:04.708" v="3252" actId="478"/>
          <ac:spMkLst>
            <pc:docMk/>
            <pc:sldMk cId="920435364" sldId="2580"/>
            <ac:spMk id="8" creationId="{A59D9EB3-E9B5-436C-B84C-64290C638E46}"/>
          </ac:spMkLst>
        </pc:spChg>
        <pc:spChg chg="add mod">
          <ac:chgData name="Aurelien Domont" userId="6da7715ce44349b3" providerId="LiveId" clId="{7CD043B0-6B74-4D9A-84AE-1D8FE229AAC4}" dt="2023-01-20T04:07:05.451" v="3280" actId="1036"/>
          <ac:spMkLst>
            <pc:docMk/>
            <pc:sldMk cId="920435364" sldId="2580"/>
            <ac:spMk id="9" creationId="{11660445-FB86-A3F7-E716-BF7DC9944AEB}"/>
          </ac:spMkLst>
        </pc:spChg>
        <pc:spChg chg="add mod">
          <ac:chgData name="Aurelien Domont" userId="6da7715ce44349b3" providerId="LiveId" clId="{7CD043B0-6B74-4D9A-84AE-1D8FE229AAC4}" dt="2023-01-20T04:07:05.451" v="3280" actId="1036"/>
          <ac:spMkLst>
            <pc:docMk/>
            <pc:sldMk cId="920435364" sldId="2580"/>
            <ac:spMk id="10" creationId="{ADFF0BB9-32B1-C8AA-E1D4-68293278B71D}"/>
          </ac:spMkLst>
        </pc:spChg>
        <pc:spChg chg="add mod">
          <ac:chgData name="Aurelien Domont" userId="6da7715ce44349b3" providerId="LiveId" clId="{7CD043B0-6B74-4D9A-84AE-1D8FE229AAC4}" dt="2023-01-20T04:07:05.451" v="3280" actId="1036"/>
          <ac:spMkLst>
            <pc:docMk/>
            <pc:sldMk cId="920435364" sldId="2580"/>
            <ac:spMk id="11" creationId="{F656792B-CF7D-65F8-35F3-94639D0BFC87}"/>
          </ac:spMkLst>
        </pc:spChg>
        <pc:spChg chg="add del mod">
          <ac:chgData name="Aurelien Domont" userId="6da7715ce44349b3" providerId="LiveId" clId="{7CD043B0-6B74-4D9A-84AE-1D8FE229AAC4}" dt="2023-01-20T04:06:02.420" v="3251" actId="478"/>
          <ac:spMkLst>
            <pc:docMk/>
            <pc:sldMk cId="920435364" sldId="2580"/>
            <ac:spMk id="12" creationId="{BD6F8B86-32BC-17FD-5FB3-CC27B482FD0C}"/>
          </ac:spMkLst>
        </pc:spChg>
        <pc:spChg chg="add mod">
          <ac:chgData name="Aurelien Domont" userId="6da7715ce44349b3" providerId="LiveId" clId="{7CD043B0-6B74-4D9A-84AE-1D8FE229AAC4}" dt="2023-01-20T04:07:05.451" v="3280" actId="1036"/>
          <ac:spMkLst>
            <pc:docMk/>
            <pc:sldMk cId="920435364" sldId="2580"/>
            <ac:spMk id="14" creationId="{6C9DFE8D-E96F-1313-0DF8-8173A6C0F083}"/>
          </ac:spMkLst>
        </pc:spChg>
        <pc:spChg chg="add mod">
          <ac:chgData name="Aurelien Domont" userId="6da7715ce44349b3" providerId="LiveId" clId="{7CD043B0-6B74-4D9A-84AE-1D8FE229AAC4}" dt="2023-01-20T04:07:12.637" v="3281" actId="20577"/>
          <ac:spMkLst>
            <pc:docMk/>
            <pc:sldMk cId="920435364" sldId="2580"/>
            <ac:spMk id="15" creationId="{C0EA2A3A-EB8C-F3A0-3BC5-AF906601A2B0}"/>
          </ac:spMkLst>
        </pc:spChg>
        <pc:spChg chg="mod">
          <ac:chgData name="Aurelien Domont" userId="6da7715ce44349b3" providerId="LiveId" clId="{7CD043B0-6B74-4D9A-84AE-1D8FE229AAC4}" dt="2023-01-20T04:02:11.181" v="3105" actId="20577"/>
          <ac:spMkLst>
            <pc:docMk/>
            <pc:sldMk cId="920435364" sldId="2580"/>
            <ac:spMk id="16" creationId="{6C2BB713-9637-4B9B-938F-E9768876782A}"/>
          </ac:spMkLst>
        </pc:spChg>
        <pc:spChg chg="add mod">
          <ac:chgData name="Aurelien Domont" userId="6da7715ce44349b3" providerId="LiveId" clId="{7CD043B0-6B74-4D9A-84AE-1D8FE229AAC4}" dt="2023-01-20T04:07:05.451" v="3280" actId="1036"/>
          <ac:spMkLst>
            <pc:docMk/>
            <pc:sldMk cId="920435364" sldId="2580"/>
            <ac:spMk id="17" creationId="{DC20613C-DD9F-573B-1348-E8E6A1D8767B}"/>
          </ac:spMkLst>
        </pc:spChg>
        <pc:spChg chg="add mod">
          <ac:chgData name="Aurelien Domont" userId="6da7715ce44349b3" providerId="LiveId" clId="{7CD043B0-6B74-4D9A-84AE-1D8FE229AAC4}" dt="2023-01-20T04:07:14.452" v="3282" actId="20577"/>
          <ac:spMkLst>
            <pc:docMk/>
            <pc:sldMk cId="920435364" sldId="2580"/>
            <ac:spMk id="18" creationId="{7E435DEE-0D77-FE89-32FC-D76AF4A5A38F}"/>
          </ac:spMkLst>
        </pc:spChg>
        <pc:spChg chg="add mod">
          <ac:chgData name="Aurelien Domont" userId="6da7715ce44349b3" providerId="LiveId" clId="{7CD043B0-6B74-4D9A-84AE-1D8FE229AAC4}" dt="2023-01-20T04:07:05.451" v="3280" actId="1036"/>
          <ac:spMkLst>
            <pc:docMk/>
            <pc:sldMk cId="920435364" sldId="2580"/>
            <ac:spMk id="19" creationId="{878C1A3A-F8F2-2ED6-E02D-842BE1BF0617}"/>
          </ac:spMkLst>
        </pc:spChg>
        <pc:spChg chg="add mod">
          <ac:chgData name="Aurelien Domont" userId="6da7715ce44349b3" providerId="LiveId" clId="{7CD043B0-6B74-4D9A-84AE-1D8FE229AAC4}" dt="2023-01-20T04:07:15.924" v="3283" actId="20577"/>
          <ac:spMkLst>
            <pc:docMk/>
            <pc:sldMk cId="920435364" sldId="2580"/>
            <ac:spMk id="20" creationId="{571CB438-CE44-A81D-137F-8823A63120D4}"/>
          </ac:spMkLst>
        </pc:spChg>
        <pc:spChg chg="add mod">
          <ac:chgData name="Aurelien Domont" userId="6da7715ce44349b3" providerId="LiveId" clId="{7CD043B0-6B74-4D9A-84AE-1D8FE229AAC4}" dt="2023-01-20T04:07:05.451" v="3280" actId="1036"/>
          <ac:spMkLst>
            <pc:docMk/>
            <pc:sldMk cId="920435364" sldId="2580"/>
            <ac:spMk id="21" creationId="{7D69801A-5034-9679-0D72-2A0A1B39EC07}"/>
          </ac:spMkLst>
        </pc:spChg>
        <pc:spChg chg="add mod">
          <ac:chgData name="Aurelien Domont" userId="6da7715ce44349b3" providerId="LiveId" clId="{7CD043B0-6B74-4D9A-84AE-1D8FE229AAC4}" dt="2023-01-20T04:07:05.451" v="3280" actId="1036"/>
          <ac:spMkLst>
            <pc:docMk/>
            <pc:sldMk cId="920435364" sldId="2580"/>
            <ac:spMk id="22" creationId="{4FEE11D3-C927-B2D2-4CF5-B90F3BF999CF}"/>
          </ac:spMkLst>
        </pc:spChg>
        <pc:spChg chg="add mod">
          <ac:chgData name="Aurelien Domont" userId="6da7715ce44349b3" providerId="LiveId" clId="{7CD043B0-6B74-4D9A-84AE-1D8FE229AAC4}" dt="2023-01-20T04:07:05.451" v="3280" actId="1036"/>
          <ac:spMkLst>
            <pc:docMk/>
            <pc:sldMk cId="920435364" sldId="2580"/>
            <ac:spMk id="23" creationId="{20D22A17-C6CA-3B6C-5DF1-4CCCFDD2F33D}"/>
          </ac:spMkLst>
        </pc:spChg>
        <pc:spChg chg="add mod">
          <ac:chgData name="Aurelien Domont" userId="6da7715ce44349b3" providerId="LiveId" clId="{7CD043B0-6B74-4D9A-84AE-1D8FE229AAC4}" dt="2023-01-20T04:07:18.135" v="3284" actId="20577"/>
          <ac:spMkLst>
            <pc:docMk/>
            <pc:sldMk cId="920435364" sldId="2580"/>
            <ac:spMk id="24" creationId="{299A92FD-610A-6B4E-80E0-8611FE4C3159}"/>
          </ac:spMkLst>
        </pc:spChg>
        <pc:spChg chg="add mod">
          <ac:chgData name="Aurelien Domont" userId="6da7715ce44349b3" providerId="LiveId" clId="{7CD043B0-6B74-4D9A-84AE-1D8FE229AAC4}" dt="2023-01-20T04:07:05.451" v="3280" actId="1036"/>
          <ac:spMkLst>
            <pc:docMk/>
            <pc:sldMk cId="920435364" sldId="2580"/>
            <ac:spMk id="25" creationId="{C23CAE90-7952-8C1E-6EDC-369B21BA76FE}"/>
          </ac:spMkLst>
        </pc:spChg>
        <pc:spChg chg="add mod">
          <ac:chgData name="Aurelien Domont" userId="6da7715ce44349b3" providerId="LiveId" clId="{7CD043B0-6B74-4D9A-84AE-1D8FE229AAC4}" dt="2023-01-20T04:07:05.451" v="3280" actId="1036"/>
          <ac:spMkLst>
            <pc:docMk/>
            <pc:sldMk cId="920435364" sldId="2580"/>
            <ac:spMk id="26" creationId="{A43AEDB1-ABB0-CF56-54A9-B2C94ED245D8}"/>
          </ac:spMkLst>
        </pc:spChg>
        <pc:spChg chg="add mod">
          <ac:chgData name="Aurelien Domont" userId="6da7715ce44349b3" providerId="LiveId" clId="{7CD043B0-6B74-4D9A-84AE-1D8FE229AAC4}" dt="2023-01-20T04:07:05.451" v="3280" actId="1036"/>
          <ac:spMkLst>
            <pc:docMk/>
            <pc:sldMk cId="920435364" sldId="2580"/>
            <ac:spMk id="27" creationId="{B5AE78F3-E829-9DF9-B0F2-53CB5A396E98}"/>
          </ac:spMkLst>
        </pc:spChg>
        <pc:spChg chg="add del mod">
          <ac:chgData name="Aurelien Domont" userId="6da7715ce44349b3" providerId="LiveId" clId="{7CD043B0-6B74-4D9A-84AE-1D8FE229AAC4}" dt="2023-01-20T04:06:02.420" v="3251" actId="478"/>
          <ac:spMkLst>
            <pc:docMk/>
            <pc:sldMk cId="920435364" sldId="2580"/>
            <ac:spMk id="28" creationId="{9D450633-5AC0-9982-5930-712D02EF191F}"/>
          </ac:spMkLst>
        </pc:spChg>
        <pc:spChg chg="add del mod">
          <ac:chgData name="Aurelien Domont" userId="6da7715ce44349b3" providerId="LiveId" clId="{7CD043B0-6B74-4D9A-84AE-1D8FE229AAC4}" dt="2023-01-20T04:06:02.420" v="3251" actId="478"/>
          <ac:spMkLst>
            <pc:docMk/>
            <pc:sldMk cId="920435364" sldId="2580"/>
            <ac:spMk id="29" creationId="{4F0B8748-6AA0-05D5-722B-58558A0BF2D9}"/>
          </ac:spMkLst>
        </pc:spChg>
      </pc:sldChg>
      <pc:sldChg chg="addSp modSp add mod">
        <pc:chgData name="Aurelien Domont" userId="6da7715ce44349b3" providerId="LiveId" clId="{7CD043B0-6B74-4D9A-84AE-1D8FE229AAC4}" dt="2023-01-23T02:18:18.928" v="3301"/>
        <pc:sldMkLst>
          <pc:docMk/>
          <pc:sldMk cId="3646551861" sldId="2581"/>
        </pc:sldMkLst>
        <pc:spChg chg="add mod">
          <ac:chgData name="Aurelien Domont" userId="6da7715ce44349b3" providerId="LiveId" clId="{7CD043B0-6B74-4D9A-84AE-1D8FE229AAC4}" dt="2023-01-23T02:18:18.928" v="3301"/>
          <ac:spMkLst>
            <pc:docMk/>
            <pc:sldMk cId="3646551861" sldId="2581"/>
            <ac:spMk id="2" creationId="{9EB2660B-4886-63FB-99E7-42C5341EE9F7}"/>
          </ac:spMkLst>
        </pc:spChg>
        <pc:spChg chg="mod">
          <ac:chgData name="Aurelien Domont" userId="6da7715ce44349b3" providerId="LiveId" clId="{7CD043B0-6B74-4D9A-84AE-1D8FE229AAC4}" dt="2023-01-20T04:07:45.886" v="3298" actId="1036"/>
          <ac:spMkLst>
            <pc:docMk/>
            <pc:sldMk cId="3646551861" sldId="2581"/>
            <ac:spMk id="66" creationId="{D2A8DFC7-27D0-2248-2089-0502807F476A}"/>
          </ac:spMkLst>
        </pc:spChg>
      </pc:sldChg>
      <pc:sldChg chg="addSp delSp modSp add mod">
        <pc:chgData name="Aurelien Domont" userId="6da7715ce44349b3" providerId="LiveId" clId="{7CD043B0-6B74-4D9A-84AE-1D8FE229AAC4}" dt="2023-01-23T04:08:59.749" v="5430" actId="20577"/>
        <pc:sldMkLst>
          <pc:docMk/>
          <pc:sldMk cId="973395138" sldId="2582"/>
        </pc:sldMkLst>
        <pc:spChg chg="mod">
          <ac:chgData name="Aurelien Domont" userId="6da7715ce44349b3" providerId="LiveId" clId="{7CD043B0-6B74-4D9A-84AE-1D8FE229AAC4}" dt="2023-01-23T04:08:59.749" v="5430" actId="20577"/>
          <ac:spMkLst>
            <pc:docMk/>
            <pc:sldMk cId="973395138" sldId="2582"/>
            <ac:spMk id="4" creationId="{471FDD12-2524-D2C4-61FC-BBD6D7EE5522}"/>
          </ac:spMkLst>
        </pc:spChg>
        <pc:spChg chg="mod">
          <ac:chgData name="Aurelien Domont" userId="6da7715ce44349b3" providerId="LiveId" clId="{7CD043B0-6B74-4D9A-84AE-1D8FE229AAC4}" dt="2023-01-23T02:21:18.403" v="3319" actId="20577"/>
          <ac:spMkLst>
            <pc:docMk/>
            <pc:sldMk cId="973395138" sldId="2582"/>
            <ac:spMk id="16" creationId="{6C2BB713-9637-4B9B-938F-E9768876782A}"/>
          </ac:spMkLst>
        </pc:spChg>
        <pc:picChg chg="add del">
          <ac:chgData name="Aurelien Domont" userId="6da7715ce44349b3" providerId="LiveId" clId="{7CD043B0-6B74-4D9A-84AE-1D8FE229AAC4}" dt="2023-01-23T03:31:05.984" v="3724"/>
          <ac:picMkLst>
            <pc:docMk/>
            <pc:sldMk cId="973395138" sldId="2582"/>
            <ac:picMk id="2" creationId="{8DD8F080-DA8F-82E7-D18A-D1BB9C7F59EC}"/>
          </ac:picMkLst>
        </pc:picChg>
      </pc:sldChg>
      <pc:sldChg chg="add del ord">
        <pc:chgData name="Aurelien Domont" userId="6da7715ce44349b3" providerId="LiveId" clId="{7CD043B0-6B74-4D9A-84AE-1D8FE229AAC4}" dt="2023-01-25T05:15:07.571" v="9230" actId="47"/>
        <pc:sldMkLst>
          <pc:docMk/>
          <pc:sldMk cId="457113529" sldId="2583"/>
        </pc:sldMkLst>
      </pc:sldChg>
      <pc:sldChg chg="add del">
        <pc:chgData name="Aurelien Domont" userId="6da7715ce44349b3" providerId="LiveId" clId="{7CD043B0-6B74-4D9A-84AE-1D8FE229AAC4}" dt="2023-01-23T03:28:55.198" v="3478" actId="47"/>
        <pc:sldMkLst>
          <pc:docMk/>
          <pc:sldMk cId="3665556730" sldId="2583"/>
        </pc:sldMkLst>
      </pc:sldChg>
      <pc:sldChg chg="add del ord">
        <pc:chgData name="Aurelien Domont" userId="6da7715ce44349b3" providerId="LiveId" clId="{7CD043B0-6B74-4D9A-84AE-1D8FE229AAC4}" dt="2023-01-23T04:13:43.690" v="5780" actId="47"/>
        <pc:sldMkLst>
          <pc:docMk/>
          <pc:sldMk cId="2685084697" sldId="2584"/>
        </pc:sldMkLst>
      </pc:sldChg>
      <pc:sldChg chg="addSp delSp modSp add mod">
        <pc:chgData name="Aurelien Domont" userId="6da7715ce44349b3" providerId="LiveId" clId="{7CD043B0-6B74-4D9A-84AE-1D8FE229AAC4}" dt="2023-01-23T03:58:11.827" v="5081" actId="1038"/>
        <pc:sldMkLst>
          <pc:docMk/>
          <pc:sldMk cId="2152972054" sldId="2585"/>
        </pc:sldMkLst>
        <pc:spChg chg="add mod">
          <ac:chgData name="Aurelien Domont" userId="6da7715ce44349b3" providerId="LiveId" clId="{7CD043B0-6B74-4D9A-84AE-1D8FE229AAC4}" dt="2023-01-23T03:56:39.923" v="5062" actId="403"/>
          <ac:spMkLst>
            <pc:docMk/>
            <pc:sldMk cId="2152972054" sldId="2585"/>
            <ac:spMk id="2" creationId="{790E5D47-569D-8AA2-F03B-C286C49F2D16}"/>
          </ac:spMkLst>
        </pc:spChg>
        <pc:spChg chg="del">
          <ac:chgData name="Aurelien Domont" userId="6da7715ce44349b3" providerId="LiveId" clId="{7CD043B0-6B74-4D9A-84AE-1D8FE229AAC4}" dt="2023-01-23T03:50:39.414" v="4717" actId="478"/>
          <ac:spMkLst>
            <pc:docMk/>
            <pc:sldMk cId="2152972054" sldId="2585"/>
            <ac:spMk id="4" creationId="{471FDD12-2524-D2C4-61FC-BBD6D7EE5522}"/>
          </ac:spMkLst>
        </pc:spChg>
        <pc:spChg chg="add mod">
          <ac:chgData name="Aurelien Domont" userId="6da7715ce44349b3" providerId="LiveId" clId="{7CD043B0-6B74-4D9A-84AE-1D8FE229AAC4}" dt="2023-01-23T03:56:24.680" v="5058" actId="20577"/>
          <ac:spMkLst>
            <pc:docMk/>
            <pc:sldMk cId="2152972054" sldId="2585"/>
            <ac:spMk id="5" creationId="{43E6F226-9105-109F-905F-1BAB4D3E5A6E}"/>
          </ac:spMkLst>
        </pc:spChg>
        <pc:spChg chg="add mod">
          <ac:chgData name="Aurelien Domont" userId="6da7715ce44349b3" providerId="LiveId" clId="{7CD043B0-6B74-4D9A-84AE-1D8FE229AAC4}" dt="2023-01-23T03:56:39.923" v="5062" actId="403"/>
          <ac:spMkLst>
            <pc:docMk/>
            <pc:sldMk cId="2152972054" sldId="2585"/>
            <ac:spMk id="6" creationId="{0B406256-CE98-F1EE-D40A-5C0686ACFA04}"/>
          </ac:spMkLst>
        </pc:spChg>
        <pc:spChg chg="add mod">
          <ac:chgData name="Aurelien Domont" userId="6da7715ce44349b3" providerId="LiveId" clId="{7CD043B0-6B74-4D9A-84AE-1D8FE229AAC4}" dt="2023-01-23T03:56:02.820" v="5037" actId="20577"/>
          <ac:spMkLst>
            <pc:docMk/>
            <pc:sldMk cId="2152972054" sldId="2585"/>
            <ac:spMk id="7" creationId="{F9BA3958-F27F-1A5D-C623-9C41D20498E7}"/>
          </ac:spMkLst>
        </pc:spChg>
        <pc:spChg chg="mod">
          <ac:chgData name="Aurelien Domont" userId="6da7715ce44349b3" providerId="LiveId" clId="{7CD043B0-6B74-4D9A-84AE-1D8FE229AAC4}" dt="2023-01-23T03:56:09.659" v="5038" actId="113"/>
          <ac:spMkLst>
            <pc:docMk/>
            <pc:sldMk cId="2152972054" sldId="2585"/>
            <ac:spMk id="16" creationId="{6C2BB713-9637-4B9B-938F-E9768876782A}"/>
          </ac:spMkLst>
        </pc:spChg>
        <pc:picChg chg="add del mod">
          <ac:chgData name="Aurelien Domont" userId="6da7715ce44349b3" providerId="LiveId" clId="{7CD043B0-6B74-4D9A-84AE-1D8FE229AAC4}" dt="2023-01-23T03:56:42.496" v="5063" actId="478"/>
          <ac:picMkLst>
            <pc:docMk/>
            <pc:sldMk cId="2152972054" sldId="2585"/>
            <ac:picMk id="8" creationId="{742F4E9A-9970-67DF-15C9-C398D9FB0762}"/>
          </ac:picMkLst>
        </pc:picChg>
        <pc:picChg chg="add mod">
          <ac:chgData name="Aurelien Domont" userId="6da7715ce44349b3" providerId="LiveId" clId="{7CD043B0-6B74-4D9A-84AE-1D8FE229AAC4}" dt="2023-01-23T03:58:11.827" v="5081" actId="1038"/>
          <ac:picMkLst>
            <pc:docMk/>
            <pc:sldMk cId="2152972054" sldId="2585"/>
            <ac:picMk id="10" creationId="{8995FE9A-B35C-A789-7C6F-4D39BCDBB91A}"/>
          </ac:picMkLst>
        </pc:picChg>
        <pc:picChg chg="add mod">
          <ac:chgData name="Aurelien Domont" userId="6da7715ce44349b3" providerId="LiveId" clId="{7CD043B0-6B74-4D9A-84AE-1D8FE229AAC4}" dt="2023-01-23T03:58:00.046" v="5071" actId="1076"/>
          <ac:picMkLst>
            <pc:docMk/>
            <pc:sldMk cId="2152972054" sldId="2585"/>
            <ac:picMk id="12" creationId="{824C2F0E-2501-29A2-DAA2-3753C7D66101}"/>
          </ac:picMkLst>
        </pc:picChg>
      </pc:sldChg>
      <pc:sldChg chg="addSp delSp modSp add mod">
        <pc:chgData name="Aurelien Domont" userId="6da7715ce44349b3" providerId="LiveId" clId="{7CD043B0-6B74-4D9A-84AE-1D8FE229AAC4}" dt="2023-01-23T03:59:04.250" v="5088" actId="20577"/>
        <pc:sldMkLst>
          <pc:docMk/>
          <pc:sldMk cId="2531193052" sldId="2586"/>
        </pc:sldMkLst>
        <pc:spChg chg="mod">
          <ac:chgData name="Aurelien Domont" userId="6da7715ce44349b3" providerId="LiveId" clId="{7CD043B0-6B74-4D9A-84AE-1D8FE229AAC4}" dt="2023-01-23T03:58:25.601" v="5082" actId="403"/>
          <ac:spMkLst>
            <pc:docMk/>
            <pc:sldMk cId="2531193052" sldId="2586"/>
            <ac:spMk id="2" creationId="{790E5D47-569D-8AA2-F03B-C286C49F2D16}"/>
          </ac:spMkLst>
        </pc:spChg>
        <pc:spChg chg="mod">
          <ac:chgData name="Aurelien Domont" userId="6da7715ce44349b3" providerId="LiveId" clId="{7CD043B0-6B74-4D9A-84AE-1D8FE229AAC4}" dt="2023-01-23T03:56:32.103" v="5061" actId="20577"/>
          <ac:spMkLst>
            <pc:docMk/>
            <pc:sldMk cId="2531193052" sldId="2586"/>
            <ac:spMk id="5" creationId="{43E6F226-9105-109F-905F-1BAB4D3E5A6E}"/>
          </ac:spMkLst>
        </pc:spChg>
        <pc:spChg chg="mod">
          <ac:chgData name="Aurelien Domont" userId="6da7715ce44349b3" providerId="LiveId" clId="{7CD043B0-6B74-4D9A-84AE-1D8FE229AAC4}" dt="2023-01-23T03:58:25.601" v="5082" actId="403"/>
          <ac:spMkLst>
            <pc:docMk/>
            <pc:sldMk cId="2531193052" sldId="2586"/>
            <ac:spMk id="6" creationId="{0B406256-CE98-F1EE-D40A-5C0686ACFA04}"/>
          </ac:spMkLst>
        </pc:spChg>
        <pc:spChg chg="mod">
          <ac:chgData name="Aurelien Domont" userId="6da7715ce44349b3" providerId="LiveId" clId="{7CD043B0-6B74-4D9A-84AE-1D8FE229AAC4}" dt="2023-01-23T03:59:04.250" v="5088" actId="20577"/>
          <ac:spMkLst>
            <pc:docMk/>
            <pc:sldMk cId="2531193052" sldId="2586"/>
            <ac:spMk id="7" creationId="{F9BA3958-F27F-1A5D-C623-9C41D20498E7}"/>
          </ac:spMkLst>
        </pc:spChg>
        <pc:spChg chg="mod">
          <ac:chgData name="Aurelien Domont" userId="6da7715ce44349b3" providerId="LiveId" clId="{7CD043B0-6B74-4D9A-84AE-1D8FE229AAC4}" dt="2023-01-23T03:56:17.915" v="5056" actId="20577"/>
          <ac:spMkLst>
            <pc:docMk/>
            <pc:sldMk cId="2531193052" sldId="2586"/>
            <ac:spMk id="16" creationId="{6C2BB713-9637-4B9B-938F-E9768876782A}"/>
          </ac:spMkLst>
        </pc:spChg>
        <pc:picChg chg="add mod">
          <ac:chgData name="Aurelien Domont" userId="6da7715ce44349b3" providerId="LiveId" clId="{7CD043B0-6B74-4D9A-84AE-1D8FE229AAC4}" dt="2023-01-23T03:58:27.393" v="5084"/>
          <ac:picMkLst>
            <pc:docMk/>
            <pc:sldMk cId="2531193052" sldId="2586"/>
            <ac:picMk id="4" creationId="{1B17A736-C6FB-BAAC-66E8-878261E46C49}"/>
          </ac:picMkLst>
        </pc:picChg>
        <pc:picChg chg="del">
          <ac:chgData name="Aurelien Domont" userId="6da7715ce44349b3" providerId="LiveId" clId="{7CD043B0-6B74-4D9A-84AE-1D8FE229AAC4}" dt="2023-01-23T03:58:27.031" v="5083" actId="478"/>
          <ac:picMkLst>
            <pc:docMk/>
            <pc:sldMk cId="2531193052" sldId="2586"/>
            <ac:picMk id="8" creationId="{742F4E9A-9970-67DF-15C9-C398D9FB0762}"/>
          </ac:picMkLst>
        </pc:picChg>
        <pc:picChg chg="add mod">
          <ac:chgData name="Aurelien Domont" userId="6da7715ce44349b3" providerId="LiveId" clId="{7CD043B0-6B74-4D9A-84AE-1D8FE229AAC4}" dt="2023-01-23T03:58:27.393" v="5084"/>
          <ac:picMkLst>
            <pc:docMk/>
            <pc:sldMk cId="2531193052" sldId="2586"/>
            <ac:picMk id="9" creationId="{CEE6B2B3-C82A-C399-D9AE-9E33DCA82C75}"/>
          </ac:picMkLst>
        </pc:picChg>
      </pc:sldChg>
      <pc:sldChg chg="addSp delSp modSp add mod">
        <pc:chgData name="Aurelien Domont" userId="6da7715ce44349b3" providerId="LiveId" clId="{7CD043B0-6B74-4D9A-84AE-1D8FE229AAC4}" dt="2023-01-23T04:02:31.285" v="5201" actId="1036"/>
        <pc:sldMkLst>
          <pc:docMk/>
          <pc:sldMk cId="4048029769" sldId="2587"/>
        </pc:sldMkLst>
        <pc:spChg chg="del">
          <ac:chgData name="Aurelien Domont" userId="6da7715ce44349b3" providerId="LiveId" clId="{7CD043B0-6B74-4D9A-84AE-1D8FE229AAC4}" dt="2023-01-23T03:59:41.644" v="5108" actId="478"/>
          <ac:spMkLst>
            <pc:docMk/>
            <pc:sldMk cId="4048029769" sldId="2587"/>
            <ac:spMk id="2" creationId="{790E5D47-569D-8AA2-F03B-C286C49F2D16}"/>
          </ac:spMkLst>
        </pc:spChg>
        <pc:spChg chg="add mod">
          <ac:chgData name="Aurelien Domont" userId="6da7715ce44349b3" providerId="LiveId" clId="{7CD043B0-6B74-4D9A-84AE-1D8FE229AAC4}" dt="2023-01-23T04:02:31.285" v="5201" actId="1036"/>
          <ac:spMkLst>
            <pc:docMk/>
            <pc:sldMk cId="4048029769" sldId="2587"/>
            <ac:spMk id="4" creationId="{B742AE0C-2431-EF43-2CA6-5A65223EBFA4}"/>
          </ac:spMkLst>
        </pc:spChg>
        <pc:spChg chg="del">
          <ac:chgData name="Aurelien Domont" userId="6da7715ce44349b3" providerId="LiveId" clId="{7CD043B0-6B74-4D9A-84AE-1D8FE229AAC4}" dt="2023-01-23T03:59:41.644" v="5108" actId="478"/>
          <ac:spMkLst>
            <pc:docMk/>
            <pc:sldMk cId="4048029769" sldId="2587"/>
            <ac:spMk id="5" creationId="{43E6F226-9105-109F-905F-1BAB4D3E5A6E}"/>
          </ac:spMkLst>
        </pc:spChg>
        <pc:spChg chg="del">
          <ac:chgData name="Aurelien Domont" userId="6da7715ce44349b3" providerId="LiveId" clId="{7CD043B0-6B74-4D9A-84AE-1D8FE229AAC4}" dt="2023-01-23T03:59:41.644" v="5108" actId="478"/>
          <ac:spMkLst>
            <pc:docMk/>
            <pc:sldMk cId="4048029769" sldId="2587"/>
            <ac:spMk id="6" creationId="{0B406256-CE98-F1EE-D40A-5C0686ACFA04}"/>
          </ac:spMkLst>
        </pc:spChg>
        <pc:spChg chg="del">
          <ac:chgData name="Aurelien Domont" userId="6da7715ce44349b3" providerId="LiveId" clId="{7CD043B0-6B74-4D9A-84AE-1D8FE229AAC4}" dt="2023-01-23T03:59:41.644" v="5108" actId="478"/>
          <ac:spMkLst>
            <pc:docMk/>
            <pc:sldMk cId="4048029769" sldId="2587"/>
            <ac:spMk id="7" creationId="{F9BA3958-F27F-1A5D-C623-9C41D20498E7}"/>
          </ac:spMkLst>
        </pc:spChg>
        <pc:spChg chg="add mod">
          <ac:chgData name="Aurelien Domont" userId="6da7715ce44349b3" providerId="LiveId" clId="{7CD043B0-6B74-4D9A-84AE-1D8FE229AAC4}" dt="2023-01-23T04:02:31.285" v="5201" actId="1036"/>
          <ac:spMkLst>
            <pc:docMk/>
            <pc:sldMk cId="4048029769" sldId="2587"/>
            <ac:spMk id="8" creationId="{3F09D7BA-D776-09D2-A008-B761E385C3D3}"/>
          </ac:spMkLst>
        </pc:spChg>
        <pc:spChg chg="add mod">
          <ac:chgData name="Aurelien Domont" userId="6da7715ce44349b3" providerId="LiveId" clId="{7CD043B0-6B74-4D9A-84AE-1D8FE229AAC4}" dt="2023-01-23T04:02:31.285" v="5201" actId="1036"/>
          <ac:spMkLst>
            <pc:docMk/>
            <pc:sldMk cId="4048029769" sldId="2587"/>
            <ac:spMk id="9" creationId="{6B9878A4-4C63-886E-EB8C-5FB1794F0A2F}"/>
          </ac:spMkLst>
        </pc:spChg>
        <pc:spChg chg="add mod">
          <ac:chgData name="Aurelien Domont" userId="6da7715ce44349b3" providerId="LiveId" clId="{7CD043B0-6B74-4D9A-84AE-1D8FE229AAC4}" dt="2023-01-23T04:02:31.285" v="5201" actId="1036"/>
          <ac:spMkLst>
            <pc:docMk/>
            <pc:sldMk cId="4048029769" sldId="2587"/>
            <ac:spMk id="11" creationId="{1D14B807-4C1F-CBE7-6EC1-3018B879E3C9}"/>
          </ac:spMkLst>
        </pc:spChg>
        <pc:spChg chg="add mod">
          <ac:chgData name="Aurelien Domont" userId="6da7715ce44349b3" providerId="LiveId" clId="{7CD043B0-6B74-4D9A-84AE-1D8FE229AAC4}" dt="2023-01-23T04:02:31.285" v="5201" actId="1036"/>
          <ac:spMkLst>
            <pc:docMk/>
            <pc:sldMk cId="4048029769" sldId="2587"/>
            <ac:spMk id="14" creationId="{32983DF7-E0E5-BA5C-585C-33F1FB8DA59E}"/>
          </ac:spMkLst>
        </pc:spChg>
        <pc:spChg chg="add mod">
          <ac:chgData name="Aurelien Domont" userId="6da7715ce44349b3" providerId="LiveId" clId="{7CD043B0-6B74-4D9A-84AE-1D8FE229AAC4}" dt="2023-01-23T04:02:31.285" v="5201" actId="1036"/>
          <ac:spMkLst>
            <pc:docMk/>
            <pc:sldMk cId="4048029769" sldId="2587"/>
            <ac:spMk id="15" creationId="{67A748B3-2DCD-7C01-58F5-155375FFBBA4}"/>
          </ac:spMkLst>
        </pc:spChg>
        <pc:spChg chg="mod">
          <ac:chgData name="Aurelien Domont" userId="6da7715ce44349b3" providerId="LiveId" clId="{7CD043B0-6B74-4D9A-84AE-1D8FE229AAC4}" dt="2023-01-23T03:59:38.321" v="5107" actId="20577"/>
          <ac:spMkLst>
            <pc:docMk/>
            <pc:sldMk cId="4048029769" sldId="2587"/>
            <ac:spMk id="16" creationId="{6C2BB713-9637-4B9B-938F-E9768876782A}"/>
          </ac:spMkLst>
        </pc:spChg>
        <pc:spChg chg="add mod">
          <ac:chgData name="Aurelien Domont" userId="6da7715ce44349b3" providerId="LiveId" clId="{7CD043B0-6B74-4D9A-84AE-1D8FE229AAC4}" dt="2023-01-23T04:02:31.285" v="5201" actId="1036"/>
          <ac:spMkLst>
            <pc:docMk/>
            <pc:sldMk cId="4048029769" sldId="2587"/>
            <ac:spMk id="17" creationId="{F19D6281-D245-E0EA-6B9E-E327F0FDB1C3}"/>
          </ac:spMkLst>
        </pc:spChg>
        <pc:spChg chg="add mod">
          <ac:chgData name="Aurelien Domont" userId="6da7715ce44349b3" providerId="LiveId" clId="{7CD043B0-6B74-4D9A-84AE-1D8FE229AAC4}" dt="2023-01-23T04:02:31.285" v="5201" actId="1036"/>
          <ac:spMkLst>
            <pc:docMk/>
            <pc:sldMk cId="4048029769" sldId="2587"/>
            <ac:spMk id="18" creationId="{08FC2EF7-B2A9-F759-9A00-208EFC28316B}"/>
          </ac:spMkLst>
        </pc:spChg>
        <pc:spChg chg="add mod">
          <ac:chgData name="Aurelien Domont" userId="6da7715ce44349b3" providerId="LiveId" clId="{7CD043B0-6B74-4D9A-84AE-1D8FE229AAC4}" dt="2023-01-23T04:02:31.285" v="5201" actId="1036"/>
          <ac:spMkLst>
            <pc:docMk/>
            <pc:sldMk cId="4048029769" sldId="2587"/>
            <ac:spMk id="19" creationId="{2B9BE81D-DCD5-49E9-C9AC-6EC48F46C3C4}"/>
          </ac:spMkLst>
        </pc:spChg>
        <pc:spChg chg="add mod">
          <ac:chgData name="Aurelien Domont" userId="6da7715ce44349b3" providerId="LiveId" clId="{7CD043B0-6B74-4D9A-84AE-1D8FE229AAC4}" dt="2023-01-23T04:02:31.285" v="5201" actId="1036"/>
          <ac:spMkLst>
            <pc:docMk/>
            <pc:sldMk cId="4048029769" sldId="2587"/>
            <ac:spMk id="20" creationId="{5E43F380-2D58-1701-0BED-DD07F2C9B248}"/>
          </ac:spMkLst>
        </pc:spChg>
        <pc:spChg chg="add mod">
          <ac:chgData name="Aurelien Domont" userId="6da7715ce44349b3" providerId="LiveId" clId="{7CD043B0-6B74-4D9A-84AE-1D8FE229AAC4}" dt="2023-01-23T04:02:31.285" v="5201" actId="1036"/>
          <ac:spMkLst>
            <pc:docMk/>
            <pc:sldMk cId="4048029769" sldId="2587"/>
            <ac:spMk id="21" creationId="{1EBEBD01-9A37-C440-A30A-7B3FB2831AFC}"/>
          </ac:spMkLst>
        </pc:spChg>
        <pc:spChg chg="add mod">
          <ac:chgData name="Aurelien Domont" userId="6da7715ce44349b3" providerId="LiveId" clId="{7CD043B0-6B74-4D9A-84AE-1D8FE229AAC4}" dt="2023-01-23T04:02:31.285" v="5201" actId="1036"/>
          <ac:spMkLst>
            <pc:docMk/>
            <pc:sldMk cId="4048029769" sldId="2587"/>
            <ac:spMk id="22" creationId="{1AAA8AF5-4DD1-DAD9-4CE5-654BEEF3AF5E}"/>
          </ac:spMkLst>
        </pc:spChg>
        <pc:spChg chg="add mod">
          <ac:chgData name="Aurelien Domont" userId="6da7715ce44349b3" providerId="LiveId" clId="{7CD043B0-6B74-4D9A-84AE-1D8FE229AAC4}" dt="2023-01-23T04:02:31.285" v="5201" actId="1036"/>
          <ac:spMkLst>
            <pc:docMk/>
            <pc:sldMk cId="4048029769" sldId="2587"/>
            <ac:spMk id="23" creationId="{0E519F6E-2C04-DAD0-DABD-E38D577867D6}"/>
          </ac:spMkLst>
        </pc:spChg>
        <pc:spChg chg="add mod">
          <ac:chgData name="Aurelien Domont" userId="6da7715ce44349b3" providerId="LiveId" clId="{7CD043B0-6B74-4D9A-84AE-1D8FE229AAC4}" dt="2023-01-23T04:02:31.285" v="5201" actId="1036"/>
          <ac:spMkLst>
            <pc:docMk/>
            <pc:sldMk cId="4048029769" sldId="2587"/>
            <ac:spMk id="24" creationId="{CFE5A3DF-AC2A-4951-48AF-CFFFF2834F35}"/>
          </ac:spMkLst>
        </pc:spChg>
        <pc:spChg chg="add mod">
          <ac:chgData name="Aurelien Domont" userId="6da7715ce44349b3" providerId="LiveId" clId="{7CD043B0-6B74-4D9A-84AE-1D8FE229AAC4}" dt="2023-01-23T04:02:31.285" v="5201" actId="1036"/>
          <ac:spMkLst>
            <pc:docMk/>
            <pc:sldMk cId="4048029769" sldId="2587"/>
            <ac:spMk id="25" creationId="{25BCAE38-0E42-936E-5854-B2C898F93557}"/>
          </ac:spMkLst>
        </pc:spChg>
        <pc:spChg chg="add mod">
          <ac:chgData name="Aurelien Domont" userId="6da7715ce44349b3" providerId="LiveId" clId="{7CD043B0-6B74-4D9A-84AE-1D8FE229AAC4}" dt="2023-01-23T04:02:31.285" v="5201" actId="1036"/>
          <ac:spMkLst>
            <pc:docMk/>
            <pc:sldMk cId="4048029769" sldId="2587"/>
            <ac:spMk id="26" creationId="{22CC83DF-148D-1A8E-0897-AF0CB9C6374E}"/>
          </ac:spMkLst>
        </pc:spChg>
        <pc:spChg chg="add mod">
          <ac:chgData name="Aurelien Domont" userId="6da7715ce44349b3" providerId="LiveId" clId="{7CD043B0-6B74-4D9A-84AE-1D8FE229AAC4}" dt="2023-01-23T04:02:31.285" v="5201" actId="1036"/>
          <ac:spMkLst>
            <pc:docMk/>
            <pc:sldMk cId="4048029769" sldId="2587"/>
            <ac:spMk id="27" creationId="{E3E93609-5238-FC16-9799-E84CC341281A}"/>
          </ac:spMkLst>
        </pc:spChg>
        <pc:spChg chg="add mod">
          <ac:chgData name="Aurelien Domont" userId="6da7715ce44349b3" providerId="LiveId" clId="{7CD043B0-6B74-4D9A-84AE-1D8FE229AAC4}" dt="2023-01-23T04:02:31.285" v="5201" actId="1036"/>
          <ac:spMkLst>
            <pc:docMk/>
            <pc:sldMk cId="4048029769" sldId="2587"/>
            <ac:spMk id="28" creationId="{99E3B940-CFBF-9590-7613-847B92AE4A7D}"/>
          </ac:spMkLst>
        </pc:spChg>
        <pc:spChg chg="add mod">
          <ac:chgData name="Aurelien Domont" userId="6da7715ce44349b3" providerId="LiveId" clId="{7CD043B0-6B74-4D9A-84AE-1D8FE229AAC4}" dt="2023-01-23T04:02:31.285" v="5201" actId="1036"/>
          <ac:spMkLst>
            <pc:docMk/>
            <pc:sldMk cId="4048029769" sldId="2587"/>
            <ac:spMk id="29" creationId="{C82D4EF5-3522-CD99-4D72-FB5143CE6C02}"/>
          </ac:spMkLst>
        </pc:spChg>
        <pc:spChg chg="add mod">
          <ac:chgData name="Aurelien Domont" userId="6da7715ce44349b3" providerId="LiveId" clId="{7CD043B0-6B74-4D9A-84AE-1D8FE229AAC4}" dt="2023-01-23T04:02:31.285" v="5201" actId="1036"/>
          <ac:spMkLst>
            <pc:docMk/>
            <pc:sldMk cId="4048029769" sldId="2587"/>
            <ac:spMk id="30" creationId="{B9E37D02-0C9E-1B64-DF7C-BEE203D22BE2}"/>
          </ac:spMkLst>
        </pc:spChg>
        <pc:spChg chg="add mod">
          <ac:chgData name="Aurelien Domont" userId="6da7715ce44349b3" providerId="LiveId" clId="{7CD043B0-6B74-4D9A-84AE-1D8FE229AAC4}" dt="2023-01-23T04:02:31.285" v="5201" actId="1036"/>
          <ac:spMkLst>
            <pc:docMk/>
            <pc:sldMk cId="4048029769" sldId="2587"/>
            <ac:spMk id="31" creationId="{85369BAE-DF31-AD18-3AE6-B470A43CD0DF}"/>
          </ac:spMkLst>
        </pc:spChg>
        <pc:spChg chg="add mod">
          <ac:chgData name="Aurelien Domont" userId="6da7715ce44349b3" providerId="LiveId" clId="{7CD043B0-6B74-4D9A-84AE-1D8FE229AAC4}" dt="2023-01-23T04:02:31.285" v="5201" actId="1036"/>
          <ac:spMkLst>
            <pc:docMk/>
            <pc:sldMk cId="4048029769" sldId="2587"/>
            <ac:spMk id="32" creationId="{9B31FA22-0503-BF70-74D2-DD10E98F2569}"/>
          </ac:spMkLst>
        </pc:spChg>
        <pc:spChg chg="add mod">
          <ac:chgData name="Aurelien Domont" userId="6da7715ce44349b3" providerId="LiveId" clId="{7CD043B0-6B74-4D9A-84AE-1D8FE229AAC4}" dt="2023-01-23T04:02:31.285" v="5201" actId="1036"/>
          <ac:spMkLst>
            <pc:docMk/>
            <pc:sldMk cId="4048029769" sldId="2587"/>
            <ac:spMk id="33" creationId="{2CFD6161-508D-FCE0-E5FF-1AECBD8622AC}"/>
          </ac:spMkLst>
        </pc:spChg>
        <pc:spChg chg="add mod">
          <ac:chgData name="Aurelien Domont" userId="6da7715ce44349b3" providerId="LiveId" clId="{7CD043B0-6B74-4D9A-84AE-1D8FE229AAC4}" dt="2023-01-23T04:02:31.285" v="5201" actId="1036"/>
          <ac:spMkLst>
            <pc:docMk/>
            <pc:sldMk cId="4048029769" sldId="2587"/>
            <ac:spMk id="34" creationId="{BDBBD5A2-B442-7B6B-913D-2B8D4273430A}"/>
          </ac:spMkLst>
        </pc:spChg>
        <pc:spChg chg="add mod">
          <ac:chgData name="Aurelien Domont" userId="6da7715ce44349b3" providerId="LiveId" clId="{7CD043B0-6B74-4D9A-84AE-1D8FE229AAC4}" dt="2023-01-23T04:02:31.285" v="5201" actId="1036"/>
          <ac:spMkLst>
            <pc:docMk/>
            <pc:sldMk cId="4048029769" sldId="2587"/>
            <ac:spMk id="35" creationId="{55DFED71-CB49-7763-CCCC-9A318A496562}"/>
          </ac:spMkLst>
        </pc:spChg>
        <pc:spChg chg="add mod">
          <ac:chgData name="Aurelien Domont" userId="6da7715ce44349b3" providerId="LiveId" clId="{7CD043B0-6B74-4D9A-84AE-1D8FE229AAC4}" dt="2023-01-23T04:02:31.285" v="5201" actId="1036"/>
          <ac:spMkLst>
            <pc:docMk/>
            <pc:sldMk cId="4048029769" sldId="2587"/>
            <ac:spMk id="36" creationId="{226752E1-4306-B1FF-3530-5C6C175A1966}"/>
          </ac:spMkLst>
        </pc:spChg>
        <pc:spChg chg="add mod">
          <ac:chgData name="Aurelien Domont" userId="6da7715ce44349b3" providerId="LiveId" clId="{7CD043B0-6B74-4D9A-84AE-1D8FE229AAC4}" dt="2023-01-23T04:02:31.285" v="5201" actId="1036"/>
          <ac:spMkLst>
            <pc:docMk/>
            <pc:sldMk cId="4048029769" sldId="2587"/>
            <ac:spMk id="37" creationId="{3F82B419-361A-F3CD-4CD5-88D759BAE93B}"/>
          </ac:spMkLst>
        </pc:spChg>
        <pc:spChg chg="add mod">
          <ac:chgData name="Aurelien Domont" userId="6da7715ce44349b3" providerId="LiveId" clId="{7CD043B0-6B74-4D9A-84AE-1D8FE229AAC4}" dt="2023-01-23T04:02:31.285" v="5201" actId="1036"/>
          <ac:spMkLst>
            <pc:docMk/>
            <pc:sldMk cId="4048029769" sldId="2587"/>
            <ac:spMk id="38" creationId="{04D82C73-17AB-1FE5-808D-280753AA995F}"/>
          </ac:spMkLst>
        </pc:spChg>
        <pc:spChg chg="add mod">
          <ac:chgData name="Aurelien Domont" userId="6da7715ce44349b3" providerId="LiveId" clId="{7CD043B0-6B74-4D9A-84AE-1D8FE229AAC4}" dt="2023-01-23T04:02:31.285" v="5201" actId="1036"/>
          <ac:spMkLst>
            <pc:docMk/>
            <pc:sldMk cId="4048029769" sldId="2587"/>
            <ac:spMk id="39" creationId="{FA2E28C8-C66F-0A9B-A02C-FFEFD928FE19}"/>
          </ac:spMkLst>
        </pc:spChg>
        <pc:spChg chg="add mod">
          <ac:chgData name="Aurelien Domont" userId="6da7715ce44349b3" providerId="LiveId" clId="{7CD043B0-6B74-4D9A-84AE-1D8FE229AAC4}" dt="2023-01-23T04:02:31.285" v="5201" actId="1036"/>
          <ac:spMkLst>
            <pc:docMk/>
            <pc:sldMk cId="4048029769" sldId="2587"/>
            <ac:spMk id="40" creationId="{8909132E-F5CA-DF40-0303-0C0155F37461}"/>
          </ac:spMkLst>
        </pc:spChg>
        <pc:spChg chg="add mod">
          <ac:chgData name="Aurelien Domont" userId="6da7715ce44349b3" providerId="LiveId" clId="{7CD043B0-6B74-4D9A-84AE-1D8FE229AAC4}" dt="2023-01-23T04:02:31.285" v="5201" actId="1036"/>
          <ac:spMkLst>
            <pc:docMk/>
            <pc:sldMk cId="4048029769" sldId="2587"/>
            <ac:spMk id="41" creationId="{D3C82927-F42A-5D69-2289-133484CACC33}"/>
          </ac:spMkLst>
        </pc:spChg>
        <pc:spChg chg="add mod">
          <ac:chgData name="Aurelien Domont" userId="6da7715ce44349b3" providerId="LiveId" clId="{7CD043B0-6B74-4D9A-84AE-1D8FE229AAC4}" dt="2023-01-23T04:02:31.285" v="5201" actId="1036"/>
          <ac:spMkLst>
            <pc:docMk/>
            <pc:sldMk cId="4048029769" sldId="2587"/>
            <ac:spMk id="42" creationId="{1A97C679-6A3F-D803-388C-5500E27BE6AE}"/>
          </ac:spMkLst>
        </pc:spChg>
        <pc:picChg chg="del">
          <ac:chgData name="Aurelien Domont" userId="6da7715ce44349b3" providerId="LiveId" clId="{7CD043B0-6B74-4D9A-84AE-1D8FE229AAC4}" dt="2023-01-23T03:59:41.644" v="5108" actId="478"/>
          <ac:picMkLst>
            <pc:docMk/>
            <pc:sldMk cId="4048029769" sldId="2587"/>
            <ac:picMk id="10" creationId="{8995FE9A-B35C-A789-7C6F-4D39BCDBB91A}"/>
          </ac:picMkLst>
        </pc:picChg>
        <pc:picChg chg="del">
          <ac:chgData name="Aurelien Domont" userId="6da7715ce44349b3" providerId="LiveId" clId="{7CD043B0-6B74-4D9A-84AE-1D8FE229AAC4}" dt="2023-01-23T03:59:41.644" v="5108" actId="478"/>
          <ac:picMkLst>
            <pc:docMk/>
            <pc:sldMk cId="4048029769" sldId="2587"/>
            <ac:picMk id="12" creationId="{824C2F0E-2501-29A2-DAA2-3753C7D66101}"/>
          </ac:picMkLst>
        </pc:picChg>
      </pc:sldChg>
      <pc:sldChg chg="addSp delSp modSp add mod">
        <pc:chgData name="Aurelien Domont" userId="6da7715ce44349b3" providerId="LiveId" clId="{7CD043B0-6B74-4D9A-84AE-1D8FE229AAC4}" dt="2023-01-23T04:03:47.065" v="5229" actId="571"/>
        <pc:sldMkLst>
          <pc:docMk/>
          <pc:sldMk cId="3145140750" sldId="2588"/>
        </pc:sldMkLst>
        <pc:spChg chg="add mod">
          <ac:chgData name="Aurelien Domont" userId="6da7715ce44349b3" providerId="LiveId" clId="{7CD043B0-6B74-4D9A-84AE-1D8FE229AAC4}" dt="2023-01-23T04:03:43.674" v="5228" actId="403"/>
          <ac:spMkLst>
            <pc:docMk/>
            <pc:sldMk cId="3145140750" sldId="2588"/>
            <ac:spMk id="2" creationId="{1497F562-755C-624B-713E-90EE8F5EBBC3}"/>
          </ac:spMkLst>
        </pc:spChg>
        <pc:spChg chg="mod">
          <ac:chgData name="Aurelien Domont" userId="6da7715ce44349b3" providerId="LiveId" clId="{7CD043B0-6B74-4D9A-84AE-1D8FE229AAC4}" dt="2023-01-23T04:03:43.674" v="5228" actId="403"/>
          <ac:spMkLst>
            <pc:docMk/>
            <pc:sldMk cId="3145140750" sldId="2588"/>
            <ac:spMk id="4" creationId="{B742AE0C-2431-EF43-2CA6-5A65223EBFA4}"/>
          </ac:spMkLst>
        </pc:spChg>
        <pc:spChg chg="add mod">
          <ac:chgData name="Aurelien Domont" userId="6da7715ce44349b3" providerId="LiveId" clId="{7CD043B0-6B74-4D9A-84AE-1D8FE229AAC4}" dt="2023-01-23T04:03:43.674" v="5228" actId="403"/>
          <ac:spMkLst>
            <pc:docMk/>
            <pc:sldMk cId="3145140750" sldId="2588"/>
            <ac:spMk id="5" creationId="{CD60FC07-04C2-754E-DDAF-8CD8A902CFA7}"/>
          </ac:spMkLst>
        </pc:spChg>
        <pc:spChg chg="add mod">
          <ac:chgData name="Aurelien Domont" userId="6da7715ce44349b3" providerId="LiveId" clId="{7CD043B0-6B74-4D9A-84AE-1D8FE229AAC4}" dt="2023-01-23T04:03:43.674" v="5228" actId="403"/>
          <ac:spMkLst>
            <pc:docMk/>
            <pc:sldMk cId="3145140750" sldId="2588"/>
            <ac:spMk id="6" creationId="{343C2C3D-44C8-592D-20C9-24A755132691}"/>
          </ac:spMkLst>
        </pc:spChg>
        <pc:spChg chg="add mod">
          <ac:chgData name="Aurelien Domont" userId="6da7715ce44349b3" providerId="LiveId" clId="{7CD043B0-6B74-4D9A-84AE-1D8FE229AAC4}" dt="2023-01-23T04:03:47.065" v="5229" actId="571"/>
          <ac:spMkLst>
            <pc:docMk/>
            <pc:sldMk cId="3145140750" sldId="2588"/>
            <ac:spMk id="7" creationId="{9ADF8785-8D81-4FF2-4D07-6D8E9563AA7B}"/>
          </ac:spMkLst>
        </pc:spChg>
        <pc:spChg chg="del">
          <ac:chgData name="Aurelien Domont" userId="6da7715ce44349b3" providerId="LiveId" clId="{7CD043B0-6B74-4D9A-84AE-1D8FE229AAC4}" dt="2023-01-23T04:03:25.518" v="5220" actId="478"/>
          <ac:spMkLst>
            <pc:docMk/>
            <pc:sldMk cId="3145140750" sldId="2588"/>
            <ac:spMk id="8" creationId="{3F09D7BA-D776-09D2-A008-B761E385C3D3}"/>
          </ac:spMkLst>
        </pc:spChg>
        <pc:spChg chg="del">
          <ac:chgData name="Aurelien Domont" userId="6da7715ce44349b3" providerId="LiveId" clId="{7CD043B0-6B74-4D9A-84AE-1D8FE229AAC4}" dt="2023-01-23T04:03:25.518" v="5220" actId="478"/>
          <ac:spMkLst>
            <pc:docMk/>
            <pc:sldMk cId="3145140750" sldId="2588"/>
            <ac:spMk id="9" creationId="{6B9878A4-4C63-886E-EB8C-5FB1794F0A2F}"/>
          </ac:spMkLst>
        </pc:spChg>
        <pc:spChg chg="add mod">
          <ac:chgData name="Aurelien Domont" userId="6da7715ce44349b3" providerId="LiveId" clId="{7CD043B0-6B74-4D9A-84AE-1D8FE229AAC4}" dt="2023-01-23T04:03:47.065" v="5229" actId="571"/>
          <ac:spMkLst>
            <pc:docMk/>
            <pc:sldMk cId="3145140750" sldId="2588"/>
            <ac:spMk id="10" creationId="{797E4BFC-F204-2D81-BB37-492362D79C12}"/>
          </ac:spMkLst>
        </pc:spChg>
        <pc:spChg chg="del">
          <ac:chgData name="Aurelien Domont" userId="6da7715ce44349b3" providerId="LiveId" clId="{7CD043B0-6B74-4D9A-84AE-1D8FE229AAC4}" dt="2023-01-23T04:03:25.518" v="5220" actId="478"/>
          <ac:spMkLst>
            <pc:docMk/>
            <pc:sldMk cId="3145140750" sldId="2588"/>
            <ac:spMk id="11" creationId="{1D14B807-4C1F-CBE7-6EC1-3018B879E3C9}"/>
          </ac:spMkLst>
        </pc:spChg>
        <pc:spChg chg="add mod">
          <ac:chgData name="Aurelien Domont" userId="6da7715ce44349b3" providerId="LiveId" clId="{7CD043B0-6B74-4D9A-84AE-1D8FE229AAC4}" dt="2023-01-23T04:03:47.065" v="5229" actId="571"/>
          <ac:spMkLst>
            <pc:docMk/>
            <pc:sldMk cId="3145140750" sldId="2588"/>
            <ac:spMk id="12" creationId="{A34D8DF8-F07E-9001-5E22-6818A118F0B6}"/>
          </ac:spMkLst>
        </pc:spChg>
        <pc:spChg chg="del">
          <ac:chgData name="Aurelien Domont" userId="6da7715ce44349b3" providerId="LiveId" clId="{7CD043B0-6B74-4D9A-84AE-1D8FE229AAC4}" dt="2023-01-23T04:03:25.518" v="5220" actId="478"/>
          <ac:spMkLst>
            <pc:docMk/>
            <pc:sldMk cId="3145140750" sldId="2588"/>
            <ac:spMk id="14" creationId="{32983DF7-E0E5-BA5C-585C-33F1FB8DA59E}"/>
          </ac:spMkLst>
        </pc:spChg>
        <pc:spChg chg="del">
          <ac:chgData name="Aurelien Domont" userId="6da7715ce44349b3" providerId="LiveId" clId="{7CD043B0-6B74-4D9A-84AE-1D8FE229AAC4}" dt="2023-01-23T04:03:25.518" v="5220" actId="478"/>
          <ac:spMkLst>
            <pc:docMk/>
            <pc:sldMk cId="3145140750" sldId="2588"/>
            <ac:spMk id="15" creationId="{67A748B3-2DCD-7C01-58F5-155375FFBBA4}"/>
          </ac:spMkLst>
        </pc:spChg>
        <pc:spChg chg="mod">
          <ac:chgData name="Aurelien Domont" userId="6da7715ce44349b3" providerId="LiveId" clId="{7CD043B0-6B74-4D9A-84AE-1D8FE229AAC4}" dt="2023-01-23T04:03:10.663" v="5219" actId="20577"/>
          <ac:spMkLst>
            <pc:docMk/>
            <pc:sldMk cId="3145140750" sldId="2588"/>
            <ac:spMk id="16" creationId="{6C2BB713-9637-4B9B-938F-E9768876782A}"/>
          </ac:spMkLst>
        </pc:spChg>
        <pc:spChg chg="del">
          <ac:chgData name="Aurelien Domont" userId="6da7715ce44349b3" providerId="LiveId" clId="{7CD043B0-6B74-4D9A-84AE-1D8FE229AAC4}" dt="2023-01-23T04:03:25.518" v="5220" actId="478"/>
          <ac:spMkLst>
            <pc:docMk/>
            <pc:sldMk cId="3145140750" sldId="2588"/>
            <ac:spMk id="17" creationId="{F19D6281-D245-E0EA-6B9E-E327F0FDB1C3}"/>
          </ac:spMkLst>
        </pc:spChg>
        <pc:spChg chg="del">
          <ac:chgData name="Aurelien Domont" userId="6da7715ce44349b3" providerId="LiveId" clId="{7CD043B0-6B74-4D9A-84AE-1D8FE229AAC4}" dt="2023-01-23T04:03:25.518" v="5220" actId="478"/>
          <ac:spMkLst>
            <pc:docMk/>
            <pc:sldMk cId="3145140750" sldId="2588"/>
            <ac:spMk id="18" creationId="{08FC2EF7-B2A9-F759-9A00-208EFC28316B}"/>
          </ac:spMkLst>
        </pc:spChg>
        <pc:spChg chg="del">
          <ac:chgData name="Aurelien Domont" userId="6da7715ce44349b3" providerId="LiveId" clId="{7CD043B0-6B74-4D9A-84AE-1D8FE229AAC4}" dt="2023-01-23T04:03:26.522" v="5221" actId="478"/>
          <ac:spMkLst>
            <pc:docMk/>
            <pc:sldMk cId="3145140750" sldId="2588"/>
            <ac:spMk id="19" creationId="{2B9BE81D-DCD5-49E9-C9AC-6EC48F46C3C4}"/>
          </ac:spMkLst>
        </pc:spChg>
        <pc:spChg chg="del">
          <ac:chgData name="Aurelien Domont" userId="6da7715ce44349b3" providerId="LiveId" clId="{7CD043B0-6B74-4D9A-84AE-1D8FE229AAC4}" dt="2023-01-23T04:03:25.518" v="5220" actId="478"/>
          <ac:spMkLst>
            <pc:docMk/>
            <pc:sldMk cId="3145140750" sldId="2588"/>
            <ac:spMk id="20" creationId="{5E43F380-2D58-1701-0BED-DD07F2C9B248}"/>
          </ac:spMkLst>
        </pc:spChg>
        <pc:spChg chg="del">
          <ac:chgData name="Aurelien Domont" userId="6da7715ce44349b3" providerId="LiveId" clId="{7CD043B0-6B74-4D9A-84AE-1D8FE229AAC4}" dt="2023-01-23T04:03:25.518" v="5220" actId="478"/>
          <ac:spMkLst>
            <pc:docMk/>
            <pc:sldMk cId="3145140750" sldId="2588"/>
            <ac:spMk id="21" creationId="{1EBEBD01-9A37-C440-A30A-7B3FB2831AFC}"/>
          </ac:spMkLst>
        </pc:spChg>
        <pc:spChg chg="del">
          <ac:chgData name="Aurelien Domont" userId="6da7715ce44349b3" providerId="LiveId" clId="{7CD043B0-6B74-4D9A-84AE-1D8FE229AAC4}" dt="2023-01-23T04:03:25.518" v="5220" actId="478"/>
          <ac:spMkLst>
            <pc:docMk/>
            <pc:sldMk cId="3145140750" sldId="2588"/>
            <ac:spMk id="22" creationId="{1AAA8AF5-4DD1-DAD9-4CE5-654BEEF3AF5E}"/>
          </ac:spMkLst>
        </pc:spChg>
        <pc:spChg chg="del">
          <ac:chgData name="Aurelien Domont" userId="6da7715ce44349b3" providerId="LiveId" clId="{7CD043B0-6B74-4D9A-84AE-1D8FE229AAC4}" dt="2023-01-23T04:03:25.518" v="5220" actId="478"/>
          <ac:spMkLst>
            <pc:docMk/>
            <pc:sldMk cId="3145140750" sldId="2588"/>
            <ac:spMk id="23" creationId="{0E519F6E-2C04-DAD0-DABD-E38D577867D6}"/>
          </ac:spMkLst>
        </pc:spChg>
        <pc:spChg chg="del">
          <ac:chgData name="Aurelien Domont" userId="6da7715ce44349b3" providerId="LiveId" clId="{7CD043B0-6B74-4D9A-84AE-1D8FE229AAC4}" dt="2023-01-23T04:03:25.518" v="5220" actId="478"/>
          <ac:spMkLst>
            <pc:docMk/>
            <pc:sldMk cId="3145140750" sldId="2588"/>
            <ac:spMk id="24" creationId="{CFE5A3DF-AC2A-4951-48AF-CFFFF2834F35}"/>
          </ac:spMkLst>
        </pc:spChg>
        <pc:spChg chg="del">
          <ac:chgData name="Aurelien Domont" userId="6da7715ce44349b3" providerId="LiveId" clId="{7CD043B0-6B74-4D9A-84AE-1D8FE229AAC4}" dt="2023-01-23T04:03:25.518" v="5220" actId="478"/>
          <ac:spMkLst>
            <pc:docMk/>
            <pc:sldMk cId="3145140750" sldId="2588"/>
            <ac:spMk id="25" creationId="{25BCAE38-0E42-936E-5854-B2C898F93557}"/>
          </ac:spMkLst>
        </pc:spChg>
        <pc:spChg chg="del">
          <ac:chgData name="Aurelien Domont" userId="6da7715ce44349b3" providerId="LiveId" clId="{7CD043B0-6B74-4D9A-84AE-1D8FE229AAC4}" dt="2023-01-23T04:03:25.518" v="5220" actId="478"/>
          <ac:spMkLst>
            <pc:docMk/>
            <pc:sldMk cId="3145140750" sldId="2588"/>
            <ac:spMk id="26" creationId="{22CC83DF-148D-1A8E-0897-AF0CB9C6374E}"/>
          </ac:spMkLst>
        </pc:spChg>
        <pc:spChg chg="del">
          <ac:chgData name="Aurelien Domont" userId="6da7715ce44349b3" providerId="LiveId" clId="{7CD043B0-6B74-4D9A-84AE-1D8FE229AAC4}" dt="2023-01-23T04:03:26.522" v="5221" actId="478"/>
          <ac:spMkLst>
            <pc:docMk/>
            <pc:sldMk cId="3145140750" sldId="2588"/>
            <ac:spMk id="27" creationId="{E3E93609-5238-FC16-9799-E84CC341281A}"/>
          </ac:spMkLst>
        </pc:spChg>
        <pc:spChg chg="del">
          <ac:chgData name="Aurelien Domont" userId="6da7715ce44349b3" providerId="LiveId" clId="{7CD043B0-6B74-4D9A-84AE-1D8FE229AAC4}" dt="2023-01-23T04:03:25.518" v="5220" actId="478"/>
          <ac:spMkLst>
            <pc:docMk/>
            <pc:sldMk cId="3145140750" sldId="2588"/>
            <ac:spMk id="28" creationId="{99E3B940-CFBF-9590-7613-847B92AE4A7D}"/>
          </ac:spMkLst>
        </pc:spChg>
        <pc:spChg chg="del">
          <ac:chgData name="Aurelien Domont" userId="6da7715ce44349b3" providerId="LiveId" clId="{7CD043B0-6B74-4D9A-84AE-1D8FE229AAC4}" dt="2023-01-23T04:03:25.518" v="5220" actId="478"/>
          <ac:spMkLst>
            <pc:docMk/>
            <pc:sldMk cId="3145140750" sldId="2588"/>
            <ac:spMk id="29" creationId="{C82D4EF5-3522-CD99-4D72-FB5143CE6C02}"/>
          </ac:spMkLst>
        </pc:spChg>
        <pc:spChg chg="del">
          <ac:chgData name="Aurelien Domont" userId="6da7715ce44349b3" providerId="LiveId" clId="{7CD043B0-6B74-4D9A-84AE-1D8FE229AAC4}" dt="2023-01-23T04:03:25.518" v="5220" actId="478"/>
          <ac:spMkLst>
            <pc:docMk/>
            <pc:sldMk cId="3145140750" sldId="2588"/>
            <ac:spMk id="30" creationId="{B9E37D02-0C9E-1B64-DF7C-BEE203D22BE2}"/>
          </ac:spMkLst>
        </pc:spChg>
        <pc:spChg chg="del">
          <ac:chgData name="Aurelien Domont" userId="6da7715ce44349b3" providerId="LiveId" clId="{7CD043B0-6B74-4D9A-84AE-1D8FE229AAC4}" dt="2023-01-23T04:03:25.518" v="5220" actId="478"/>
          <ac:spMkLst>
            <pc:docMk/>
            <pc:sldMk cId="3145140750" sldId="2588"/>
            <ac:spMk id="31" creationId="{85369BAE-DF31-AD18-3AE6-B470A43CD0DF}"/>
          </ac:spMkLst>
        </pc:spChg>
        <pc:spChg chg="del">
          <ac:chgData name="Aurelien Domont" userId="6da7715ce44349b3" providerId="LiveId" clId="{7CD043B0-6B74-4D9A-84AE-1D8FE229AAC4}" dt="2023-01-23T04:03:25.518" v="5220" actId="478"/>
          <ac:spMkLst>
            <pc:docMk/>
            <pc:sldMk cId="3145140750" sldId="2588"/>
            <ac:spMk id="32" creationId="{9B31FA22-0503-BF70-74D2-DD10E98F2569}"/>
          </ac:spMkLst>
        </pc:spChg>
        <pc:spChg chg="del">
          <ac:chgData name="Aurelien Domont" userId="6da7715ce44349b3" providerId="LiveId" clId="{7CD043B0-6B74-4D9A-84AE-1D8FE229AAC4}" dt="2023-01-23T04:03:25.518" v="5220" actId="478"/>
          <ac:spMkLst>
            <pc:docMk/>
            <pc:sldMk cId="3145140750" sldId="2588"/>
            <ac:spMk id="33" creationId="{2CFD6161-508D-FCE0-E5FF-1AECBD8622AC}"/>
          </ac:spMkLst>
        </pc:spChg>
        <pc:spChg chg="del">
          <ac:chgData name="Aurelien Domont" userId="6da7715ce44349b3" providerId="LiveId" clId="{7CD043B0-6B74-4D9A-84AE-1D8FE229AAC4}" dt="2023-01-23T04:03:25.518" v="5220" actId="478"/>
          <ac:spMkLst>
            <pc:docMk/>
            <pc:sldMk cId="3145140750" sldId="2588"/>
            <ac:spMk id="34" creationId="{BDBBD5A2-B442-7B6B-913D-2B8D4273430A}"/>
          </ac:spMkLst>
        </pc:spChg>
        <pc:spChg chg="del">
          <ac:chgData name="Aurelien Domont" userId="6da7715ce44349b3" providerId="LiveId" clId="{7CD043B0-6B74-4D9A-84AE-1D8FE229AAC4}" dt="2023-01-23T04:03:26.522" v="5221" actId="478"/>
          <ac:spMkLst>
            <pc:docMk/>
            <pc:sldMk cId="3145140750" sldId="2588"/>
            <ac:spMk id="35" creationId="{55DFED71-CB49-7763-CCCC-9A318A496562}"/>
          </ac:spMkLst>
        </pc:spChg>
        <pc:spChg chg="del">
          <ac:chgData name="Aurelien Domont" userId="6da7715ce44349b3" providerId="LiveId" clId="{7CD043B0-6B74-4D9A-84AE-1D8FE229AAC4}" dt="2023-01-23T04:03:25.518" v="5220" actId="478"/>
          <ac:spMkLst>
            <pc:docMk/>
            <pc:sldMk cId="3145140750" sldId="2588"/>
            <ac:spMk id="36" creationId="{226752E1-4306-B1FF-3530-5C6C175A1966}"/>
          </ac:spMkLst>
        </pc:spChg>
        <pc:spChg chg="del">
          <ac:chgData name="Aurelien Domont" userId="6da7715ce44349b3" providerId="LiveId" clId="{7CD043B0-6B74-4D9A-84AE-1D8FE229AAC4}" dt="2023-01-23T04:03:25.518" v="5220" actId="478"/>
          <ac:spMkLst>
            <pc:docMk/>
            <pc:sldMk cId="3145140750" sldId="2588"/>
            <ac:spMk id="37" creationId="{3F82B419-361A-F3CD-4CD5-88D759BAE93B}"/>
          </ac:spMkLst>
        </pc:spChg>
        <pc:spChg chg="del">
          <ac:chgData name="Aurelien Domont" userId="6da7715ce44349b3" providerId="LiveId" clId="{7CD043B0-6B74-4D9A-84AE-1D8FE229AAC4}" dt="2023-01-23T04:03:25.518" v="5220" actId="478"/>
          <ac:spMkLst>
            <pc:docMk/>
            <pc:sldMk cId="3145140750" sldId="2588"/>
            <ac:spMk id="38" creationId="{04D82C73-17AB-1FE5-808D-280753AA995F}"/>
          </ac:spMkLst>
        </pc:spChg>
        <pc:spChg chg="del">
          <ac:chgData name="Aurelien Domont" userId="6da7715ce44349b3" providerId="LiveId" clId="{7CD043B0-6B74-4D9A-84AE-1D8FE229AAC4}" dt="2023-01-23T04:03:25.518" v="5220" actId="478"/>
          <ac:spMkLst>
            <pc:docMk/>
            <pc:sldMk cId="3145140750" sldId="2588"/>
            <ac:spMk id="39" creationId="{FA2E28C8-C66F-0A9B-A02C-FFEFD928FE19}"/>
          </ac:spMkLst>
        </pc:spChg>
        <pc:spChg chg="del">
          <ac:chgData name="Aurelien Domont" userId="6da7715ce44349b3" providerId="LiveId" clId="{7CD043B0-6B74-4D9A-84AE-1D8FE229AAC4}" dt="2023-01-23T04:03:25.518" v="5220" actId="478"/>
          <ac:spMkLst>
            <pc:docMk/>
            <pc:sldMk cId="3145140750" sldId="2588"/>
            <ac:spMk id="40" creationId="{8909132E-F5CA-DF40-0303-0C0155F37461}"/>
          </ac:spMkLst>
        </pc:spChg>
        <pc:spChg chg="del">
          <ac:chgData name="Aurelien Domont" userId="6da7715ce44349b3" providerId="LiveId" clId="{7CD043B0-6B74-4D9A-84AE-1D8FE229AAC4}" dt="2023-01-23T04:03:25.518" v="5220" actId="478"/>
          <ac:spMkLst>
            <pc:docMk/>
            <pc:sldMk cId="3145140750" sldId="2588"/>
            <ac:spMk id="41" creationId="{D3C82927-F42A-5D69-2289-133484CACC33}"/>
          </ac:spMkLst>
        </pc:spChg>
        <pc:spChg chg="del">
          <ac:chgData name="Aurelien Domont" userId="6da7715ce44349b3" providerId="LiveId" clId="{7CD043B0-6B74-4D9A-84AE-1D8FE229AAC4}" dt="2023-01-23T04:03:25.518" v="5220" actId="478"/>
          <ac:spMkLst>
            <pc:docMk/>
            <pc:sldMk cId="3145140750" sldId="2588"/>
            <ac:spMk id="42" creationId="{1A97C679-6A3F-D803-388C-5500E27BE6AE}"/>
          </ac:spMkLst>
        </pc:spChg>
        <pc:spChg chg="add mod">
          <ac:chgData name="Aurelien Domont" userId="6da7715ce44349b3" providerId="LiveId" clId="{7CD043B0-6B74-4D9A-84AE-1D8FE229AAC4}" dt="2023-01-23T04:03:47.065" v="5229" actId="571"/>
          <ac:spMkLst>
            <pc:docMk/>
            <pc:sldMk cId="3145140750" sldId="2588"/>
            <ac:spMk id="43" creationId="{31F40265-39C8-B7AA-10CA-930B1E5C9EAF}"/>
          </ac:spMkLst>
        </pc:spChg>
      </pc:sldChg>
      <pc:sldChg chg="addSp delSp modSp add mod">
        <pc:chgData name="Aurelien Domont" userId="6da7715ce44349b3" providerId="LiveId" clId="{7CD043B0-6B74-4D9A-84AE-1D8FE229AAC4}" dt="2023-01-23T04:08:46.950" v="5422" actId="20577"/>
        <pc:sldMkLst>
          <pc:docMk/>
          <pc:sldMk cId="1870678215" sldId="2589"/>
        </pc:sldMkLst>
        <pc:spChg chg="add mod">
          <ac:chgData name="Aurelien Domont" userId="6da7715ce44349b3" providerId="LiveId" clId="{7CD043B0-6B74-4D9A-84AE-1D8FE229AAC4}" dt="2023-01-23T04:05:28.913" v="5246" actId="1076"/>
          <ac:spMkLst>
            <pc:docMk/>
            <pc:sldMk cId="1870678215" sldId="2589"/>
            <ac:spMk id="8" creationId="{13A6DBCB-C42F-B229-17FE-D02925B70835}"/>
          </ac:spMkLst>
        </pc:spChg>
        <pc:spChg chg="add mod">
          <ac:chgData name="Aurelien Domont" userId="6da7715ce44349b3" providerId="LiveId" clId="{7CD043B0-6B74-4D9A-84AE-1D8FE229AAC4}" dt="2023-01-23T04:05:30.437" v="5247" actId="571"/>
          <ac:spMkLst>
            <pc:docMk/>
            <pc:sldMk cId="1870678215" sldId="2589"/>
            <ac:spMk id="9" creationId="{DB384705-5919-E1CA-C580-27EDC02B6868}"/>
          </ac:spMkLst>
        </pc:spChg>
        <pc:spChg chg="add mod">
          <ac:chgData name="Aurelien Domont" userId="6da7715ce44349b3" providerId="LiveId" clId="{7CD043B0-6B74-4D9A-84AE-1D8FE229AAC4}" dt="2023-01-23T04:05:35.082" v="5248" actId="571"/>
          <ac:spMkLst>
            <pc:docMk/>
            <pc:sldMk cId="1870678215" sldId="2589"/>
            <ac:spMk id="11" creationId="{857D3225-6E1B-128F-3967-1902EFD2488A}"/>
          </ac:spMkLst>
        </pc:spChg>
        <pc:spChg chg="add mod">
          <ac:chgData name="Aurelien Domont" userId="6da7715ce44349b3" providerId="LiveId" clId="{7CD043B0-6B74-4D9A-84AE-1D8FE229AAC4}" dt="2023-01-23T04:05:35.082" v="5248" actId="571"/>
          <ac:spMkLst>
            <pc:docMk/>
            <pc:sldMk cId="1870678215" sldId="2589"/>
            <ac:spMk id="14" creationId="{26CBF222-8884-175D-CD45-9D256C962366}"/>
          </ac:spMkLst>
        </pc:spChg>
        <pc:spChg chg="add mod">
          <ac:chgData name="Aurelien Domont" userId="6da7715ce44349b3" providerId="LiveId" clId="{7CD043B0-6B74-4D9A-84AE-1D8FE229AAC4}" dt="2023-01-23T04:05:40.289" v="5249" actId="571"/>
          <ac:spMkLst>
            <pc:docMk/>
            <pc:sldMk cId="1870678215" sldId="2589"/>
            <ac:spMk id="15" creationId="{F5870C62-82E3-B029-5642-4C1ABC063083}"/>
          </ac:spMkLst>
        </pc:spChg>
        <pc:spChg chg="mod">
          <ac:chgData name="Aurelien Domont" userId="6da7715ce44349b3" providerId="LiveId" clId="{7CD043B0-6B74-4D9A-84AE-1D8FE229AAC4}" dt="2023-01-23T04:08:46.950" v="5422" actId="20577"/>
          <ac:spMkLst>
            <pc:docMk/>
            <pc:sldMk cId="1870678215" sldId="2589"/>
            <ac:spMk id="16" creationId="{6C2BB713-9637-4B9B-938F-E9768876782A}"/>
          </ac:spMkLst>
        </pc:spChg>
        <pc:spChg chg="add mod">
          <ac:chgData name="Aurelien Domont" userId="6da7715ce44349b3" providerId="LiveId" clId="{7CD043B0-6B74-4D9A-84AE-1D8FE229AAC4}" dt="2023-01-23T04:05:40.289" v="5249" actId="571"/>
          <ac:spMkLst>
            <pc:docMk/>
            <pc:sldMk cId="1870678215" sldId="2589"/>
            <ac:spMk id="17" creationId="{E932874B-6481-E66C-7162-E0118663A724}"/>
          </ac:spMkLst>
        </pc:spChg>
        <pc:spChg chg="add mod">
          <ac:chgData name="Aurelien Domont" userId="6da7715ce44349b3" providerId="LiveId" clId="{7CD043B0-6B74-4D9A-84AE-1D8FE229AAC4}" dt="2023-01-23T04:05:44.922" v="5250" actId="571"/>
          <ac:spMkLst>
            <pc:docMk/>
            <pc:sldMk cId="1870678215" sldId="2589"/>
            <ac:spMk id="18" creationId="{A766C355-E442-BDB7-AC73-BFF4CCA3F0D9}"/>
          </ac:spMkLst>
        </pc:spChg>
        <pc:spChg chg="add del mod">
          <ac:chgData name="Aurelien Domont" userId="6da7715ce44349b3" providerId="LiveId" clId="{7CD043B0-6B74-4D9A-84AE-1D8FE229AAC4}" dt="2023-01-23T04:06:34.449" v="5295" actId="478"/>
          <ac:spMkLst>
            <pc:docMk/>
            <pc:sldMk cId="1870678215" sldId="2589"/>
            <ac:spMk id="19" creationId="{3C02CC21-A39C-EFC5-7A4A-E0BF29193531}"/>
          </ac:spMkLst>
        </pc:spChg>
        <pc:spChg chg="add del mod">
          <ac:chgData name="Aurelien Domont" userId="6da7715ce44349b3" providerId="LiveId" clId="{7CD043B0-6B74-4D9A-84AE-1D8FE229AAC4}" dt="2023-01-23T04:06:36.619" v="5297" actId="478"/>
          <ac:spMkLst>
            <pc:docMk/>
            <pc:sldMk cId="1870678215" sldId="2589"/>
            <ac:spMk id="20" creationId="{4342AD9F-9C96-7825-CD54-4704CA9EBDCD}"/>
          </ac:spMkLst>
        </pc:spChg>
        <pc:spChg chg="add del mod">
          <ac:chgData name="Aurelien Domont" userId="6da7715ce44349b3" providerId="LiveId" clId="{7CD043B0-6B74-4D9A-84AE-1D8FE229AAC4}" dt="2023-01-23T04:06:35.818" v="5296" actId="478"/>
          <ac:spMkLst>
            <pc:docMk/>
            <pc:sldMk cId="1870678215" sldId="2589"/>
            <ac:spMk id="21" creationId="{CBE6294E-E9F9-887C-00C0-3E08EA9F4357}"/>
          </ac:spMkLst>
        </pc:spChg>
        <pc:spChg chg="add mod">
          <ac:chgData name="Aurelien Domont" userId="6da7715ce44349b3" providerId="LiveId" clId="{7CD043B0-6B74-4D9A-84AE-1D8FE229AAC4}" dt="2023-01-23T04:05:53.811" v="5252" actId="571"/>
          <ac:spMkLst>
            <pc:docMk/>
            <pc:sldMk cId="1870678215" sldId="2589"/>
            <ac:spMk id="22" creationId="{4D90C436-0C39-975C-CD57-190535908880}"/>
          </ac:spMkLst>
        </pc:spChg>
        <pc:spChg chg="add mod">
          <ac:chgData name="Aurelien Domont" userId="6da7715ce44349b3" providerId="LiveId" clId="{7CD043B0-6B74-4D9A-84AE-1D8FE229AAC4}" dt="2023-01-23T04:05:53.811" v="5252" actId="571"/>
          <ac:spMkLst>
            <pc:docMk/>
            <pc:sldMk cId="1870678215" sldId="2589"/>
            <ac:spMk id="23" creationId="{BBBF1FAA-071B-8EFB-027D-B19AF83662BE}"/>
          </ac:spMkLst>
        </pc:spChg>
        <pc:spChg chg="add mod">
          <ac:chgData name="Aurelien Domont" userId="6da7715ce44349b3" providerId="LiveId" clId="{7CD043B0-6B74-4D9A-84AE-1D8FE229AAC4}" dt="2023-01-23T04:05:53.811" v="5252" actId="571"/>
          <ac:spMkLst>
            <pc:docMk/>
            <pc:sldMk cId="1870678215" sldId="2589"/>
            <ac:spMk id="24" creationId="{2EEB31C6-E4EF-107C-22DF-B32B1CF1D727}"/>
          </ac:spMkLst>
        </pc:spChg>
        <pc:spChg chg="add mod">
          <ac:chgData name="Aurelien Domont" userId="6da7715ce44349b3" providerId="LiveId" clId="{7CD043B0-6B74-4D9A-84AE-1D8FE229AAC4}" dt="2023-01-23T04:05:53.811" v="5252" actId="571"/>
          <ac:spMkLst>
            <pc:docMk/>
            <pc:sldMk cId="1870678215" sldId="2589"/>
            <ac:spMk id="25" creationId="{A6335613-6525-986E-6249-BED2A22A1D76}"/>
          </ac:spMkLst>
        </pc:spChg>
        <pc:spChg chg="add mod">
          <ac:chgData name="Aurelien Domont" userId="6da7715ce44349b3" providerId="LiveId" clId="{7CD043B0-6B74-4D9A-84AE-1D8FE229AAC4}" dt="2023-01-23T04:05:53.811" v="5252" actId="571"/>
          <ac:spMkLst>
            <pc:docMk/>
            <pc:sldMk cId="1870678215" sldId="2589"/>
            <ac:spMk id="26" creationId="{954E2405-4063-3265-490E-679F6328ACC2}"/>
          </ac:spMkLst>
        </pc:spChg>
        <pc:spChg chg="add mod">
          <ac:chgData name="Aurelien Domont" userId="6da7715ce44349b3" providerId="LiveId" clId="{7CD043B0-6B74-4D9A-84AE-1D8FE229AAC4}" dt="2023-01-23T04:05:53.811" v="5252" actId="571"/>
          <ac:spMkLst>
            <pc:docMk/>
            <pc:sldMk cId="1870678215" sldId="2589"/>
            <ac:spMk id="27" creationId="{7D0E4E9C-1BCA-9A2C-D391-B34472133880}"/>
          </ac:spMkLst>
        </pc:spChg>
        <pc:spChg chg="add mod">
          <ac:chgData name="Aurelien Domont" userId="6da7715ce44349b3" providerId="LiveId" clId="{7CD043B0-6B74-4D9A-84AE-1D8FE229AAC4}" dt="2023-01-23T04:05:58.478" v="5253" actId="571"/>
          <ac:spMkLst>
            <pc:docMk/>
            <pc:sldMk cId="1870678215" sldId="2589"/>
            <ac:spMk id="28" creationId="{E22F3F39-AFBE-D287-2A64-E3EABF1D83A0}"/>
          </ac:spMkLst>
        </pc:spChg>
        <pc:spChg chg="add mod">
          <ac:chgData name="Aurelien Domont" userId="6da7715ce44349b3" providerId="LiveId" clId="{7CD043B0-6B74-4D9A-84AE-1D8FE229AAC4}" dt="2023-01-23T04:05:58.478" v="5253" actId="571"/>
          <ac:spMkLst>
            <pc:docMk/>
            <pc:sldMk cId="1870678215" sldId="2589"/>
            <ac:spMk id="29" creationId="{44FA5AB6-CF64-8808-C090-A8E511397592}"/>
          </ac:spMkLst>
        </pc:spChg>
        <pc:spChg chg="add mod">
          <ac:chgData name="Aurelien Domont" userId="6da7715ce44349b3" providerId="LiveId" clId="{7CD043B0-6B74-4D9A-84AE-1D8FE229AAC4}" dt="2023-01-23T04:05:58.478" v="5253" actId="571"/>
          <ac:spMkLst>
            <pc:docMk/>
            <pc:sldMk cId="1870678215" sldId="2589"/>
            <ac:spMk id="30" creationId="{61E30337-BDFD-1097-E720-0FB6555FE99C}"/>
          </ac:spMkLst>
        </pc:spChg>
        <pc:spChg chg="add del mod">
          <ac:chgData name="Aurelien Domont" userId="6da7715ce44349b3" providerId="LiveId" clId="{7CD043B0-6B74-4D9A-84AE-1D8FE229AAC4}" dt="2023-01-23T04:06:31.657" v="5293" actId="478"/>
          <ac:spMkLst>
            <pc:docMk/>
            <pc:sldMk cId="1870678215" sldId="2589"/>
            <ac:spMk id="31" creationId="{59971BFC-7F90-97AF-C698-CB1EB27C6057}"/>
          </ac:spMkLst>
        </pc:spChg>
        <pc:spChg chg="add mod">
          <ac:chgData name="Aurelien Domont" userId="6da7715ce44349b3" providerId="LiveId" clId="{7CD043B0-6B74-4D9A-84AE-1D8FE229AAC4}" dt="2023-01-23T04:06:01.768" v="5254" actId="571"/>
          <ac:spMkLst>
            <pc:docMk/>
            <pc:sldMk cId="1870678215" sldId="2589"/>
            <ac:spMk id="32" creationId="{2266FD37-6505-8EC1-1718-4988AD8E0F04}"/>
          </ac:spMkLst>
        </pc:spChg>
        <pc:spChg chg="add mod">
          <ac:chgData name="Aurelien Domont" userId="6da7715ce44349b3" providerId="LiveId" clId="{7CD043B0-6B74-4D9A-84AE-1D8FE229AAC4}" dt="2023-01-23T04:06:01.768" v="5254" actId="571"/>
          <ac:spMkLst>
            <pc:docMk/>
            <pc:sldMk cId="1870678215" sldId="2589"/>
            <ac:spMk id="33" creationId="{A30EF7F6-A748-C695-107A-42B2295213B7}"/>
          </ac:spMkLst>
        </pc:spChg>
        <pc:spChg chg="add mod">
          <ac:chgData name="Aurelien Domont" userId="6da7715ce44349b3" providerId="LiveId" clId="{7CD043B0-6B74-4D9A-84AE-1D8FE229AAC4}" dt="2023-01-23T04:06:01.768" v="5254" actId="571"/>
          <ac:spMkLst>
            <pc:docMk/>
            <pc:sldMk cId="1870678215" sldId="2589"/>
            <ac:spMk id="34" creationId="{1746E22F-176B-03C9-50C8-C9254D6618FA}"/>
          </ac:spMkLst>
        </pc:spChg>
        <pc:spChg chg="add del mod">
          <ac:chgData name="Aurelien Domont" userId="6da7715ce44349b3" providerId="LiveId" clId="{7CD043B0-6B74-4D9A-84AE-1D8FE229AAC4}" dt="2023-01-23T04:06:33.167" v="5294" actId="478"/>
          <ac:spMkLst>
            <pc:docMk/>
            <pc:sldMk cId="1870678215" sldId="2589"/>
            <ac:spMk id="35" creationId="{58EB486E-3A34-6716-2B8B-041DFC446FD6}"/>
          </ac:spMkLst>
        </pc:spChg>
        <pc:spChg chg="add mod">
          <ac:chgData name="Aurelien Domont" userId="6da7715ce44349b3" providerId="LiveId" clId="{7CD043B0-6B74-4D9A-84AE-1D8FE229AAC4}" dt="2023-01-23T04:07:04.097" v="5357" actId="1037"/>
          <ac:spMkLst>
            <pc:docMk/>
            <pc:sldMk cId="1870678215" sldId="2589"/>
            <ac:spMk id="36" creationId="{CD2BDADE-9575-5538-BA27-2AF03A21DEC9}"/>
          </ac:spMkLst>
        </pc:spChg>
        <pc:spChg chg="add mod">
          <ac:chgData name="Aurelien Domont" userId="6da7715ce44349b3" providerId="LiveId" clId="{7CD043B0-6B74-4D9A-84AE-1D8FE229AAC4}" dt="2023-01-23T04:07:04.097" v="5357" actId="1037"/>
          <ac:spMkLst>
            <pc:docMk/>
            <pc:sldMk cId="1870678215" sldId="2589"/>
            <ac:spMk id="37" creationId="{99B66B4A-1476-D359-A181-EA41C80A4CBC}"/>
          </ac:spMkLst>
        </pc:spChg>
        <pc:spChg chg="add mod">
          <ac:chgData name="Aurelien Domont" userId="6da7715ce44349b3" providerId="LiveId" clId="{7CD043B0-6B74-4D9A-84AE-1D8FE229AAC4}" dt="2023-01-23T04:06:43.500" v="5298" actId="571"/>
          <ac:spMkLst>
            <pc:docMk/>
            <pc:sldMk cId="1870678215" sldId="2589"/>
            <ac:spMk id="38" creationId="{7DFE3EAC-9160-907D-F27D-0E2309EB0476}"/>
          </ac:spMkLst>
        </pc:spChg>
        <pc:spChg chg="add del mod">
          <ac:chgData name="Aurelien Domont" userId="6da7715ce44349b3" providerId="LiveId" clId="{7CD043B0-6B74-4D9A-84AE-1D8FE229AAC4}" dt="2023-01-23T04:07:18.190" v="5368" actId="478"/>
          <ac:spMkLst>
            <pc:docMk/>
            <pc:sldMk cId="1870678215" sldId="2589"/>
            <ac:spMk id="39" creationId="{9CB41548-FF31-68E4-C8DE-B346AD6F62DC}"/>
          </ac:spMkLst>
        </pc:spChg>
        <pc:spChg chg="add mod">
          <ac:chgData name="Aurelien Domont" userId="6da7715ce44349b3" providerId="LiveId" clId="{7CD043B0-6B74-4D9A-84AE-1D8FE229AAC4}" dt="2023-01-23T04:08:40.732" v="5416" actId="14100"/>
          <ac:spMkLst>
            <pc:docMk/>
            <pc:sldMk cId="1870678215" sldId="2589"/>
            <ac:spMk id="40" creationId="{4D87EC78-3C51-667E-6301-BC7F4FE57040}"/>
          </ac:spMkLst>
        </pc:spChg>
        <pc:spChg chg="add mod">
          <ac:chgData name="Aurelien Domont" userId="6da7715ce44349b3" providerId="LiveId" clId="{7CD043B0-6B74-4D9A-84AE-1D8FE229AAC4}" dt="2023-01-23T04:08:06.381" v="5379" actId="207"/>
          <ac:spMkLst>
            <pc:docMk/>
            <pc:sldMk cId="1870678215" sldId="2589"/>
            <ac:spMk id="41" creationId="{4D0E4771-44C7-20D1-0C7E-B1B12E30B0CC}"/>
          </ac:spMkLst>
        </pc:spChg>
        <pc:spChg chg="add mod">
          <ac:chgData name="Aurelien Domont" userId="6da7715ce44349b3" providerId="LiveId" clId="{7CD043B0-6B74-4D9A-84AE-1D8FE229AAC4}" dt="2023-01-23T04:08:34.128" v="5407" actId="1038"/>
          <ac:spMkLst>
            <pc:docMk/>
            <pc:sldMk cId="1870678215" sldId="2589"/>
            <ac:spMk id="42" creationId="{D874BBB3-362C-0BF4-3108-6565798365B9}"/>
          </ac:spMkLst>
        </pc:spChg>
      </pc:sldChg>
      <pc:sldChg chg="addSp modSp add mod">
        <pc:chgData name="Aurelien Domont" userId="6da7715ce44349b3" providerId="LiveId" clId="{7CD043B0-6B74-4D9A-84AE-1D8FE229AAC4}" dt="2023-01-23T04:13:39.698" v="5779" actId="113"/>
        <pc:sldMkLst>
          <pc:docMk/>
          <pc:sldMk cId="3987364234" sldId="2590"/>
        </pc:sldMkLst>
        <pc:spChg chg="mod">
          <ac:chgData name="Aurelien Domont" userId="6da7715ce44349b3" providerId="LiveId" clId="{7CD043B0-6B74-4D9A-84AE-1D8FE229AAC4}" dt="2023-01-23T04:10:38.263" v="5517" actId="20577"/>
          <ac:spMkLst>
            <pc:docMk/>
            <pc:sldMk cId="3987364234" sldId="2590"/>
            <ac:spMk id="16" creationId="{6C2BB713-9637-4B9B-938F-E9768876782A}"/>
          </ac:spMkLst>
        </pc:spChg>
        <pc:spChg chg="add mod">
          <ac:chgData name="Aurelien Domont" userId="6da7715ce44349b3" providerId="LiveId" clId="{7CD043B0-6B74-4D9A-84AE-1D8FE229AAC4}" dt="2023-01-23T04:13:39.698" v="5779" actId="113"/>
          <ac:spMkLst>
            <pc:docMk/>
            <pc:sldMk cId="3987364234" sldId="2590"/>
            <ac:spMk id="19" creationId="{683FE2CD-1D5E-7A86-4F94-3A4019209C1F}"/>
          </ac:spMkLst>
        </pc:spChg>
      </pc:sldChg>
      <pc:sldChg chg="addSp modSp add mod">
        <pc:chgData name="Aurelien Domont" userId="6da7715ce44349b3" providerId="LiveId" clId="{7CD043B0-6B74-4D9A-84AE-1D8FE229AAC4}" dt="2023-01-23T04:12:00.749" v="5671" actId="14100"/>
        <pc:sldMkLst>
          <pc:docMk/>
          <pc:sldMk cId="2387750748" sldId="2591"/>
        </pc:sldMkLst>
        <pc:spChg chg="add mod">
          <ac:chgData name="Aurelien Domont" userId="6da7715ce44349b3" providerId="LiveId" clId="{7CD043B0-6B74-4D9A-84AE-1D8FE229AAC4}" dt="2023-01-23T04:12:00.749" v="5671" actId="14100"/>
          <ac:spMkLst>
            <pc:docMk/>
            <pc:sldMk cId="2387750748" sldId="2591"/>
            <ac:spMk id="8" creationId="{47E0A27F-3A53-1252-221D-FAB74EBDC46A}"/>
          </ac:spMkLst>
        </pc:spChg>
        <pc:spChg chg="mod">
          <ac:chgData name="Aurelien Domont" userId="6da7715ce44349b3" providerId="LiveId" clId="{7CD043B0-6B74-4D9A-84AE-1D8FE229AAC4}" dt="2023-01-23T04:11:05.079" v="5530" actId="20577"/>
          <ac:spMkLst>
            <pc:docMk/>
            <pc:sldMk cId="2387750748" sldId="2591"/>
            <ac:spMk id="16" creationId="{6C2BB713-9637-4B9B-938F-E9768876782A}"/>
          </ac:spMkLst>
        </pc:spChg>
      </pc:sldChg>
      <pc:sldChg chg="modSp add mod">
        <pc:chgData name="Aurelien Domont" userId="6da7715ce44349b3" providerId="LiveId" clId="{7CD043B0-6B74-4D9A-84AE-1D8FE229AAC4}" dt="2023-01-23T04:14:11.359" v="5795" actId="1036"/>
        <pc:sldMkLst>
          <pc:docMk/>
          <pc:sldMk cId="3404398653" sldId="2592"/>
        </pc:sldMkLst>
        <pc:spChg chg="mod">
          <ac:chgData name="Aurelien Domont" userId="6da7715ce44349b3" providerId="LiveId" clId="{7CD043B0-6B74-4D9A-84AE-1D8FE229AAC4}" dt="2023-01-23T04:14:11.359" v="5795" actId="1036"/>
          <ac:spMkLst>
            <pc:docMk/>
            <pc:sldMk cId="3404398653" sldId="2592"/>
            <ac:spMk id="66" creationId="{D2A8DFC7-27D0-2248-2089-0502807F476A}"/>
          </ac:spMkLst>
        </pc:spChg>
      </pc:sldChg>
      <pc:sldChg chg="modSp add mod">
        <pc:chgData name="Aurelien Domont" userId="6da7715ce44349b3" providerId="LiveId" clId="{7CD043B0-6B74-4D9A-84AE-1D8FE229AAC4}" dt="2023-01-23T04:20:22.849" v="5812" actId="20577"/>
        <pc:sldMkLst>
          <pc:docMk/>
          <pc:sldMk cId="1271381689" sldId="2593"/>
        </pc:sldMkLst>
        <pc:spChg chg="mod">
          <ac:chgData name="Aurelien Domont" userId="6da7715ce44349b3" providerId="LiveId" clId="{7CD043B0-6B74-4D9A-84AE-1D8FE229AAC4}" dt="2023-01-23T04:20:22.849" v="5812" actId="20577"/>
          <ac:spMkLst>
            <pc:docMk/>
            <pc:sldMk cId="1271381689" sldId="2593"/>
            <ac:spMk id="4" creationId="{471FDD12-2524-D2C4-61FC-BBD6D7EE5522}"/>
          </ac:spMkLst>
        </pc:spChg>
        <pc:spChg chg="mod">
          <ac:chgData name="Aurelien Domont" userId="6da7715ce44349b3" providerId="LiveId" clId="{7CD043B0-6B74-4D9A-84AE-1D8FE229AAC4}" dt="2023-01-23T04:20:14.784" v="5808" actId="20577"/>
          <ac:spMkLst>
            <pc:docMk/>
            <pc:sldMk cId="1271381689" sldId="2593"/>
            <ac:spMk id="16" creationId="{6C2BB713-9637-4B9B-938F-E9768876782A}"/>
          </ac:spMkLst>
        </pc:spChg>
      </pc:sldChg>
      <pc:sldChg chg="addSp delSp modSp add mod">
        <pc:chgData name="Aurelien Domont" userId="6da7715ce44349b3" providerId="LiveId" clId="{7CD043B0-6B74-4D9A-84AE-1D8FE229AAC4}" dt="2023-01-23T04:45:09.681" v="6179" actId="20577"/>
        <pc:sldMkLst>
          <pc:docMk/>
          <pc:sldMk cId="3027148322" sldId="2594"/>
        </pc:sldMkLst>
        <pc:spChg chg="add del mod">
          <ac:chgData name="Aurelien Domont" userId="6da7715ce44349b3" providerId="LiveId" clId="{7CD043B0-6B74-4D9A-84AE-1D8FE229AAC4}" dt="2023-01-23T04:44:23.521" v="6143" actId="478"/>
          <ac:spMkLst>
            <pc:docMk/>
            <pc:sldMk cId="3027148322" sldId="2594"/>
            <ac:spMk id="2" creationId="{FC49AE05-545B-D86B-8100-EABAA501563E}"/>
          </ac:spMkLst>
        </pc:spChg>
        <pc:spChg chg="del">
          <ac:chgData name="Aurelien Domont" userId="6da7715ce44349b3" providerId="LiveId" clId="{7CD043B0-6B74-4D9A-84AE-1D8FE229AAC4}" dt="2023-01-23T04:23:33.361" v="5822" actId="478"/>
          <ac:spMkLst>
            <pc:docMk/>
            <pc:sldMk cId="3027148322" sldId="2594"/>
            <ac:spMk id="4" creationId="{471FDD12-2524-D2C4-61FC-BBD6D7EE5522}"/>
          </ac:spMkLst>
        </pc:spChg>
        <pc:spChg chg="add del mod">
          <ac:chgData name="Aurelien Domont" userId="6da7715ce44349b3" providerId="LiveId" clId="{7CD043B0-6B74-4D9A-84AE-1D8FE229AAC4}" dt="2023-01-23T04:27:20.495" v="5852" actId="478"/>
          <ac:spMkLst>
            <pc:docMk/>
            <pc:sldMk cId="3027148322" sldId="2594"/>
            <ac:spMk id="5" creationId="{93FD715B-AB4A-BAC9-86CF-E0441C122AF3}"/>
          </ac:spMkLst>
        </pc:spChg>
        <pc:spChg chg="add mod">
          <ac:chgData name="Aurelien Domont" userId="6da7715ce44349b3" providerId="LiveId" clId="{7CD043B0-6B74-4D9A-84AE-1D8FE229AAC4}" dt="2023-01-23T04:25:40.391" v="5836" actId="571"/>
          <ac:spMkLst>
            <pc:docMk/>
            <pc:sldMk cId="3027148322" sldId="2594"/>
            <ac:spMk id="6" creationId="{AE606129-EA92-140B-1C0D-C6FAA1992788}"/>
          </ac:spMkLst>
        </pc:spChg>
        <pc:spChg chg="add del mod">
          <ac:chgData name="Aurelien Domont" userId="6da7715ce44349b3" providerId="LiveId" clId="{7CD043B0-6B74-4D9A-84AE-1D8FE229AAC4}" dt="2023-01-23T04:27:20.495" v="5852" actId="478"/>
          <ac:spMkLst>
            <pc:docMk/>
            <pc:sldMk cId="3027148322" sldId="2594"/>
            <ac:spMk id="7" creationId="{5CFD3D82-F279-E679-B10D-94B60A1F7402}"/>
          </ac:spMkLst>
        </pc:spChg>
        <pc:spChg chg="add del mod">
          <ac:chgData name="Aurelien Domont" userId="6da7715ce44349b3" providerId="LiveId" clId="{7CD043B0-6B74-4D9A-84AE-1D8FE229AAC4}" dt="2023-01-23T04:27:20.495" v="5852" actId="478"/>
          <ac:spMkLst>
            <pc:docMk/>
            <pc:sldMk cId="3027148322" sldId="2594"/>
            <ac:spMk id="8" creationId="{B0E0186E-33A5-B93C-D9DC-509BAE60C5D0}"/>
          </ac:spMkLst>
        </pc:spChg>
        <pc:spChg chg="add del mod">
          <ac:chgData name="Aurelien Domont" userId="6da7715ce44349b3" providerId="LiveId" clId="{7CD043B0-6B74-4D9A-84AE-1D8FE229AAC4}" dt="2023-01-23T04:25:49.410" v="5841" actId="478"/>
          <ac:spMkLst>
            <pc:docMk/>
            <pc:sldMk cId="3027148322" sldId="2594"/>
            <ac:spMk id="9" creationId="{72B04CDB-4C94-4FCF-939D-2CFA1FE64D18}"/>
          </ac:spMkLst>
        </pc:spChg>
        <pc:spChg chg="add del mod">
          <ac:chgData name="Aurelien Domont" userId="6da7715ce44349b3" providerId="LiveId" clId="{7CD043B0-6B74-4D9A-84AE-1D8FE229AAC4}" dt="2023-01-23T04:27:21.450" v="5854" actId="478"/>
          <ac:spMkLst>
            <pc:docMk/>
            <pc:sldMk cId="3027148322" sldId="2594"/>
            <ac:spMk id="10" creationId="{7FE1C481-7D66-B94E-D0BB-99CC3C20E320}"/>
          </ac:spMkLst>
        </pc:spChg>
        <pc:spChg chg="add del mod">
          <ac:chgData name="Aurelien Domont" userId="6da7715ce44349b3" providerId="LiveId" clId="{7CD043B0-6B74-4D9A-84AE-1D8FE229AAC4}" dt="2023-01-23T04:27:21.121" v="5853" actId="478"/>
          <ac:spMkLst>
            <pc:docMk/>
            <pc:sldMk cId="3027148322" sldId="2594"/>
            <ac:spMk id="11" creationId="{9E548623-243B-B773-113B-282D7A07580F}"/>
          </ac:spMkLst>
        </pc:spChg>
        <pc:spChg chg="add mod">
          <ac:chgData name="Aurelien Domont" userId="6da7715ce44349b3" providerId="LiveId" clId="{7CD043B0-6B74-4D9A-84AE-1D8FE229AAC4}" dt="2023-01-23T04:26:04.801" v="5847" actId="571"/>
          <ac:spMkLst>
            <pc:docMk/>
            <pc:sldMk cId="3027148322" sldId="2594"/>
            <ac:spMk id="12" creationId="{3D37F648-CABB-712A-0B90-CDB594E9D5EA}"/>
          </ac:spMkLst>
        </pc:spChg>
        <pc:spChg chg="add mod">
          <ac:chgData name="Aurelien Domont" userId="6da7715ce44349b3" providerId="LiveId" clId="{7CD043B0-6B74-4D9A-84AE-1D8FE229AAC4}" dt="2023-01-23T04:26:04.801" v="5847" actId="571"/>
          <ac:spMkLst>
            <pc:docMk/>
            <pc:sldMk cId="3027148322" sldId="2594"/>
            <ac:spMk id="14" creationId="{95FC9C5B-D71E-C011-B1C5-97CCEB255B3A}"/>
          </ac:spMkLst>
        </pc:spChg>
        <pc:spChg chg="add mod">
          <ac:chgData name="Aurelien Domont" userId="6da7715ce44349b3" providerId="LiveId" clId="{7CD043B0-6B74-4D9A-84AE-1D8FE229AAC4}" dt="2023-01-23T04:26:04.801" v="5847" actId="571"/>
          <ac:spMkLst>
            <pc:docMk/>
            <pc:sldMk cId="3027148322" sldId="2594"/>
            <ac:spMk id="15" creationId="{CBAC4D14-E954-4D23-9386-3279C01BDE3F}"/>
          </ac:spMkLst>
        </pc:spChg>
        <pc:spChg chg="mod">
          <ac:chgData name="Aurelien Domont" userId="6da7715ce44349b3" providerId="LiveId" clId="{7CD043B0-6B74-4D9A-84AE-1D8FE229AAC4}" dt="2023-01-23T04:45:09.681" v="6179" actId="20577"/>
          <ac:spMkLst>
            <pc:docMk/>
            <pc:sldMk cId="3027148322" sldId="2594"/>
            <ac:spMk id="16" creationId="{6C2BB713-9637-4B9B-938F-E9768876782A}"/>
          </ac:spMkLst>
        </pc:spChg>
        <pc:spChg chg="add mod">
          <ac:chgData name="Aurelien Domont" userId="6da7715ce44349b3" providerId="LiveId" clId="{7CD043B0-6B74-4D9A-84AE-1D8FE229AAC4}" dt="2023-01-23T04:26:04.801" v="5847" actId="571"/>
          <ac:spMkLst>
            <pc:docMk/>
            <pc:sldMk cId="3027148322" sldId="2594"/>
            <ac:spMk id="17" creationId="{531C7FCC-E567-C706-39B0-20FD838BD965}"/>
          </ac:spMkLst>
        </pc:spChg>
        <pc:spChg chg="add mod">
          <ac:chgData name="Aurelien Domont" userId="6da7715ce44349b3" providerId="LiveId" clId="{7CD043B0-6B74-4D9A-84AE-1D8FE229AAC4}" dt="2023-01-23T04:26:04.801" v="5847" actId="571"/>
          <ac:spMkLst>
            <pc:docMk/>
            <pc:sldMk cId="3027148322" sldId="2594"/>
            <ac:spMk id="18" creationId="{160950B4-A3E3-EFDD-9BE3-CDC0138D5527}"/>
          </ac:spMkLst>
        </pc:spChg>
        <pc:spChg chg="add del mod">
          <ac:chgData name="Aurelien Domont" userId="6da7715ce44349b3" providerId="LiveId" clId="{7CD043B0-6B74-4D9A-84AE-1D8FE229AAC4}" dt="2023-01-23T04:44:23.521" v="6143" actId="478"/>
          <ac:spMkLst>
            <pc:docMk/>
            <pc:sldMk cId="3027148322" sldId="2594"/>
            <ac:spMk id="19" creationId="{B1BB7B68-D8BE-F695-1802-CFDA026CE85F}"/>
          </ac:spMkLst>
        </pc:spChg>
        <pc:spChg chg="add del mod">
          <ac:chgData name="Aurelien Domont" userId="6da7715ce44349b3" providerId="LiveId" clId="{7CD043B0-6B74-4D9A-84AE-1D8FE229AAC4}" dt="2023-01-23T04:44:23.521" v="6143" actId="478"/>
          <ac:spMkLst>
            <pc:docMk/>
            <pc:sldMk cId="3027148322" sldId="2594"/>
            <ac:spMk id="20" creationId="{2A95329D-CB57-D75C-BEAF-6AADF7D6D31E}"/>
          </ac:spMkLst>
        </pc:spChg>
        <pc:spChg chg="add del mod">
          <ac:chgData name="Aurelien Domont" userId="6da7715ce44349b3" providerId="LiveId" clId="{7CD043B0-6B74-4D9A-84AE-1D8FE229AAC4}" dt="2023-01-23T04:44:23.521" v="6143" actId="478"/>
          <ac:spMkLst>
            <pc:docMk/>
            <pc:sldMk cId="3027148322" sldId="2594"/>
            <ac:spMk id="21" creationId="{59D6E662-529F-E6F7-7B7A-36744FE846A7}"/>
          </ac:spMkLst>
        </pc:spChg>
        <pc:spChg chg="add del mod">
          <ac:chgData name="Aurelien Domont" userId="6da7715ce44349b3" providerId="LiveId" clId="{7CD043B0-6B74-4D9A-84AE-1D8FE229AAC4}" dt="2023-01-23T04:31:31.399" v="5925" actId="478"/>
          <ac:spMkLst>
            <pc:docMk/>
            <pc:sldMk cId="3027148322" sldId="2594"/>
            <ac:spMk id="22" creationId="{39A2267D-988E-4F8A-DE91-56B2A06A8A9A}"/>
          </ac:spMkLst>
        </pc:spChg>
        <pc:spChg chg="add del mod">
          <ac:chgData name="Aurelien Domont" userId="6da7715ce44349b3" providerId="LiveId" clId="{7CD043B0-6B74-4D9A-84AE-1D8FE229AAC4}" dt="2023-01-23T04:31:51.017" v="5968" actId="478"/>
          <ac:spMkLst>
            <pc:docMk/>
            <pc:sldMk cId="3027148322" sldId="2594"/>
            <ac:spMk id="23" creationId="{1161F73B-8465-BF6C-2DA6-8C61909CF101}"/>
          </ac:spMkLst>
        </pc:spChg>
        <pc:spChg chg="add del mod">
          <ac:chgData name="Aurelien Domont" userId="6da7715ce44349b3" providerId="LiveId" clId="{7CD043B0-6B74-4D9A-84AE-1D8FE229AAC4}" dt="2023-01-23T04:31:51.017" v="5968" actId="478"/>
          <ac:spMkLst>
            <pc:docMk/>
            <pc:sldMk cId="3027148322" sldId="2594"/>
            <ac:spMk id="24" creationId="{9DBBCFA9-B699-C0BF-3B6E-7BD517198DB4}"/>
          </ac:spMkLst>
        </pc:spChg>
        <pc:spChg chg="add del mod">
          <ac:chgData name="Aurelien Domont" userId="6da7715ce44349b3" providerId="LiveId" clId="{7CD043B0-6B74-4D9A-84AE-1D8FE229AAC4}" dt="2023-01-23T04:44:23.521" v="6143" actId="478"/>
          <ac:spMkLst>
            <pc:docMk/>
            <pc:sldMk cId="3027148322" sldId="2594"/>
            <ac:spMk id="25" creationId="{727C941F-E5AF-A39F-EFC0-6B150B77AE42}"/>
          </ac:spMkLst>
        </pc:spChg>
        <pc:spChg chg="add del mod">
          <ac:chgData name="Aurelien Domont" userId="6da7715ce44349b3" providerId="LiveId" clId="{7CD043B0-6B74-4D9A-84AE-1D8FE229AAC4}" dt="2023-01-23T04:31:31.399" v="5925" actId="478"/>
          <ac:spMkLst>
            <pc:docMk/>
            <pc:sldMk cId="3027148322" sldId="2594"/>
            <ac:spMk id="26" creationId="{9FBD2B08-196D-DA67-0090-CA673714D63D}"/>
          </ac:spMkLst>
        </pc:spChg>
        <pc:spChg chg="add del mod">
          <ac:chgData name="Aurelien Domont" userId="6da7715ce44349b3" providerId="LiveId" clId="{7CD043B0-6B74-4D9A-84AE-1D8FE229AAC4}" dt="2023-01-23T04:31:31.399" v="5925" actId="478"/>
          <ac:spMkLst>
            <pc:docMk/>
            <pc:sldMk cId="3027148322" sldId="2594"/>
            <ac:spMk id="27" creationId="{A7E1670F-B158-0189-4962-05CB271EBDA4}"/>
          </ac:spMkLst>
        </pc:spChg>
        <pc:spChg chg="add del mod">
          <ac:chgData name="Aurelien Domont" userId="6da7715ce44349b3" providerId="LiveId" clId="{7CD043B0-6B74-4D9A-84AE-1D8FE229AAC4}" dt="2023-01-23T04:31:31.399" v="5925" actId="478"/>
          <ac:spMkLst>
            <pc:docMk/>
            <pc:sldMk cId="3027148322" sldId="2594"/>
            <ac:spMk id="28" creationId="{9EEA4BC6-8F49-405A-ED0B-C4D231916F70}"/>
          </ac:spMkLst>
        </pc:spChg>
        <pc:spChg chg="add del mod">
          <ac:chgData name="Aurelien Domont" userId="6da7715ce44349b3" providerId="LiveId" clId="{7CD043B0-6B74-4D9A-84AE-1D8FE229AAC4}" dt="2023-01-23T04:31:31.399" v="5925" actId="478"/>
          <ac:spMkLst>
            <pc:docMk/>
            <pc:sldMk cId="3027148322" sldId="2594"/>
            <ac:spMk id="29" creationId="{B4630EC9-CD71-7507-64A2-A75EAF72F2CF}"/>
          </ac:spMkLst>
        </pc:spChg>
        <pc:spChg chg="add del mod">
          <ac:chgData name="Aurelien Domont" userId="6da7715ce44349b3" providerId="LiveId" clId="{7CD043B0-6B74-4D9A-84AE-1D8FE229AAC4}" dt="2023-01-23T04:31:31.399" v="5925" actId="478"/>
          <ac:spMkLst>
            <pc:docMk/>
            <pc:sldMk cId="3027148322" sldId="2594"/>
            <ac:spMk id="30" creationId="{CD07963F-D311-28D1-B042-3D6C80191F65}"/>
          </ac:spMkLst>
        </pc:spChg>
        <pc:spChg chg="add del mod">
          <ac:chgData name="Aurelien Domont" userId="6da7715ce44349b3" providerId="LiveId" clId="{7CD043B0-6B74-4D9A-84AE-1D8FE229AAC4}" dt="2023-01-23T04:31:31.399" v="5925" actId="478"/>
          <ac:spMkLst>
            <pc:docMk/>
            <pc:sldMk cId="3027148322" sldId="2594"/>
            <ac:spMk id="31" creationId="{AA5098EC-B9F5-A237-1F73-EDE6AB8AABD6}"/>
          </ac:spMkLst>
        </pc:spChg>
        <pc:spChg chg="add del mod">
          <ac:chgData name="Aurelien Domont" userId="6da7715ce44349b3" providerId="LiveId" clId="{7CD043B0-6B74-4D9A-84AE-1D8FE229AAC4}" dt="2023-01-23T04:31:31.399" v="5925" actId="478"/>
          <ac:spMkLst>
            <pc:docMk/>
            <pc:sldMk cId="3027148322" sldId="2594"/>
            <ac:spMk id="32" creationId="{1C0B5F5E-B35F-0FA6-2CBA-BFD799670112}"/>
          </ac:spMkLst>
        </pc:spChg>
        <pc:spChg chg="add del mod">
          <ac:chgData name="Aurelien Domont" userId="6da7715ce44349b3" providerId="LiveId" clId="{7CD043B0-6B74-4D9A-84AE-1D8FE229AAC4}" dt="2023-01-23T04:31:31.399" v="5925" actId="478"/>
          <ac:spMkLst>
            <pc:docMk/>
            <pc:sldMk cId="3027148322" sldId="2594"/>
            <ac:spMk id="33" creationId="{4E3E01C6-B679-6A33-1AC1-92F84A14C37E}"/>
          </ac:spMkLst>
        </pc:spChg>
        <pc:spChg chg="add del mod">
          <ac:chgData name="Aurelien Domont" userId="6da7715ce44349b3" providerId="LiveId" clId="{7CD043B0-6B74-4D9A-84AE-1D8FE229AAC4}" dt="2023-01-23T04:44:23.521" v="6143" actId="478"/>
          <ac:spMkLst>
            <pc:docMk/>
            <pc:sldMk cId="3027148322" sldId="2594"/>
            <ac:spMk id="47" creationId="{3D509534-6E59-D7D2-17CD-2B3FD7964B56}"/>
          </ac:spMkLst>
        </pc:spChg>
        <pc:spChg chg="add del mod">
          <ac:chgData name="Aurelien Domont" userId="6da7715ce44349b3" providerId="LiveId" clId="{7CD043B0-6B74-4D9A-84AE-1D8FE229AAC4}" dt="2023-01-23T04:44:23.521" v="6143" actId="478"/>
          <ac:spMkLst>
            <pc:docMk/>
            <pc:sldMk cId="3027148322" sldId="2594"/>
            <ac:spMk id="48" creationId="{184DD4EA-A70B-A4C8-2865-BC34132C3E70}"/>
          </ac:spMkLst>
        </pc:spChg>
        <pc:spChg chg="add del mod">
          <ac:chgData name="Aurelien Domont" userId="6da7715ce44349b3" providerId="LiveId" clId="{7CD043B0-6B74-4D9A-84AE-1D8FE229AAC4}" dt="2023-01-23T04:44:23.521" v="6143" actId="478"/>
          <ac:spMkLst>
            <pc:docMk/>
            <pc:sldMk cId="3027148322" sldId="2594"/>
            <ac:spMk id="49" creationId="{37221B5E-9100-5762-28AB-57D9B764995F}"/>
          </ac:spMkLst>
        </pc:spChg>
        <pc:spChg chg="add del mod">
          <ac:chgData name="Aurelien Domont" userId="6da7715ce44349b3" providerId="LiveId" clId="{7CD043B0-6B74-4D9A-84AE-1D8FE229AAC4}" dt="2023-01-23T04:44:23.521" v="6143" actId="478"/>
          <ac:spMkLst>
            <pc:docMk/>
            <pc:sldMk cId="3027148322" sldId="2594"/>
            <ac:spMk id="50" creationId="{B3F3B496-0F22-0ED4-FE6C-1768ED53949A}"/>
          </ac:spMkLst>
        </pc:spChg>
        <pc:spChg chg="add del mod">
          <ac:chgData name="Aurelien Domont" userId="6da7715ce44349b3" providerId="LiveId" clId="{7CD043B0-6B74-4D9A-84AE-1D8FE229AAC4}" dt="2023-01-23T04:44:23.521" v="6143" actId="478"/>
          <ac:spMkLst>
            <pc:docMk/>
            <pc:sldMk cId="3027148322" sldId="2594"/>
            <ac:spMk id="53" creationId="{8C48A2E2-5F05-E1CD-E446-E10990622D84}"/>
          </ac:spMkLst>
        </pc:spChg>
        <pc:spChg chg="add del mod">
          <ac:chgData name="Aurelien Domont" userId="6da7715ce44349b3" providerId="LiveId" clId="{7CD043B0-6B74-4D9A-84AE-1D8FE229AAC4}" dt="2023-01-23T04:44:23.521" v="6143" actId="478"/>
          <ac:spMkLst>
            <pc:docMk/>
            <pc:sldMk cId="3027148322" sldId="2594"/>
            <ac:spMk id="54" creationId="{AD8DB4BF-55C7-908F-1A25-A98F32D01489}"/>
          </ac:spMkLst>
        </pc:spChg>
        <pc:spChg chg="add del mod">
          <ac:chgData name="Aurelien Domont" userId="6da7715ce44349b3" providerId="LiveId" clId="{7CD043B0-6B74-4D9A-84AE-1D8FE229AAC4}" dt="2023-01-23T04:34:27.623" v="6007" actId="478"/>
          <ac:spMkLst>
            <pc:docMk/>
            <pc:sldMk cId="3027148322" sldId="2594"/>
            <ac:spMk id="78" creationId="{99B76E9D-7755-09D8-50E4-CEB4872DAAA8}"/>
          </ac:spMkLst>
        </pc:spChg>
        <pc:spChg chg="add del mod">
          <ac:chgData name="Aurelien Domont" userId="6da7715ce44349b3" providerId="LiveId" clId="{7CD043B0-6B74-4D9A-84AE-1D8FE229AAC4}" dt="2023-01-23T04:34:27.623" v="6007" actId="478"/>
          <ac:spMkLst>
            <pc:docMk/>
            <pc:sldMk cId="3027148322" sldId="2594"/>
            <ac:spMk id="79" creationId="{A07E0F7A-B2C6-8E9C-DE72-432FC160D699}"/>
          </ac:spMkLst>
        </pc:spChg>
        <pc:spChg chg="add del mod">
          <ac:chgData name="Aurelien Domont" userId="6da7715ce44349b3" providerId="LiveId" clId="{7CD043B0-6B74-4D9A-84AE-1D8FE229AAC4}" dt="2023-01-23T04:34:27.623" v="6007" actId="478"/>
          <ac:spMkLst>
            <pc:docMk/>
            <pc:sldMk cId="3027148322" sldId="2594"/>
            <ac:spMk id="80" creationId="{717ACE45-0320-A134-FDC3-8FE8A5C39256}"/>
          </ac:spMkLst>
        </pc:spChg>
        <pc:spChg chg="add del mod">
          <ac:chgData name="Aurelien Domont" userId="6da7715ce44349b3" providerId="LiveId" clId="{7CD043B0-6B74-4D9A-84AE-1D8FE229AAC4}" dt="2023-01-23T04:34:27.623" v="6007" actId="478"/>
          <ac:spMkLst>
            <pc:docMk/>
            <pc:sldMk cId="3027148322" sldId="2594"/>
            <ac:spMk id="81" creationId="{97B80A9B-F04F-6AAA-DA95-7FD946AAD302}"/>
          </ac:spMkLst>
        </pc:spChg>
        <pc:spChg chg="add del mod">
          <ac:chgData name="Aurelien Domont" userId="6da7715ce44349b3" providerId="LiveId" clId="{7CD043B0-6B74-4D9A-84AE-1D8FE229AAC4}" dt="2023-01-23T04:34:27.623" v="6007" actId="478"/>
          <ac:spMkLst>
            <pc:docMk/>
            <pc:sldMk cId="3027148322" sldId="2594"/>
            <ac:spMk id="82" creationId="{C2200175-010A-F3B6-D869-2FCFE272475A}"/>
          </ac:spMkLst>
        </pc:spChg>
        <pc:spChg chg="add del mod">
          <ac:chgData name="Aurelien Domont" userId="6da7715ce44349b3" providerId="LiveId" clId="{7CD043B0-6B74-4D9A-84AE-1D8FE229AAC4}" dt="2023-01-23T04:34:27.623" v="6007" actId="478"/>
          <ac:spMkLst>
            <pc:docMk/>
            <pc:sldMk cId="3027148322" sldId="2594"/>
            <ac:spMk id="83" creationId="{DD8F8223-26D3-6AA1-2F31-5E6A7D2AF23D}"/>
          </ac:spMkLst>
        </pc:spChg>
        <pc:spChg chg="add del mod">
          <ac:chgData name="Aurelien Domont" userId="6da7715ce44349b3" providerId="LiveId" clId="{7CD043B0-6B74-4D9A-84AE-1D8FE229AAC4}" dt="2023-01-23T04:44:23.521" v="6143" actId="478"/>
          <ac:spMkLst>
            <pc:docMk/>
            <pc:sldMk cId="3027148322" sldId="2594"/>
            <ac:spMk id="101" creationId="{7D7231C0-3865-3075-0E5D-FE05D939DD14}"/>
          </ac:spMkLst>
        </pc:spChg>
        <pc:spChg chg="add del mod">
          <ac:chgData name="Aurelien Domont" userId="6da7715ce44349b3" providerId="LiveId" clId="{7CD043B0-6B74-4D9A-84AE-1D8FE229AAC4}" dt="2023-01-23T04:44:23.521" v="6143" actId="478"/>
          <ac:spMkLst>
            <pc:docMk/>
            <pc:sldMk cId="3027148322" sldId="2594"/>
            <ac:spMk id="102" creationId="{1648A1CF-DE6D-0734-DF26-50DD2F37F068}"/>
          </ac:spMkLst>
        </pc:spChg>
        <pc:spChg chg="add del mod">
          <ac:chgData name="Aurelien Domont" userId="6da7715ce44349b3" providerId="LiveId" clId="{7CD043B0-6B74-4D9A-84AE-1D8FE229AAC4}" dt="2023-01-23T04:44:23.521" v="6143" actId="478"/>
          <ac:spMkLst>
            <pc:docMk/>
            <pc:sldMk cId="3027148322" sldId="2594"/>
            <ac:spMk id="103" creationId="{EFE42755-C81F-64D6-FD15-5993617A75D5}"/>
          </ac:spMkLst>
        </pc:spChg>
        <pc:spChg chg="add del mod">
          <ac:chgData name="Aurelien Domont" userId="6da7715ce44349b3" providerId="LiveId" clId="{7CD043B0-6B74-4D9A-84AE-1D8FE229AAC4}" dt="2023-01-23T04:44:23.521" v="6143" actId="478"/>
          <ac:spMkLst>
            <pc:docMk/>
            <pc:sldMk cId="3027148322" sldId="2594"/>
            <ac:spMk id="104" creationId="{A824E5F6-0231-2790-535F-D4468EDDE164}"/>
          </ac:spMkLst>
        </pc:spChg>
        <pc:spChg chg="add del mod">
          <ac:chgData name="Aurelien Domont" userId="6da7715ce44349b3" providerId="LiveId" clId="{7CD043B0-6B74-4D9A-84AE-1D8FE229AAC4}" dt="2023-01-23T04:44:23.521" v="6143" actId="478"/>
          <ac:spMkLst>
            <pc:docMk/>
            <pc:sldMk cId="3027148322" sldId="2594"/>
            <ac:spMk id="105" creationId="{36AD2381-3B56-783C-2D66-6CF42713ACE1}"/>
          </ac:spMkLst>
        </pc:spChg>
        <pc:spChg chg="add del mod">
          <ac:chgData name="Aurelien Domont" userId="6da7715ce44349b3" providerId="LiveId" clId="{7CD043B0-6B74-4D9A-84AE-1D8FE229AAC4}" dt="2023-01-23T04:44:23.521" v="6143" actId="478"/>
          <ac:spMkLst>
            <pc:docMk/>
            <pc:sldMk cId="3027148322" sldId="2594"/>
            <ac:spMk id="106" creationId="{50563506-7333-41BF-BF33-9709E2F65DDA}"/>
          </ac:spMkLst>
        </pc:spChg>
        <pc:spChg chg="add mod">
          <ac:chgData name="Aurelien Domont" userId="6da7715ce44349b3" providerId="LiveId" clId="{7CD043B0-6B74-4D9A-84AE-1D8FE229AAC4}" dt="2023-01-23T04:44:30.552" v="6160" actId="20577"/>
          <ac:spMkLst>
            <pc:docMk/>
            <pc:sldMk cId="3027148322" sldId="2594"/>
            <ac:spMk id="127" creationId="{B930528B-C14E-ABBB-8F25-E5F0ADF56281}"/>
          </ac:spMkLst>
        </pc:spChg>
        <pc:spChg chg="add mod">
          <ac:chgData name="Aurelien Domont" userId="6da7715ce44349b3" providerId="LiveId" clId="{7CD043B0-6B74-4D9A-84AE-1D8FE229AAC4}" dt="2023-01-23T04:44:46.511" v="6162"/>
          <ac:spMkLst>
            <pc:docMk/>
            <pc:sldMk cId="3027148322" sldId="2594"/>
            <ac:spMk id="128" creationId="{F26DB508-67E4-83A2-21D2-E27B2EA6D4A4}"/>
          </ac:spMkLst>
        </pc:spChg>
        <pc:spChg chg="add mod">
          <ac:chgData name="Aurelien Domont" userId="6da7715ce44349b3" providerId="LiveId" clId="{7CD043B0-6B74-4D9A-84AE-1D8FE229AAC4}" dt="2023-01-23T04:44:42.872" v="6161"/>
          <ac:spMkLst>
            <pc:docMk/>
            <pc:sldMk cId="3027148322" sldId="2594"/>
            <ac:spMk id="129" creationId="{E6FE3B8D-5E28-922C-5039-1AB83F2CB2D1}"/>
          </ac:spMkLst>
        </pc:spChg>
        <pc:spChg chg="add mod">
          <ac:chgData name="Aurelien Domont" userId="6da7715ce44349b3" providerId="LiveId" clId="{7CD043B0-6B74-4D9A-84AE-1D8FE229AAC4}" dt="2023-01-23T04:45:00.776" v="6172"/>
          <ac:spMkLst>
            <pc:docMk/>
            <pc:sldMk cId="3027148322" sldId="2594"/>
            <ac:spMk id="130" creationId="{013170D6-21F5-5DF9-77E1-A5A0701541B0}"/>
          </ac:spMkLst>
        </pc:spChg>
        <pc:spChg chg="add mod">
          <ac:chgData name="Aurelien Domont" userId="6da7715ce44349b3" providerId="LiveId" clId="{7CD043B0-6B74-4D9A-84AE-1D8FE229AAC4}" dt="2023-01-23T04:44:59.506" v="6171"/>
          <ac:spMkLst>
            <pc:docMk/>
            <pc:sldMk cId="3027148322" sldId="2594"/>
            <ac:spMk id="131" creationId="{AFB5898F-EF6E-ED53-19A4-DFCC73C698BD}"/>
          </ac:spMkLst>
        </pc:spChg>
        <pc:spChg chg="add mod">
          <ac:chgData name="Aurelien Domont" userId="6da7715ce44349b3" providerId="LiveId" clId="{7CD043B0-6B74-4D9A-84AE-1D8FE229AAC4}" dt="2023-01-23T04:44:57.950" v="6170"/>
          <ac:spMkLst>
            <pc:docMk/>
            <pc:sldMk cId="3027148322" sldId="2594"/>
            <ac:spMk id="132" creationId="{14ED9755-B1E2-0210-83A6-9DC7B730BA4C}"/>
          </ac:spMkLst>
        </pc:spChg>
        <pc:spChg chg="add mod">
          <ac:chgData name="Aurelien Domont" userId="6da7715ce44349b3" providerId="LiveId" clId="{7CD043B0-6B74-4D9A-84AE-1D8FE229AAC4}" dt="2023-01-23T04:44:56.452" v="6169"/>
          <ac:spMkLst>
            <pc:docMk/>
            <pc:sldMk cId="3027148322" sldId="2594"/>
            <ac:spMk id="133" creationId="{55459415-1BFF-BE94-8509-15A8C3807E1D}"/>
          </ac:spMkLst>
        </pc:spChg>
        <pc:spChg chg="add mod">
          <ac:chgData name="Aurelien Domont" userId="6da7715ce44349b3" providerId="LiveId" clId="{7CD043B0-6B74-4D9A-84AE-1D8FE229AAC4}" dt="2023-01-23T04:44:49.087" v="6164"/>
          <ac:spMkLst>
            <pc:docMk/>
            <pc:sldMk cId="3027148322" sldId="2594"/>
            <ac:spMk id="134" creationId="{829C8F6D-77C0-184F-590C-B1E11772745D}"/>
          </ac:spMkLst>
        </pc:spChg>
        <pc:spChg chg="add mod">
          <ac:chgData name="Aurelien Domont" userId="6da7715ce44349b3" providerId="LiveId" clId="{7CD043B0-6B74-4D9A-84AE-1D8FE229AAC4}" dt="2023-01-23T04:44:47.908" v="6163"/>
          <ac:spMkLst>
            <pc:docMk/>
            <pc:sldMk cId="3027148322" sldId="2594"/>
            <ac:spMk id="135" creationId="{6D7A2E55-A3ED-8556-3112-DB7A9974B35A}"/>
          </ac:spMkLst>
        </pc:spChg>
        <pc:spChg chg="add mod">
          <ac:chgData name="Aurelien Domont" userId="6da7715ce44349b3" providerId="LiveId" clId="{7CD043B0-6B74-4D9A-84AE-1D8FE229AAC4}" dt="2023-01-23T04:44:50.406" v="6165"/>
          <ac:spMkLst>
            <pc:docMk/>
            <pc:sldMk cId="3027148322" sldId="2594"/>
            <ac:spMk id="140" creationId="{D23AAC63-CD44-8D27-58CC-02D44DCD514F}"/>
          </ac:spMkLst>
        </pc:spChg>
        <pc:spChg chg="add mod">
          <ac:chgData name="Aurelien Domont" userId="6da7715ce44349b3" providerId="LiveId" clId="{7CD043B0-6B74-4D9A-84AE-1D8FE229AAC4}" dt="2023-01-23T04:44:52.464" v="6166"/>
          <ac:spMkLst>
            <pc:docMk/>
            <pc:sldMk cId="3027148322" sldId="2594"/>
            <ac:spMk id="141" creationId="{A447F0D9-D47F-FA6B-27E3-EBB3C42A6AE7}"/>
          </ac:spMkLst>
        </pc:spChg>
        <pc:spChg chg="add mod">
          <ac:chgData name="Aurelien Domont" userId="6da7715ce44349b3" providerId="LiveId" clId="{7CD043B0-6B74-4D9A-84AE-1D8FE229AAC4}" dt="2023-01-23T04:44:53.642" v="6167"/>
          <ac:spMkLst>
            <pc:docMk/>
            <pc:sldMk cId="3027148322" sldId="2594"/>
            <ac:spMk id="142" creationId="{09B2F75C-DB08-B441-0B50-C0672D5B6E13}"/>
          </ac:spMkLst>
        </pc:spChg>
        <pc:spChg chg="add mod">
          <ac:chgData name="Aurelien Domont" userId="6da7715ce44349b3" providerId="LiveId" clId="{7CD043B0-6B74-4D9A-84AE-1D8FE229AAC4}" dt="2023-01-23T04:44:54.867" v="6168"/>
          <ac:spMkLst>
            <pc:docMk/>
            <pc:sldMk cId="3027148322" sldId="2594"/>
            <ac:spMk id="143" creationId="{81924BA0-BA62-9D4C-4ECC-FE7B44BC1D8A}"/>
          </ac:spMkLst>
        </pc:spChg>
        <pc:cxnChg chg="add del mod">
          <ac:chgData name="Aurelien Domont" userId="6da7715ce44349b3" providerId="LiveId" clId="{7CD043B0-6B74-4D9A-84AE-1D8FE229AAC4}" dt="2023-01-23T04:31:52.432" v="5970" actId="478"/>
          <ac:cxnSpMkLst>
            <pc:docMk/>
            <pc:sldMk cId="3027148322" sldId="2594"/>
            <ac:cxnSpMk id="35" creationId="{2C3DF4EA-BED8-1C47-9B11-E4B0E9F2B54B}"/>
          </ac:cxnSpMkLst>
        </pc:cxnChg>
        <pc:cxnChg chg="add del mod">
          <ac:chgData name="Aurelien Domont" userId="6da7715ce44349b3" providerId="LiveId" clId="{7CD043B0-6B74-4D9A-84AE-1D8FE229AAC4}" dt="2023-01-23T04:31:51.960" v="5969" actId="478"/>
          <ac:cxnSpMkLst>
            <pc:docMk/>
            <pc:sldMk cId="3027148322" sldId="2594"/>
            <ac:cxnSpMk id="37" creationId="{F6977C2A-67C6-099B-AB13-2DC2D06C760C}"/>
          </ac:cxnSpMkLst>
        </pc:cxnChg>
        <pc:cxnChg chg="add del mod">
          <ac:chgData name="Aurelien Domont" userId="6da7715ce44349b3" providerId="LiveId" clId="{7CD043B0-6B74-4D9A-84AE-1D8FE229AAC4}" dt="2023-01-23T04:35:25.549" v="6016" actId="478"/>
          <ac:cxnSpMkLst>
            <pc:docMk/>
            <pc:sldMk cId="3027148322" sldId="2594"/>
            <ac:cxnSpMk id="38" creationId="{1AFD9642-9052-5110-8552-5A62DE2C1976}"/>
          </ac:cxnSpMkLst>
        </pc:cxnChg>
        <pc:cxnChg chg="add del mod">
          <ac:chgData name="Aurelien Domont" userId="6da7715ce44349b3" providerId="LiveId" clId="{7CD043B0-6B74-4D9A-84AE-1D8FE229AAC4}" dt="2023-01-23T04:35:23.805" v="6015" actId="478"/>
          <ac:cxnSpMkLst>
            <pc:docMk/>
            <pc:sldMk cId="3027148322" sldId="2594"/>
            <ac:cxnSpMk id="40" creationId="{B78BC1A5-B9C5-47D9-865E-E20E2008355A}"/>
          </ac:cxnSpMkLst>
        </pc:cxnChg>
        <pc:cxnChg chg="add del mod">
          <ac:chgData name="Aurelien Domont" userId="6da7715ce44349b3" providerId="LiveId" clId="{7CD043B0-6B74-4D9A-84AE-1D8FE229AAC4}" dt="2023-01-23T04:31:48.866" v="5967" actId="478"/>
          <ac:cxnSpMkLst>
            <pc:docMk/>
            <pc:sldMk cId="3027148322" sldId="2594"/>
            <ac:cxnSpMk id="46" creationId="{334C05BB-2780-7894-194B-DF21CE000207}"/>
          </ac:cxnSpMkLst>
        </pc:cxnChg>
        <pc:cxnChg chg="add del mod">
          <ac:chgData name="Aurelien Domont" userId="6da7715ce44349b3" providerId="LiveId" clId="{7CD043B0-6B74-4D9A-84AE-1D8FE229AAC4}" dt="2023-01-23T04:35:26.569" v="6017" actId="478"/>
          <ac:cxnSpMkLst>
            <pc:docMk/>
            <pc:sldMk cId="3027148322" sldId="2594"/>
            <ac:cxnSpMk id="55" creationId="{BEB62D47-C20A-37A9-265D-ACC59710BFC8}"/>
          </ac:cxnSpMkLst>
        </pc:cxnChg>
        <pc:cxnChg chg="add del mod">
          <ac:chgData name="Aurelien Domont" userId="6da7715ce44349b3" providerId="LiveId" clId="{7CD043B0-6B74-4D9A-84AE-1D8FE229AAC4}" dt="2023-01-23T04:35:27.323" v="6018" actId="478"/>
          <ac:cxnSpMkLst>
            <pc:docMk/>
            <pc:sldMk cId="3027148322" sldId="2594"/>
            <ac:cxnSpMk id="58" creationId="{0E59EBA1-02CB-E050-352D-C8254429EAD3}"/>
          </ac:cxnSpMkLst>
        </pc:cxnChg>
        <pc:cxnChg chg="add del mod">
          <ac:chgData name="Aurelien Domont" userId="6da7715ce44349b3" providerId="LiveId" clId="{7CD043B0-6B74-4D9A-84AE-1D8FE229AAC4}" dt="2023-01-23T04:44:23.521" v="6143" actId="478"/>
          <ac:cxnSpMkLst>
            <pc:docMk/>
            <pc:sldMk cId="3027148322" sldId="2594"/>
            <ac:cxnSpMk id="62" creationId="{A57CCFC4-0366-931C-178A-0E0D57823374}"/>
          </ac:cxnSpMkLst>
        </pc:cxnChg>
        <pc:cxnChg chg="add del mod">
          <ac:chgData name="Aurelien Domont" userId="6da7715ce44349b3" providerId="LiveId" clId="{7CD043B0-6B74-4D9A-84AE-1D8FE229AAC4}" dt="2023-01-23T04:44:23.521" v="6143" actId="478"/>
          <ac:cxnSpMkLst>
            <pc:docMk/>
            <pc:sldMk cId="3027148322" sldId="2594"/>
            <ac:cxnSpMk id="64" creationId="{B7954E3B-1D59-2FD1-0081-82FA24C832F0}"/>
          </ac:cxnSpMkLst>
        </pc:cxnChg>
        <pc:cxnChg chg="add del mod">
          <ac:chgData name="Aurelien Domont" userId="6da7715ce44349b3" providerId="LiveId" clId="{7CD043B0-6B74-4D9A-84AE-1D8FE229AAC4}" dt="2023-01-23T04:44:23.521" v="6143" actId="478"/>
          <ac:cxnSpMkLst>
            <pc:docMk/>
            <pc:sldMk cId="3027148322" sldId="2594"/>
            <ac:cxnSpMk id="66" creationId="{A96D96E1-F1A9-E8CD-36D0-B610AD0BE9A8}"/>
          </ac:cxnSpMkLst>
        </pc:cxnChg>
        <pc:cxnChg chg="add del mod">
          <ac:chgData name="Aurelien Domont" userId="6da7715ce44349b3" providerId="LiveId" clId="{7CD043B0-6B74-4D9A-84AE-1D8FE229AAC4}" dt="2023-01-23T04:44:23.521" v="6143" actId="478"/>
          <ac:cxnSpMkLst>
            <pc:docMk/>
            <pc:sldMk cId="3027148322" sldId="2594"/>
            <ac:cxnSpMk id="68" creationId="{7EAE9D20-18CF-DB2F-49D2-D56691AB2E2F}"/>
          </ac:cxnSpMkLst>
        </pc:cxnChg>
        <pc:cxnChg chg="add del mod">
          <ac:chgData name="Aurelien Domont" userId="6da7715ce44349b3" providerId="LiveId" clId="{7CD043B0-6B74-4D9A-84AE-1D8FE229AAC4}" dt="2023-01-23T04:44:23.521" v="6143" actId="478"/>
          <ac:cxnSpMkLst>
            <pc:docMk/>
            <pc:sldMk cId="3027148322" sldId="2594"/>
            <ac:cxnSpMk id="70" creationId="{2E2E63D4-589C-38E3-5808-65F98A7296FD}"/>
          </ac:cxnSpMkLst>
        </pc:cxnChg>
        <pc:cxnChg chg="add del mod">
          <ac:chgData name="Aurelien Domont" userId="6da7715ce44349b3" providerId="LiveId" clId="{7CD043B0-6B74-4D9A-84AE-1D8FE229AAC4}" dt="2023-01-23T04:44:23.521" v="6143" actId="478"/>
          <ac:cxnSpMkLst>
            <pc:docMk/>
            <pc:sldMk cId="3027148322" sldId="2594"/>
            <ac:cxnSpMk id="72" creationId="{46816E6D-0A66-4372-7A2C-8F5BC5041CB3}"/>
          </ac:cxnSpMkLst>
        </pc:cxnChg>
        <pc:cxnChg chg="add del mod">
          <ac:chgData name="Aurelien Domont" userId="6da7715ce44349b3" providerId="LiveId" clId="{7CD043B0-6B74-4D9A-84AE-1D8FE229AAC4}" dt="2023-01-23T04:44:23.521" v="6143" actId="478"/>
          <ac:cxnSpMkLst>
            <pc:docMk/>
            <pc:sldMk cId="3027148322" sldId="2594"/>
            <ac:cxnSpMk id="108" creationId="{BC09E6A0-1CDF-B0B3-8EDD-0FF8DF161D09}"/>
          </ac:cxnSpMkLst>
        </pc:cxnChg>
        <pc:cxnChg chg="add del mod">
          <ac:chgData name="Aurelien Domont" userId="6da7715ce44349b3" providerId="LiveId" clId="{7CD043B0-6B74-4D9A-84AE-1D8FE229AAC4}" dt="2023-01-23T04:44:23.521" v="6143" actId="478"/>
          <ac:cxnSpMkLst>
            <pc:docMk/>
            <pc:sldMk cId="3027148322" sldId="2594"/>
            <ac:cxnSpMk id="110" creationId="{2BBCDF17-AB2C-C978-2B94-719CFF35A29B}"/>
          </ac:cxnSpMkLst>
        </pc:cxnChg>
        <pc:cxnChg chg="add del mod">
          <ac:chgData name="Aurelien Domont" userId="6da7715ce44349b3" providerId="LiveId" clId="{7CD043B0-6B74-4D9A-84AE-1D8FE229AAC4}" dt="2023-01-23T04:44:23.521" v="6143" actId="478"/>
          <ac:cxnSpMkLst>
            <pc:docMk/>
            <pc:sldMk cId="3027148322" sldId="2594"/>
            <ac:cxnSpMk id="112" creationId="{38A3D0D2-0953-BD63-262D-B378292E6105}"/>
          </ac:cxnSpMkLst>
        </pc:cxnChg>
        <pc:cxnChg chg="add del mod">
          <ac:chgData name="Aurelien Domont" userId="6da7715ce44349b3" providerId="LiveId" clId="{7CD043B0-6B74-4D9A-84AE-1D8FE229AAC4}" dt="2023-01-23T04:44:23.521" v="6143" actId="478"/>
          <ac:cxnSpMkLst>
            <pc:docMk/>
            <pc:sldMk cId="3027148322" sldId="2594"/>
            <ac:cxnSpMk id="114" creationId="{AC36ED52-CD50-3408-178A-86472BFB93BB}"/>
          </ac:cxnSpMkLst>
        </pc:cxnChg>
        <pc:cxnChg chg="add del mod">
          <ac:chgData name="Aurelien Domont" userId="6da7715ce44349b3" providerId="LiveId" clId="{7CD043B0-6B74-4D9A-84AE-1D8FE229AAC4}" dt="2023-01-23T04:44:23.521" v="6143" actId="478"/>
          <ac:cxnSpMkLst>
            <pc:docMk/>
            <pc:sldMk cId="3027148322" sldId="2594"/>
            <ac:cxnSpMk id="116" creationId="{475DDBB9-4555-836C-2BB1-651CBE9F9699}"/>
          </ac:cxnSpMkLst>
        </pc:cxnChg>
        <pc:cxnChg chg="add del mod">
          <ac:chgData name="Aurelien Domont" userId="6da7715ce44349b3" providerId="LiveId" clId="{7CD043B0-6B74-4D9A-84AE-1D8FE229AAC4}" dt="2023-01-23T04:44:23.521" v="6143" actId="478"/>
          <ac:cxnSpMkLst>
            <pc:docMk/>
            <pc:sldMk cId="3027148322" sldId="2594"/>
            <ac:cxnSpMk id="118" creationId="{79D3F423-0466-4B69-BC79-6DDA1AE96E6F}"/>
          </ac:cxnSpMkLst>
        </pc:cxnChg>
        <pc:cxnChg chg="add del mod">
          <ac:chgData name="Aurelien Domont" userId="6da7715ce44349b3" providerId="LiveId" clId="{7CD043B0-6B74-4D9A-84AE-1D8FE229AAC4}" dt="2023-01-23T04:44:23.521" v="6143" actId="478"/>
          <ac:cxnSpMkLst>
            <pc:docMk/>
            <pc:sldMk cId="3027148322" sldId="2594"/>
            <ac:cxnSpMk id="120" creationId="{60C4FBD8-1CFF-2B97-C927-B9BF1AB2910C}"/>
          </ac:cxnSpMkLst>
        </pc:cxnChg>
        <pc:cxnChg chg="add del mod">
          <ac:chgData name="Aurelien Domont" userId="6da7715ce44349b3" providerId="LiveId" clId="{7CD043B0-6B74-4D9A-84AE-1D8FE229AAC4}" dt="2023-01-23T04:44:23.521" v="6143" actId="478"/>
          <ac:cxnSpMkLst>
            <pc:docMk/>
            <pc:sldMk cId="3027148322" sldId="2594"/>
            <ac:cxnSpMk id="122" creationId="{30F917F4-F5E0-C124-0E87-D60CBF6116FC}"/>
          </ac:cxnSpMkLst>
        </pc:cxnChg>
        <pc:cxnChg chg="add del mod">
          <ac:chgData name="Aurelien Domont" userId="6da7715ce44349b3" providerId="LiveId" clId="{7CD043B0-6B74-4D9A-84AE-1D8FE229AAC4}" dt="2023-01-23T04:44:23.521" v="6143" actId="478"/>
          <ac:cxnSpMkLst>
            <pc:docMk/>
            <pc:sldMk cId="3027148322" sldId="2594"/>
            <ac:cxnSpMk id="124" creationId="{3A8A6E8E-3C04-ACA1-C152-7566EC86C0B5}"/>
          </ac:cxnSpMkLst>
        </pc:cxnChg>
        <pc:cxnChg chg="add del mod">
          <ac:chgData name="Aurelien Domont" userId="6da7715ce44349b3" providerId="LiveId" clId="{7CD043B0-6B74-4D9A-84AE-1D8FE229AAC4}" dt="2023-01-23T04:44:23.521" v="6143" actId="478"/>
          <ac:cxnSpMkLst>
            <pc:docMk/>
            <pc:sldMk cId="3027148322" sldId="2594"/>
            <ac:cxnSpMk id="126" creationId="{FF7292FB-56AA-A305-5708-08BB7FCB07CB}"/>
          </ac:cxnSpMkLst>
        </pc:cxnChg>
        <pc:cxnChg chg="add mod">
          <ac:chgData name="Aurelien Domont" userId="6da7715ce44349b3" providerId="LiveId" clId="{7CD043B0-6B74-4D9A-84AE-1D8FE229AAC4}" dt="2023-01-23T04:44:23.804" v="6144"/>
          <ac:cxnSpMkLst>
            <pc:docMk/>
            <pc:sldMk cId="3027148322" sldId="2594"/>
            <ac:cxnSpMk id="136" creationId="{D067A77A-9FD9-74C5-2FF3-39EAE2776D69}"/>
          </ac:cxnSpMkLst>
        </pc:cxnChg>
        <pc:cxnChg chg="add mod">
          <ac:chgData name="Aurelien Domont" userId="6da7715ce44349b3" providerId="LiveId" clId="{7CD043B0-6B74-4D9A-84AE-1D8FE229AAC4}" dt="2023-01-23T04:44:23.804" v="6144"/>
          <ac:cxnSpMkLst>
            <pc:docMk/>
            <pc:sldMk cId="3027148322" sldId="2594"/>
            <ac:cxnSpMk id="137" creationId="{46237C5A-A808-A874-AE63-BC9507B75F33}"/>
          </ac:cxnSpMkLst>
        </pc:cxnChg>
        <pc:cxnChg chg="add mod">
          <ac:chgData name="Aurelien Domont" userId="6da7715ce44349b3" providerId="LiveId" clId="{7CD043B0-6B74-4D9A-84AE-1D8FE229AAC4}" dt="2023-01-23T04:44:23.804" v="6144"/>
          <ac:cxnSpMkLst>
            <pc:docMk/>
            <pc:sldMk cId="3027148322" sldId="2594"/>
            <ac:cxnSpMk id="138" creationId="{178C9C57-7AA9-6856-2256-C795119E73A9}"/>
          </ac:cxnSpMkLst>
        </pc:cxnChg>
        <pc:cxnChg chg="add mod">
          <ac:chgData name="Aurelien Domont" userId="6da7715ce44349b3" providerId="LiveId" clId="{7CD043B0-6B74-4D9A-84AE-1D8FE229AAC4}" dt="2023-01-23T04:44:23.804" v="6144"/>
          <ac:cxnSpMkLst>
            <pc:docMk/>
            <pc:sldMk cId="3027148322" sldId="2594"/>
            <ac:cxnSpMk id="139" creationId="{7F1A4C65-B2AE-6112-7E88-DD39F6E7BE0C}"/>
          </ac:cxnSpMkLst>
        </pc:cxnChg>
        <pc:cxnChg chg="add mod">
          <ac:chgData name="Aurelien Domont" userId="6da7715ce44349b3" providerId="LiveId" clId="{7CD043B0-6B74-4D9A-84AE-1D8FE229AAC4}" dt="2023-01-23T04:44:23.804" v="6144"/>
          <ac:cxnSpMkLst>
            <pc:docMk/>
            <pc:sldMk cId="3027148322" sldId="2594"/>
            <ac:cxnSpMk id="144" creationId="{FB51D86B-0B08-C3AA-6CEE-4CCA51672759}"/>
          </ac:cxnSpMkLst>
        </pc:cxnChg>
        <pc:cxnChg chg="add mod">
          <ac:chgData name="Aurelien Domont" userId="6da7715ce44349b3" providerId="LiveId" clId="{7CD043B0-6B74-4D9A-84AE-1D8FE229AAC4}" dt="2023-01-23T04:44:23.804" v="6144"/>
          <ac:cxnSpMkLst>
            <pc:docMk/>
            <pc:sldMk cId="3027148322" sldId="2594"/>
            <ac:cxnSpMk id="145" creationId="{31017D18-74B8-444F-D800-8DB94FAB18A2}"/>
          </ac:cxnSpMkLst>
        </pc:cxnChg>
        <pc:cxnChg chg="add mod">
          <ac:chgData name="Aurelien Domont" userId="6da7715ce44349b3" providerId="LiveId" clId="{7CD043B0-6B74-4D9A-84AE-1D8FE229AAC4}" dt="2023-01-23T04:44:23.804" v="6144"/>
          <ac:cxnSpMkLst>
            <pc:docMk/>
            <pc:sldMk cId="3027148322" sldId="2594"/>
            <ac:cxnSpMk id="146" creationId="{58B71313-9359-F8C7-BF21-46F02C3280E0}"/>
          </ac:cxnSpMkLst>
        </pc:cxnChg>
        <pc:cxnChg chg="add mod">
          <ac:chgData name="Aurelien Domont" userId="6da7715ce44349b3" providerId="LiveId" clId="{7CD043B0-6B74-4D9A-84AE-1D8FE229AAC4}" dt="2023-01-23T04:44:23.804" v="6144"/>
          <ac:cxnSpMkLst>
            <pc:docMk/>
            <pc:sldMk cId="3027148322" sldId="2594"/>
            <ac:cxnSpMk id="147" creationId="{647B2302-7AA5-47A3-A0E7-67789D26FE7E}"/>
          </ac:cxnSpMkLst>
        </pc:cxnChg>
        <pc:cxnChg chg="add mod">
          <ac:chgData name="Aurelien Domont" userId="6da7715ce44349b3" providerId="LiveId" clId="{7CD043B0-6B74-4D9A-84AE-1D8FE229AAC4}" dt="2023-01-23T04:44:23.804" v="6144"/>
          <ac:cxnSpMkLst>
            <pc:docMk/>
            <pc:sldMk cId="3027148322" sldId="2594"/>
            <ac:cxnSpMk id="148" creationId="{51957B6A-6083-208D-0FDC-FE11CAA291BF}"/>
          </ac:cxnSpMkLst>
        </pc:cxnChg>
        <pc:cxnChg chg="add mod">
          <ac:chgData name="Aurelien Domont" userId="6da7715ce44349b3" providerId="LiveId" clId="{7CD043B0-6B74-4D9A-84AE-1D8FE229AAC4}" dt="2023-01-23T04:44:23.804" v="6144"/>
          <ac:cxnSpMkLst>
            <pc:docMk/>
            <pc:sldMk cId="3027148322" sldId="2594"/>
            <ac:cxnSpMk id="149" creationId="{50EAFC8E-6FD7-F619-954A-67CAB6E68436}"/>
          </ac:cxnSpMkLst>
        </pc:cxnChg>
        <pc:cxnChg chg="add mod">
          <ac:chgData name="Aurelien Domont" userId="6da7715ce44349b3" providerId="LiveId" clId="{7CD043B0-6B74-4D9A-84AE-1D8FE229AAC4}" dt="2023-01-23T04:44:23.804" v="6144"/>
          <ac:cxnSpMkLst>
            <pc:docMk/>
            <pc:sldMk cId="3027148322" sldId="2594"/>
            <ac:cxnSpMk id="150" creationId="{106D119E-2D52-6321-A7BE-F566831FEFFA}"/>
          </ac:cxnSpMkLst>
        </pc:cxnChg>
        <pc:cxnChg chg="add mod">
          <ac:chgData name="Aurelien Domont" userId="6da7715ce44349b3" providerId="LiveId" clId="{7CD043B0-6B74-4D9A-84AE-1D8FE229AAC4}" dt="2023-01-23T04:44:23.804" v="6144"/>
          <ac:cxnSpMkLst>
            <pc:docMk/>
            <pc:sldMk cId="3027148322" sldId="2594"/>
            <ac:cxnSpMk id="151" creationId="{3213B673-FB97-890E-2916-FD9A6AEE58E5}"/>
          </ac:cxnSpMkLst>
        </pc:cxnChg>
      </pc:sldChg>
      <pc:sldChg chg="delSp modSp add mod">
        <pc:chgData name="Aurelien Domont" userId="6da7715ce44349b3" providerId="LiveId" clId="{7CD043B0-6B74-4D9A-84AE-1D8FE229AAC4}" dt="2023-01-23T04:44:00.901" v="6142" actId="465"/>
        <pc:sldMkLst>
          <pc:docMk/>
          <pc:sldMk cId="1134372063" sldId="2595"/>
        </pc:sldMkLst>
        <pc:spChg chg="mod">
          <ac:chgData name="Aurelien Domont" userId="6da7715ce44349b3" providerId="LiveId" clId="{7CD043B0-6B74-4D9A-84AE-1D8FE229AAC4}" dt="2023-01-23T04:42:34.783" v="6106" actId="207"/>
          <ac:spMkLst>
            <pc:docMk/>
            <pc:sldMk cId="1134372063" sldId="2595"/>
            <ac:spMk id="2" creationId="{FC49AE05-545B-D86B-8100-EABAA501563E}"/>
          </ac:spMkLst>
        </pc:spChg>
        <pc:spChg chg="mod">
          <ac:chgData name="Aurelien Domont" userId="6da7715ce44349b3" providerId="LiveId" clId="{7CD043B0-6B74-4D9A-84AE-1D8FE229AAC4}" dt="2023-01-23T04:36:42.530" v="6058" actId="20577"/>
          <ac:spMkLst>
            <pc:docMk/>
            <pc:sldMk cId="1134372063" sldId="2595"/>
            <ac:spMk id="16" creationId="{6C2BB713-9637-4B9B-938F-E9768876782A}"/>
          </ac:spMkLst>
        </pc:spChg>
        <pc:spChg chg="mod">
          <ac:chgData name="Aurelien Domont" userId="6da7715ce44349b3" providerId="LiveId" clId="{7CD043B0-6B74-4D9A-84AE-1D8FE229AAC4}" dt="2023-01-23T04:42:53.888" v="6107" actId="207"/>
          <ac:spMkLst>
            <pc:docMk/>
            <pc:sldMk cId="1134372063" sldId="2595"/>
            <ac:spMk id="19" creationId="{B1BB7B68-D8BE-F695-1802-CFDA026CE85F}"/>
          </ac:spMkLst>
        </pc:spChg>
        <pc:spChg chg="mod">
          <ac:chgData name="Aurelien Domont" userId="6da7715ce44349b3" providerId="LiveId" clId="{7CD043B0-6B74-4D9A-84AE-1D8FE229AAC4}" dt="2023-01-23T04:42:53.888" v="6107" actId="207"/>
          <ac:spMkLst>
            <pc:docMk/>
            <pc:sldMk cId="1134372063" sldId="2595"/>
            <ac:spMk id="20" creationId="{2A95329D-CB57-D75C-BEAF-6AADF7D6D31E}"/>
          </ac:spMkLst>
        </pc:spChg>
        <pc:spChg chg="mod">
          <ac:chgData name="Aurelien Domont" userId="6da7715ce44349b3" providerId="LiveId" clId="{7CD043B0-6B74-4D9A-84AE-1D8FE229AAC4}" dt="2023-01-23T04:43:44.040" v="6130" actId="1036"/>
          <ac:spMkLst>
            <pc:docMk/>
            <pc:sldMk cId="1134372063" sldId="2595"/>
            <ac:spMk id="21" creationId="{59D6E662-529F-E6F7-7B7A-36744FE846A7}"/>
          </ac:spMkLst>
        </pc:spChg>
        <pc:spChg chg="del mod">
          <ac:chgData name="Aurelien Domont" userId="6da7715ce44349b3" providerId="LiveId" clId="{7CD043B0-6B74-4D9A-84AE-1D8FE229AAC4}" dt="2023-01-23T04:40:10.845" v="6082" actId="478"/>
          <ac:spMkLst>
            <pc:docMk/>
            <pc:sldMk cId="1134372063" sldId="2595"/>
            <ac:spMk id="25" creationId="{727C941F-E5AF-A39F-EFC0-6B150B77AE42}"/>
          </ac:spMkLst>
        </pc:spChg>
        <pc:spChg chg="mod">
          <ac:chgData name="Aurelien Domont" userId="6da7715ce44349b3" providerId="LiveId" clId="{7CD043B0-6B74-4D9A-84AE-1D8FE229AAC4}" dt="2023-01-23T04:43:56.809" v="6141" actId="465"/>
          <ac:spMkLst>
            <pc:docMk/>
            <pc:sldMk cId="1134372063" sldId="2595"/>
            <ac:spMk id="47" creationId="{3D509534-6E59-D7D2-17CD-2B3FD7964B56}"/>
          </ac:spMkLst>
        </pc:spChg>
        <pc:spChg chg="mod">
          <ac:chgData name="Aurelien Domont" userId="6da7715ce44349b3" providerId="LiveId" clId="{7CD043B0-6B74-4D9A-84AE-1D8FE229AAC4}" dt="2023-01-23T04:43:56.809" v="6141" actId="465"/>
          <ac:spMkLst>
            <pc:docMk/>
            <pc:sldMk cId="1134372063" sldId="2595"/>
            <ac:spMk id="48" creationId="{184DD4EA-A70B-A4C8-2865-BC34132C3E70}"/>
          </ac:spMkLst>
        </pc:spChg>
        <pc:spChg chg="del mod">
          <ac:chgData name="Aurelien Domont" userId="6da7715ce44349b3" providerId="LiveId" clId="{7CD043B0-6B74-4D9A-84AE-1D8FE229AAC4}" dt="2023-01-23T04:40:13.628" v="6084" actId="478"/>
          <ac:spMkLst>
            <pc:docMk/>
            <pc:sldMk cId="1134372063" sldId="2595"/>
            <ac:spMk id="49" creationId="{37221B5E-9100-5762-28AB-57D9B764995F}"/>
          </ac:spMkLst>
        </pc:spChg>
        <pc:spChg chg="mod">
          <ac:chgData name="Aurelien Domont" userId="6da7715ce44349b3" providerId="LiveId" clId="{7CD043B0-6B74-4D9A-84AE-1D8FE229AAC4}" dt="2023-01-23T04:43:50.608" v="6140" actId="1035"/>
          <ac:spMkLst>
            <pc:docMk/>
            <pc:sldMk cId="1134372063" sldId="2595"/>
            <ac:spMk id="50" creationId="{B3F3B496-0F22-0ED4-FE6C-1768ED53949A}"/>
          </ac:spMkLst>
        </pc:spChg>
        <pc:spChg chg="mod">
          <ac:chgData name="Aurelien Domont" userId="6da7715ce44349b3" providerId="LiveId" clId="{7CD043B0-6B74-4D9A-84AE-1D8FE229AAC4}" dt="2023-01-23T04:42:53.888" v="6107" actId="207"/>
          <ac:spMkLst>
            <pc:docMk/>
            <pc:sldMk cId="1134372063" sldId="2595"/>
            <ac:spMk id="53" creationId="{8C48A2E2-5F05-E1CD-E446-E10990622D84}"/>
          </ac:spMkLst>
        </pc:spChg>
        <pc:spChg chg="mod">
          <ac:chgData name="Aurelien Domont" userId="6da7715ce44349b3" providerId="LiveId" clId="{7CD043B0-6B74-4D9A-84AE-1D8FE229AAC4}" dt="2023-01-23T04:42:53.888" v="6107" actId="207"/>
          <ac:spMkLst>
            <pc:docMk/>
            <pc:sldMk cId="1134372063" sldId="2595"/>
            <ac:spMk id="54" creationId="{AD8DB4BF-55C7-908F-1A25-A98F32D01489}"/>
          </ac:spMkLst>
        </pc:spChg>
        <pc:spChg chg="mod">
          <ac:chgData name="Aurelien Domont" userId="6da7715ce44349b3" providerId="LiveId" clId="{7CD043B0-6B74-4D9A-84AE-1D8FE229AAC4}" dt="2023-01-23T04:43:44.040" v="6130" actId="1036"/>
          <ac:spMkLst>
            <pc:docMk/>
            <pc:sldMk cId="1134372063" sldId="2595"/>
            <ac:spMk id="101" creationId="{7D7231C0-3865-3075-0E5D-FE05D939DD14}"/>
          </ac:spMkLst>
        </pc:spChg>
        <pc:spChg chg="del mod">
          <ac:chgData name="Aurelien Domont" userId="6da7715ce44349b3" providerId="LiveId" clId="{7CD043B0-6B74-4D9A-84AE-1D8FE229AAC4}" dt="2023-01-23T04:40:16.741" v="6086" actId="478"/>
          <ac:spMkLst>
            <pc:docMk/>
            <pc:sldMk cId="1134372063" sldId="2595"/>
            <ac:spMk id="102" creationId="{1648A1CF-DE6D-0734-DF26-50DD2F37F068}"/>
          </ac:spMkLst>
        </pc:spChg>
        <pc:spChg chg="mod">
          <ac:chgData name="Aurelien Domont" userId="6da7715ce44349b3" providerId="LiveId" clId="{7CD043B0-6B74-4D9A-84AE-1D8FE229AAC4}" dt="2023-01-23T04:44:00.901" v="6142" actId="465"/>
          <ac:spMkLst>
            <pc:docMk/>
            <pc:sldMk cId="1134372063" sldId="2595"/>
            <ac:spMk id="103" creationId="{EFE42755-C81F-64D6-FD15-5993617A75D5}"/>
          </ac:spMkLst>
        </pc:spChg>
        <pc:spChg chg="mod">
          <ac:chgData name="Aurelien Domont" userId="6da7715ce44349b3" providerId="LiveId" clId="{7CD043B0-6B74-4D9A-84AE-1D8FE229AAC4}" dt="2023-01-23T04:44:00.901" v="6142" actId="465"/>
          <ac:spMkLst>
            <pc:docMk/>
            <pc:sldMk cId="1134372063" sldId="2595"/>
            <ac:spMk id="104" creationId="{A824E5F6-0231-2790-535F-D4468EDDE164}"/>
          </ac:spMkLst>
        </pc:spChg>
        <pc:spChg chg="del mod">
          <ac:chgData name="Aurelien Domont" userId="6da7715ce44349b3" providerId="LiveId" clId="{7CD043B0-6B74-4D9A-84AE-1D8FE229AAC4}" dt="2023-01-23T04:40:18.551" v="6088" actId="478"/>
          <ac:spMkLst>
            <pc:docMk/>
            <pc:sldMk cId="1134372063" sldId="2595"/>
            <ac:spMk id="105" creationId="{36AD2381-3B56-783C-2D66-6CF42713ACE1}"/>
          </ac:spMkLst>
        </pc:spChg>
        <pc:spChg chg="mod">
          <ac:chgData name="Aurelien Domont" userId="6da7715ce44349b3" providerId="LiveId" clId="{7CD043B0-6B74-4D9A-84AE-1D8FE229AAC4}" dt="2023-01-23T04:43:50.608" v="6140" actId="1035"/>
          <ac:spMkLst>
            <pc:docMk/>
            <pc:sldMk cId="1134372063" sldId="2595"/>
            <ac:spMk id="106" creationId="{50563506-7333-41BF-BF33-9709E2F65DDA}"/>
          </ac:spMkLst>
        </pc:spChg>
        <pc:cxnChg chg="mod">
          <ac:chgData name="Aurelien Domont" userId="6da7715ce44349b3" providerId="LiveId" clId="{7CD043B0-6B74-4D9A-84AE-1D8FE229AAC4}" dt="2023-01-23T04:43:44.040" v="6130" actId="1036"/>
          <ac:cxnSpMkLst>
            <pc:docMk/>
            <pc:sldMk cId="1134372063" sldId="2595"/>
            <ac:cxnSpMk id="62" creationId="{A57CCFC4-0366-931C-178A-0E0D57823374}"/>
          </ac:cxnSpMkLst>
        </pc:cxnChg>
        <pc:cxnChg chg="del mod">
          <ac:chgData name="Aurelien Domont" userId="6da7715ce44349b3" providerId="LiveId" clId="{7CD043B0-6B74-4D9A-84AE-1D8FE229AAC4}" dt="2023-01-23T04:40:12.463" v="6083" actId="478"/>
          <ac:cxnSpMkLst>
            <pc:docMk/>
            <pc:sldMk cId="1134372063" sldId="2595"/>
            <ac:cxnSpMk id="64" creationId="{B7954E3B-1D59-2FD1-0081-82FA24C832F0}"/>
          </ac:cxnSpMkLst>
        </pc:cxnChg>
        <pc:cxnChg chg="mod">
          <ac:chgData name="Aurelien Domont" userId="6da7715ce44349b3" providerId="LiveId" clId="{7CD043B0-6B74-4D9A-84AE-1D8FE229AAC4}" dt="2023-01-23T04:43:56.809" v="6141" actId="465"/>
          <ac:cxnSpMkLst>
            <pc:docMk/>
            <pc:sldMk cId="1134372063" sldId="2595"/>
            <ac:cxnSpMk id="66" creationId="{A96D96E1-F1A9-E8CD-36D0-B610AD0BE9A8}"/>
          </ac:cxnSpMkLst>
        </pc:cxnChg>
        <pc:cxnChg chg="mod">
          <ac:chgData name="Aurelien Domont" userId="6da7715ce44349b3" providerId="LiveId" clId="{7CD043B0-6B74-4D9A-84AE-1D8FE229AAC4}" dt="2023-01-23T04:43:56.809" v="6141" actId="465"/>
          <ac:cxnSpMkLst>
            <pc:docMk/>
            <pc:sldMk cId="1134372063" sldId="2595"/>
            <ac:cxnSpMk id="68" creationId="{7EAE9D20-18CF-DB2F-49D2-D56691AB2E2F}"/>
          </ac:cxnSpMkLst>
        </pc:cxnChg>
        <pc:cxnChg chg="del mod">
          <ac:chgData name="Aurelien Domont" userId="6da7715ce44349b3" providerId="LiveId" clId="{7CD043B0-6B74-4D9A-84AE-1D8FE229AAC4}" dt="2023-01-23T04:40:14.668" v="6085" actId="478"/>
          <ac:cxnSpMkLst>
            <pc:docMk/>
            <pc:sldMk cId="1134372063" sldId="2595"/>
            <ac:cxnSpMk id="70" creationId="{2E2E63D4-589C-38E3-5808-65F98A7296FD}"/>
          </ac:cxnSpMkLst>
        </pc:cxnChg>
        <pc:cxnChg chg="mod">
          <ac:chgData name="Aurelien Domont" userId="6da7715ce44349b3" providerId="LiveId" clId="{7CD043B0-6B74-4D9A-84AE-1D8FE229AAC4}" dt="2023-01-23T04:43:50.608" v="6140" actId="1035"/>
          <ac:cxnSpMkLst>
            <pc:docMk/>
            <pc:sldMk cId="1134372063" sldId="2595"/>
            <ac:cxnSpMk id="72" creationId="{46816E6D-0A66-4372-7A2C-8F5BC5041CB3}"/>
          </ac:cxnSpMkLst>
        </pc:cxnChg>
        <pc:cxnChg chg="mod">
          <ac:chgData name="Aurelien Domont" userId="6da7715ce44349b3" providerId="LiveId" clId="{7CD043B0-6B74-4D9A-84AE-1D8FE229AAC4}" dt="2023-01-23T04:43:44.040" v="6130" actId="1036"/>
          <ac:cxnSpMkLst>
            <pc:docMk/>
            <pc:sldMk cId="1134372063" sldId="2595"/>
            <ac:cxnSpMk id="108" creationId="{BC09E6A0-1CDF-B0B3-8EDD-0FF8DF161D09}"/>
          </ac:cxnSpMkLst>
        </pc:cxnChg>
        <pc:cxnChg chg="del mod">
          <ac:chgData name="Aurelien Domont" userId="6da7715ce44349b3" providerId="LiveId" clId="{7CD043B0-6B74-4D9A-84AE-1D8FE229AAC4}" dt="2023-01-23T04:40:17.581" v="6087" actId="478"/>
          <ac:cxnSpMkLst>
            <pc:docMk/>
            <pc:sldMk cId="1134372063" sldId="2595"/>
            <ac:cxnSpMk id="110" creationId="{2BBCDF17-AB2C-C978-2B94-719CFF35A29B}"/>
          </ac:cxnSpMkLst>
        </pc:cxnChg>
        <pc:cxnChg chg="mod">
          <ac:chgData name="Aurelien Domont" userId="6da7715ce44349b3" providerId="LiveId" clId="{7CD043B0-6B74-4D9A-84AE-1D8FE229AAC4}" dt="2023-01-23T04:44:00.901" v="6142" actId="465"/>
          <ac:cxnSpMkLst>
            <pc:docMk/>
            <pc:sldMk cId="1134372063" sldId="2595"/>
            <ac:cxnSpMk id="112" creationId="{38A3D0D2-0953-BD63-262D-B378292E6105}"/>
          </ac:cxnSpMkLst>
        </pc:cxnChg>
        <pc:cxnChg chg="mod">
          <ac:chgData name="Aurelien Domont" userId="6da7715ce44349b3" providerId="LiveId" clId="{7CD043B0-6B74-4D9A-84AE-1D8FE229AAC4}" dt="2023-01-23T04:44:00.901" v="6142" actId="465"/>
          <ac:cxnSpMkLst>
            <pc:docMk/>
            <pc:sldMk cId="1134372063" sldId="2595"/>
            <ac:cxnSpMk id="114" creationId="{AC36ED52-CD50-3408-178A-86472BFB93BB}"/>
          </ac:cxnSpMkLst>
        </pc:cxnChg>
        <pc:cxnChg chg="mod">
          <ac:chgData name="Aurelien Domont" userId="6da7715ce44349b3" providerId="LiveId" clId="{7CD043B0-6B74-4D9A-84AE-1D8FE229AAC4}" dt="2023-01-23T04:43:50.608" v="6140" actId="1035"/>
          <ac:cxnSpMkLst>
            <pc:docMk/>
            <pc:sldMk cId="1134372063" sldId="2595"/>
            <ac:cxnSpMk id="116" creationId="{475DDBB9-4555-836C-2BB1-651CBE9F9699}"/>
          </ac:cxnSpMkLst>
        </pc:cxnChg>
        <pc:cxnChg chg="del mod">
          <ac:chgData name="Aurelien Domont" userId="6da7715ce44349b3" providerId="LiveId" clId="{7CD043B0-6B74-4D9A-84AE-1D8FE229AAC4}" dt="2023-01-23T04:40:19.620" v="6089" actId="478"/>
          <ac:cxnSpMkLst>
            <pc:docMk/>
            <pc:sldMk cId="1134372063" sldId="2595"/>
            <ac:cxnSpMk id="118" creationId="{79D3F423-0466-4B69-BC79-6DDA1AE96E6F}"/>
          </ac:cxnSpMkLst>
        </pc:cxnChg>
      </pc:sldChg>
      <pc:sldChg chg="modSp add mod">
        <pc:chgData name="Aurelien Domont" userId="6da7715ce44349b3" providerId="LiveId" clId="{7CD043B0-6B74-4D9A-84AE-1D8FE229AAC4}" dt="2023-01-23T04:45:41.007" v="6186" actId="207"/>
        <pc:sldMkLst>
          <pc:docMk/>
          <pc:sldMk cId="271317158" sldId="2596"/>
        </pc:sldMkLst>
        <pc:spChg chg="mod">
          <ac:chgData name="Aurelien Domont" userId="6da7715ce44349b3" providerId="LiveId" clId="{7CD043B0-6B74-4D9A-84AE-1D8FE229AAC4}" dt="2023-01-23T04:45:14.795" v="6182" actId="20577"/>
          <ac:spMkLst>
            <pc:docMk/>
            <pc:sldMk cId="271317158" sldId="2596"/>
            <ac:spMk id="16" creationId="{6C2BB713-9637-4B9B-938F-E9768876782A}"/>
          </ac:spMkLst>
        </pc:spChg>
        <pc:spChg chg="mod">
          <ac:chgData name="Aurelien Domont" userId="6da7715ce44349b3" providerId="LiveId" clId="{7CD043B0-6B74-4D9A-84AE-1D8FE229AAC4}" dt="2023-01-23T04:45:41.007" v="6186" actId="207"/>
          <ac:spMkLst>
            <pc:docMk/>
            <pc:sldMk cId="271317158" sldId="2596"/>
            <ac:spMk id="127" creationId="{B930528B-C14E-ABBB-8F25-E5F0ADF56281}"/>
          </ac:spMkLst>
        </pc:spChg>
        <pc:spChg chg="mod">
          <ac:chgData name="Aurelien Domont" userId="6da7715ce44349b3" providerId="LiveId" clId="{7CD043B0-6B74-4D9A-84AE-1D8FE229AAC4}" dt="2023-01-23T04:45:41.007" v="6186" actId="207"/>
          <ac:spMkLst>
            <pc:docMk/>
            <pc:sldMk cId="271317158" sldId="2596"/>
            <ac:spMk id="128" creationId="{F26DB508-67E4-83A2-21D2-E27B2EA6D4A4}"/>
          </ac:spMkLst>
        </pc:spChg>
        <pc:spChg chg="mod">
          <ac:chgData name="Aurelien Domont" userId="6da7715ce44349b3" providerId="LiveId" clId="{7CD043B0-6B74-4D9A-84AE-1D8FE229AAC4}" dt="2023-01-23T04:45:41.007" v="6186" actId="207"/>
          <ac:spMkLst>
            <pc:docMk/>
            <pc:sldMk cId="271317158" sldId="2596"/>
            <ac:spMk id="129" creationId="{E6FE3B8D-5E28-922C-5039-1AB83F2CB2D1}"/>
          </ac:spMkLst>
        </pc:spChg>
        <pc:spChg chg="mod">
          <ac:chgData name="Aurelien Domont" userId="6da7715ce44349b3" providerId="LiveId" clId="{7CD043B0-6B74-4D9A-84AE-1D8FE229AAC4}" dt="2023-01-23T04:45:41.007" v="6186" actId="207"/>
          <ac:spMkLst>
            <pc:docMk/>
            <pc:sldMk cId="271317158" sldId="2596"/>
            <ac:spMk id="130" creationId="{013170D6-21F5-5DF9-77E1-A5A0701541B0}"/>
          </ac:spMkLst>
        </pc:spChg>
        <pc:spChg chg="mod">
          <ac:chgData name="Aurelien Domont" userId="6da7715ce44349b3" providerId="LiveId" clId="{7CD043B0-6B74-4D9A-84AE-1D8FE229AAC4}" dt="2023-01-23T04:45:41.007" v="6186" actId="207"/>
          <ac:spMkLst>
            <pc:docMk/>
            <pc:sldMk cId="271317158" sldId="2596"/>
            <ac:spMk id="131" creationId="{AFB5898F-EF6E-ED53-19A4-DFCC73C698BD}"/>
          </ac:spMkLst>
        </pc:spChg>
        <pc:spChg chg="mod">
          <ac:chgData name="Aurelien Domont" userId="6da7715ce44349b3" providerId="LiveId" clId="{7CD043B0-6B74-4D9A-84AE-1D8FE229AAC4}" dt="2023-01-23T04:45:41.007" v="6186" actId="207"/>
          <ac:spMkLst>
            <pc:docMk/>
            <pc:sldMk cId="271317158" sldId="2596"/>
            <ac:spMk id="132" creationId="{14ED9755-B1E2-0210-83A6-9DC7B730BA4C}"/>
          </ac:spMkLst>
        </pc:spChg>
        <pc:spChg chg="mod">
          <ac:chgData name="Aurelien Domont" userId="6da7715ce44349b3" providerId="LiveId" clId="{7CD043B0-6B74-4D9A-84AE-1D8FE229AAC4}" dt="2023-01-23T04:45:41.007" v="6186" actId="207"/>
          <ac:spMkLst>
            <pc:docMk/>
            <pc:sldMk cId="271317158" sldId="2596"/>
            <ac:spMk id="133" creationId="{55459415-1BFF-BE94-8509-15A8C3807E1D}"/>
          </ac:spMkLst>
        </pc:spChg>
        <pc:spChg chg="mod">
          <ac:chgData name="Aurelien Domont" userId="6da7715ce44349b3" providerId="LiveId" clId="{7CD043B0-6B74-4D9A-84AE-1D8FE229AAC4}" dt="2023-01-23T04:45:41.007" v="6186" actId="207"/>
          <ac:spMkLst>
            <pc:docMk/>
            <pc:sldMk cId="271317158" sldId="2596"/>
            <ac:spMk id="134" creationId="{829C8F6D-77C0-184F-590C-B1E11772745D}"/>
          </ac:spMkLst>
        </pc:spChg>
        <pc:spChg chg="mod">
          <ac:chgData name="Aurelien Domont" userId="6da7715ce44349b3" providerId="LiveId" clId="{7CD043B0-6B74-4D9A-84AE-1D8FE229AAC4}" dt="2023-01-23T04:45:41.007" v="6186" actId="207"/>
          <ac:spMkLst>
            <pc:docMk/>
            <pc:sldMk cId="271317158" sldId="2596"/>
            <ac:spMk id="135" creationId="{6D7A2E55-A3ED-8556-3112-DB7A9974B35A}"/>
          </ac:spMkLst>
        </pc:spChg>
        <pc:spChg chg="mod">
          <ac:chgData name="Aurelien Domont" userId="6da7715ce44349b3" providerId="LiveId" clId="{7CD043B0-6B74-4D9A-84AE-1D8FE229AAC4}" dt="2023-01-23T04:45:41.007" v="6186" actId="207"/>
          <ac:spMkLst>
            <pc:docMk/>
            <pc:sldMk cId="271317158" sldId="2596"/>
            <ac:spMk id="140" creationId="{D23AAC63-CD44-8D27-58CC-02D44DCD514F}"/>
          </ac:spMkLst>
        </pc:spChg>
        <pc:spChg chg="mod">
          <ac:chgData name="Aurelien Domont" userId="6da7715ce44349b3" providerId="LiveId" clId="{7CD043B0-6B74-4D9A-84AE-1D8FE229AAC4}" dt="2023-01-23T04:45:41.007" v="6186" actId="207"/>
          <ac:spMkLst>
            <pc:docMk/>
            <pc:sldMk cId="271317158" sldId="2596"/>
            <ac:spMk id="141" creationId="{A447F0D9-D47F-FA6B-27E3-EBB3C42A6AE7}"/>
          </ac:spMkLst>
        </pc:spChg>
        <pc:spChg chg="mod">
          <ac:chgData name="Aurelien Domont" userId="6da7715ce44349b3" providerId="LiveId" clId="{7CD043B0-6B74-4D9A-84AE-1D8FE229AAC4}" dt="2023-01-23T04:45:41.007" v="6186" actId="207"/>
          <ac:spMkLst>
            <pc:docMk/>
            <pc:sldMk cId="271317158" sldId="2596"/>
            <ac:spMk id="142" creationId="{09B2F75C-DB08-B441-0B50-C0672D5B6E13}"/>
          </ac:spMkLst>
        </pc:spChg>
        <pc:spChg chg="mod">
          <ac:chgData name="Aurelien Domont" userId="6da7715ce44349b3" providerId="LiveId" clId="{7CD043B0-6B74-4D9A-84AE-1D8FE229AAC4}" dt="2023-01-23T04:45:41.007" v="6186" actId="207"/>
          <ac:spMkLst>
            <pc:docMk/>
            <pc:sldMk cId="271317158" sldId="2596"/>
            <ac:spMk id="143" creationId="{81924BA0-BA62-9D4C-4ECC-FE7B44BC1D8A}"/>
          </ac:spMkLst>
        </pc:spChg>
      </pc:sldChg>
      <pc:sldChg chg="modSp add mod">
        <pc:chgData name="Aurelien Domont" userId="6da7715ce44349b3" providerId="LiveId" clId="{7CD043B0-6B74-4D9A-84AE-1D8FE229AAC4}" dt="2023-01-23T04:46:57.477" v="6203" actId="1035"/>
        <pc:sldMkLst>
          <pc:docMk/>
          <pc:sldMk cId="990426303" sldId="2597"/>
        </pc:sldMkLst>
        <pc:spChg chg="mod">
          <ac:chgData name="Aurelien Domont" userId="6da7715ce44349b3" providerId="LiveId" clId="{7CD043B0-6B74-4D9A-84AE-1D8FE229AAC4}" dt="2023-01-23T04:46:57.477" v="6203" actId="1035"/>
          <ac:spMkLst>
            <pc:docMk/>
            <pc:sldMk cId="990426303" sldId="2597"/>
            <ac:spMk id="66" creationId="{D2A8DFC7-27D0-2248-2089-0502807F476A}"/>
          </ac:spMkLst>
        </pc:spChg>
      </pc:sldChg>
      <pc:sldChg chg="modSp add mod">
        <pc:chgData name="Aurelien Domont" userId="6da7715ce44349b3" providerId="LiveId" clId="{7CD043B0-6B74-4D9A-84AE-1D8FE229AAC4}" dt="2023-01-23T04:49:28.927" v="6219" actId="20577"/>
        <pc:sldMkLst>
          <pc:docMk/>
          <pc:sldMk cId="3404802973" sldId="2598"/>
        </pc:sldMkLst>
        <pc:spChg chg="mod">
          <ac:chgData name="Aurelien Domont" userId="6da7715ce44349b3" providerId="LiveId" clId="{7CD043B0-6B74-4D9A-84AE-1D8FE229AAC4}" dt="2023-01-23T04:49:28.927" v="6219" actId="20577"/>
          <ac:spMkLst>
            <pc:docMk/>
            <pc:sldMk cId="3404802973" sldId="2598"/>
            <ac:spMk id="4" creationId="{471FDD12-2524-D2C4-61FC-BBD6D7EE5522}"/>
          </ac:spMkLst>
        </pc:spChg>
        <pc:spChg chg="mod">
          <ac:chgData name="Aurelien Domont" userId="6da7715ce44349b3" providerId="LiveId" clId="{7CD043B0-6B74-4D9A-84AE-1D8FE229AAC4}" dt="2023-01-23T04:48:33.713" v="6213" actId="20577"/>
          <ac:spMkLst>
            <pc:docMk/>
            <pc:sldMk cId="3404802973" sldId="2598"/>
            <ac:spMk id="16" creationId="{6C2BB713-9637-4B9B-938F-E9768876782A}"/>
          </ac:spMkLst>
        </pc:spChg>
      </pc:sldChg>
      <pc:sldChg chg="modSp add mod">
        <pc:chgData name="Aurelien Domont" userId="6da7715ce44349b3" providerId="LiveId" clId="{7CD043B0-6B74-4D9A-84AE-1D8FE229AAC4}" dt="2023-01-23T04:54:38.045" v="6292" actId="1036"/>
        <pc:sldMkLst>
          <pc:docMk/>
          <pc:sldMk cId="3709563799" sldId="2599"/>
        </pc:sldMkLst>
        <pc:spChg chg="mod">
          <ac:chgData name="Aurelien Domont" userId="6da7715ce44349b3" providerId="LiveId" clId="{7CD043B0-6B74-4D9A-84AE-1D8FE229AAC4}" dt="2023-01-23T04:54:38.045" v="6292" actId="1036"/>
          <ac:spMkLst>
            <pc:docMk/>
            <pc:sldMk cId="3709563799" sldId="2599"/>
            <ac:spMk id="66" creationId="{D2A8DFC7-27D0-2248-2089-0502807F476A}"/>
          </ac:spMkLst>
        </pc:spChg>
      </pc:sldChg>
      <pc:sldChg chg="modSp add mod">
        <pc:chgData name="Aurelien Domont" userId="6da7715ce44349b3" providerId="LiveId" clId="{7CD043B0-6B74-4D9A-84AE-1D8FE229AAC4}" dt="2023-01-23T04:54:23.301" v="6277" actId="20577"/>
        <pc:sldMkLst>
          <pc:docMk/>
          <pc:sldMk cId="1351119352" sldId="2600"/>
        </pc:sldMkLst>
        <pc:spChg chg="mod">
          <ac:chgData name="Aurelien Domont" userId="6da7715ce44349b3" providerId="LiveId" clId="{7CD043B0-6B74-4D9A-84AE-1D8FE229AAC4}" dt="2023-01-23T04:54:23.301" v="6277" actId="20577"/>
          <ac:spMkLst>
            <pc:docMk/>
            <pc:sldMk cId="1351119352" sldId="2600"/>
            <ac:spMk id="4" creationId="{471FDD12-2524-D2C4-61FC-BBD6D7EE5522}"/>
          </ac:spMkLst>
        </pc:spChg>
        <pc:spChg chg="mod">
          <ac:chgData name="Aurelien Domont" userId="6da7715ce44349b3" providerId="LiveId" clId="{7CD043B0-6B74-4D9A-84AE-1D8FE229AAC4}" dt="2023-01-23T04:51:57.972" v="6243" actId="20577"/>
          <ac:spMkLst>
            <pc:docMk/>
            <pc:sldMk cId="1351119352" sldId="2600"/>
            <ac:spMk id="16" creationId="{6C2BB713-9637-4B9B-938F-E9768876782A}"/>
          </ac:spMkLst>
        </pc:spChg>
      </pc:sldChg>
      <pc:sldChg chg="modSp add mod">
        <pc:chgData name="Aurelien Domont" userId="6da7715ce44349b3" providerId="LiveId" clId="{7CD043B0-6B74-4D9A-84AE-1D8FE229AAC4}" dt="2023-01-23T04:55:21.706" v="6307" actId="1035"/>
        <pc:sldMkLst>
          <pc:docMk/>
          <pc:sldMk cId="519061037" sldId="2601"/>
        </pc:sldMkLst>
        <pc:spChg chg="mod">
          <ac:chgData name="Aurelien Domont" userId="6da7715ce44349b3" providerId="LiveId" clId="{7CD043B0-6B74-4D9A-84AE-1D8FE229AAC4}" dt="2023-01-23T04:55:21.706" v="6307" actId="1035"/>
          <ac:spMkLst>
            <pc:docMk/>
            <pc:sldMk cId="519061037" sldId="2601"/>
            <ac:spMk id="66" creationId="{D2A8DFC7-27D0-2248-2089-0502807F476A}"/>
          </ac:spMkLst>
        </pc:spChg>
      </pc:sldChg>
      <pc:sldChg chg="modSp add mod">
        <pc:chgData name="Aurelien Domont" userId="6da7715ce44349b3" providerId="LiveId" clId="{7CD043B0-6B74-4D9A-84AE-1D8FE229AAC4}" dt="2023-01-24T03:19:02.413" v="6332" actId="20577"/>
        <pc:sldMkLst>
          <pc:docMk/>
          <pc:sldMk cId="4192037883" sldId="2602"/>
        </pc:sldMkLst>
        <pc:spChg chg="mod">
          <ac:chgData name="Aurelien Domont" userId="6da7715ce44349b3" providerId="LiveId" clId="{7CD043B0-6B74-4D9A-84AE-1D8FE229AAC4}" dt="2023-01-24T03:19:02.413" v="6332" actId="20577"/>
          <ac:spMkLst>
            <pc:docMk/>
            <pc:sldMk cId="4192037883" sldId="2602"/>
            <ac:spMk id="4" creationId="{471FDD12-2524-D2C4-61FC-BBD6D7EE5522}"/>
          </ac:spMkLst>
        </pc:spChg>
        <pc:spChg chg="mod">
          <ac:chgData name="Aurelien Domont" userId="6da7715ce44349b3" providerId="LiveId" clId="{7CD043B0-6B74-4D9A-84AE-1D8FE229AAC4}" dt="2023-01-24T03:15:10.516" v="6324" actId="20577"/>
          <ac:spMkLst>
            <pc:docMk/>
            <pc:sldMk cId="4192037883" sldId="2602"/>
            <ac:spMk id="16" creationId="{6C2BB713-9637-4B9B-938F-E9768876782A}"/>
          </ac:spMkLst>
        </pc:spChg>
      </pc:sldChg>
      <pc:sldChg chg="modSp add mod">
        <pc:chgData name="Aurelien Domont" userId="6da7715ce44349b3" providerId="LiveId" clId="{7CD043B0-6B74-4D9A-84AE-1D8FE229AAC4}" dt="2023-01-24T03:23:17.465" v="6366" actId="404"/>
        <pc:sldMkLst>
          <pc:docMk/>
          <pc:sldMk cId="2966377203" sldId="2603"/>
        </pc:sldMkLst>
        <pc:spChg chg="mod">
          <ac:chgData name="Aurelien Domont" userId="6da7715ce44349b3" providerId="LiveId" clId="{7CD043B0-6B74-4D9A-84AE-1D8FE229AAC4}" dt="2023-01-24T03:23:17.465" v="6366" actId="404"/>
          <ac:spMkLst>
            <pc:docMk/>
            <pc:sldMk cId="2966377203" sldId="2603"/>
            <ac:spMk id="4" creationId="{471FDD12-2524-D2C4-61FC-BBD6D7EE5522}"/>
          </ac:spMkLst>
        </pc:spChg>
        <pc:spChg chg="mod">
          <ac:chgData name="Aurelien Domont" userId="6da7715ce44349b3" providerId="LiveId" clId="{7CD043B0-6B74-4D9A-84AE-1D8FE229AAC4}" dt="2023-01-24T03:22:13.360" v="6350" actId="20577"/>
          <ac:spMkLst>
            <pc:docMk/>
            <pc:sldMk cId="2966377203" sldId="2603"/>
            <ac:spMk id="16" creationId="{6C2BB713-9637-4B9B-938F-E9768876782A}"/>
          </ac:spMkLst>
        </pc:spChg>
      </pc:sldChg>
      <pc:sldChg chg="modSp add mod">
        <pc:chgData name="Aurelien Domont" userId="6da7715ce44349b3" providerId="LiveId" clId="{7CD043B0-6B74-4D9A-84AE-1D8FE229AAC4}" dt="2023-01-24T03:31:12.237" v="6382" actId="1036"/>
        <pc:sldMkLst>
          <pc:docMk/>
          <pc:sldMk cId="3075035238" sldId="2604"/>
        </pc:sldMkLst>
        <pc:spChg chg="mod">
          <ac:chgData name="Aurelien Domont" userId="6da7715ce44349b3" providerId="LiveId" clId="{7CD043B0-6B74-4D9A-84AE-1D8FE229AAC4}" dt="2023-01-24T03:31:12.237" v="6382" actId="1036"/>
          <ac:spMkLst>
            <pc:docMk/>
            <pc:sldMk cId="3075035238" sldId="2604"/>
            <ac:spMk id="66" creationId="{D2A8DFC7-27D0-2248-2089-0502807F476A}"/>
          </ac:spMkLst>
        </pc:spChg>
      </pc:sldChg>
      <pc:sldChg chg="addSp modSp add mod">
        <pc:chgData name="Aurelien Domont" userId="6da7715ce44349b3" providerId="LiveId" clId="{7CD043B0-6B74-4D9A-84AE-1D8FE229AAC4}" dt="2023-01-26T05:37:30.614" v="9250" actId="20577"/>
        <pc:sldMkLst>
          <pc:docMk/>
          <pc:sldMk cId="1032995605" sldId="2605"/>
        </pc:sldMkLst>
        <pc:spChg chg="add mod">
          <ac:chgData name="Aurelien Domont" userId="6da7715ce44349b3" providerId="LiveId" clId="{7CD043B0-6B74-4D9A-84AE-1D8FE229AAC4}" dt="2023-01-26T05:37:30.614" v="9250" actId="20577"/>
          <ac:spMkLst>
            <pc:docMk/>
            <pc:sldMk cId="1032995605" sldId="2605"/>
            <ac:spMk id="2" creationId="{C574E71A-9E14-224D-4B94-60810B9129ED}"/>
          </ac:spMkLst>
        </pc:spChg>
      </pc:sldChg>
      <pc:sldChg chg="modSp add mod">
        <pc:chgData name="Aurelien Domont" userId="6da7715ce44349b3" providerId="LiveId" clId="{7CD043B0-6B74-4D9A-84AE-1D8FE229AAC4}" dt="2023-01-24T03:34:45.873" v="6533" actId="20577"/>
        <pc:sldMkLst>
          <pc:docMk/>
          <pc:sldMk cId="246641167" sldId="2606"/>
        </pc:sldMkLst>
        <pc:spChg chg="mod">
          <ac:chgData name="Aurelien Domont" userId="6da7715ce44349b3" providerId="LiveId" clId="{7CD043B0-6B74-4D9A-84AE-1D8FE229AAC4}" dt="2023-01-24T03:34:45.873" v="6533" actId="20577"/>
          <ac:spMkLst>
            <pc:docMk/>
            <pc:sldMk cId="246641167" sldId="2606"/>
            <ac:spMk id="4" creationId="{471FDD12-2524-D2C4-61FC-BBD6D7EE5522}"/>
          </ac:spMkLst>
        </pc:spChg>
        <pc:spChg chg="mod">
          <ac:chgData name="Aurelien Domont" userId="6da7715ce44349b3" providerId="LiveId" clId="{7CD043B0-6B74-4D9A-84AE-1D8FE229AAC4}" dt="2023-01-24T03:32:45.356" v="6522" actId="20577"/>
          <ac:spMkLst>
            <pc:docMk/>
            <pc:sldMk cId="246641167" sldId="2606"/>
            <ac:spMk id="16" creationId="{6C2BB713-9637-4B9B-938F-E9768876782A}"/>
          </ac:spMkLst>
        </pc:spChg>
      </pc:sldChg>
      <pc:sldChg chg="modSp add mod">
        <pc:chgData name="Aurelien Domont" userId="6da7715ce44349b3" providerId="LiveId" clId="{7CD043B0-6B74-4D9A-84AE-1D8FE229AAC4}" dt="2023-01-24T03:37:47.771" v="6560" actId="790"/>
        <pc:sldMkLst>
          <pc:docMk/>
          <pc:sldMk cId="4278786815" sldId="2607"/>
        </pc:sldMkLst>
        <pc:spChg chg="mod">
          <ac:chgData name="Aurelien Domont" userId="6da7715ce44349b3" providerId="LiveId" clId="{7CD043B0-6B74-4D9A-84AE-1D8FE229AAC4}" dt="2023-01-24T03:37:47.771" v="6560" actId="790"/>
          <ac:spMkLst>
            <pc:docMk/>
            <pc:sldMk cId="4278786815" sldId="2607"/>
            <ac:spMk id="4" creationId="{471FDD12-2524-D2C4-61FC-BBD6D7EE5522}"/>
          </ac:spMkLst>
        </pc:spChg>
        <pc:spChg chg="mod">
          <ac:chgData name="Aurelien Domont" userId="6da7715ce44349b3" providerId="LiveId" clId="{7CD043B0-6B74-4D9A-84AE-1D8FE229AAC4}" dt="2023-01-24T03:35:58.113" v="6552" actId="108"/>
          <ac:spMkLst>
            <pc:docMk/>
            <pc:sldMk cId="4278786815" sldId="2607"/>
            <ac:spMk id="16" creationId="{6C2BB713-9637-4B9B-938F-E9768876782A}"/>
          </ac:spMkLst>
        </pc:spChg>
      </pc:sldChg>
      <pc:sldChg chg="modSp add mod">
        <pc:chgData name="Aurelien Domont" userId="6da7715ce44349b3" providerId="LiveId" clId="{7CD043B0-6B74-4D9A-84AE-1D8FE229AAC4}" dt="2023-01-24T03:38:32.927" v="6574" actId="1036"/>
        <pc:sldMkLst>
          <pc:docMk/>
          <pc:sldMk cId="217879835" sldId="2608"/>
        </pc:sldMkLst>
        <pc:spChg chg="mod">
          <ac:chgData name="Aurelien Domont" userId="6da7715ce44349b3" providerId="LiveId" clId="{7CD043B0-6B74-4D9A-84AE-1D8FE229AAC4}" dt="2023-01-24T03:38:32.927" v="6574" actId="1036"/>
          <ac:spMkLst>
            <pc:docMk/>
            <pc:sldMk cId="217879835" sldId="2608"/>
            <ac:spMk id="66" creationId="{D2A8DFC7-27D0-2248-2089-0502807F476A}"/>
          </ac:spMkLst>
        </pc:spChg>
      </pc:sldChg>
      <pc:sldChg chg="modSp add mod">
        <pc:chgData name="Aurelien Domont" userId="6da7715ce44349b3" providerId="LiveId" clId="{7CD043B0-6B74-4D9A-84AE-1D8FE229AAC4}" dt="2023-01-24T03:45:31.626" v="6596" actId="20577"/>
        <pc:sldMkLst>
          <pc:docMk/>
          <pc:sldMk cId="1336764095" sldId="2609"/>
        </pc:sldMkLst>
        <pc:spChg chg="mod">
          <ac:chgData name="Aurelien Domont" userId="6da7715ce44349b3" providerId="LiveId" clId="{7CD043B0-6B74-4D9A-84AE-1D8FE229AAC4}" dt="2023-01-24T03:45:31.626" v="6596" actId="20577"/>
          <ac:spMkLst>
            <pc:docMk/>
            <pc:sldMk cId="1336764095" sldId="2609"/>
            <ac:spMk id="4" creationId="{471FDD12-2524-D2C4-61FC-BBD6D7EE5522}"/>
          </ac:spMkLst>
        </pc:spChg>
        <pc:spChg chg="mod">
          <ac:chgData name="Aurelien Domont" userId="6da7715ce44349b3" providerId="LiveId" clId="{7CD043B0-6B74-4D9A-84AE-1D8FE229AAC4}" dt="2023-01-24T03:41:39.844" v="6581" actId="20577"/>
          <ac:spMkLst>
            <pc:docMk/>
            <pc:sldMk cId="1336764095" sldId="2609"/>
            <ac:spMk id="16" creationId="{6C2BB713-9637-4B9B-938F-E9768876782A}"/>
          </ac:spMkLst>
        </pc:spChg>
      </pc:sldChg>
      <pc:sldChg chg="addSp delSp modSp add mod">
        <pc:chgData name="Aurelien Domont" userId="6da7715ce44349b3" providerId="LiveId" clId="{7CD043B0-6B74-4D9A-84AE-1D8FE229AAC4}" dt="2023-01-24T04:18:44.536" v="7520" actId="6549"/>
        <pc:sldMkLst>
          <pc:docMk/>
          <pc:sldMk cId="277450242" sldId="2610"/>
        </pc:sldMkLst>
        <pc:spChg chg="add mod">
          <ac:chgData name="Aurelien Domont" userId="6da7715ce44349b3" providerId="LiveId" clId="{7CD043B0-6B74-4D9A-84AE-1D8FE229AAC4}" dt="2023-01-24T03:54:06.052" v="6944" actId="207"/>
          <ac:spMkLst>
            <pc:docMk/>
            <pc:sldMk cId="277450242" sldId="2610"/>
            <ac:spMk id="2" creationId="{6B7F60F4-9FF5-1B3B-159D-F784999C17D2}"/>
          </ac:spMkLst>
        </pc:spChg>
        <pc:spChg chg="del">
          <ac:chgData name="Aurelien Domont" userId="6da7715ce44349b3" providerId="LiveId" clId="{7CD043B0-6B74-4D9A-84AE-1D8FE229AAC4}" dt="2023-01-24T03:45:45.716" v="6606" actId="478"/>
          <ac:spMkLst>
            <pc:docMk/>
            <pc:sldMk cId="277450242" sldId="2610"/>
            <ac:spMk id="4" creationId="{471FDD12-2524-D2C4-61FC-BBD6D7EE5522}"/>
          </ac:spMkLst>
        </pc:spChg>
        <pc:spChg chg="add mod">
          <ac:chgData name="Aurelien Domont" userId="6da7715ce44349b3" providerId="LiveId" clId="{7CD043B0-6B74-4D9A-84AE-1D8FE229AAC4}" dt="2023-01-24T03:54:06.052" v="6944" actId="207"/>
          <ac:spMkLst>
            <pc:docMk/>
            <pc:sldMk cId="277450242" sldId="2610"/>
            <ac:spMk id="5" creationId="{6A3F040E-6D77-DABF-F423-FA6198F37263}"/>
          </ac:spMkLst>
        </pc:spChg>
        <pc:spChg chg="add mod">
          <ac:chgData name="Aurelien Domont" userId="6da7715ce44349b3" providerId="LiveId" clId="{7CD043B0-6B74-4D9A-84AE-1D8FE229AAC4}" dt="2023-01-24T03:54:06.052" v="6944" actId="207"/>
          <ac:spMkLst>
            <pc:docMk/>
            <pc:sldMk cId="277450242" sldId="2610"/>
            <ac:spMk id="6" creationId="{0289E888-4220-A71B-A8DA-A13493E6CDA5}"/>
          </ac:spMkLst>
        </pc:spChg>
        <pc:spChg chg="add mod">
          <ac:chgData name="Aurelien Domont" userId="6da7715ce44349b3" providerId="LiveId" clId="{7CD043B0-6B74-4D9A-84AE-1D8FE229AAC4}" dt="2023-01-24T03:54:06.052" v="6944" actId="207"/>
          <ac:spMkLst>
            <pc:docMk/>
            <pc:sldMk cId="277450242" sldId="2610"/>
            <ac:spMk id="7" creationId="{C25EAB6F-543A-8CE1-9695-F107CD9AC22E}"/>
          </ac:spMkLst>
        </pc:spChg>
        <pc:spChg chg="add mod">
          <ac:chgData name="Aurelien Domont" userId="6da7715ce44349b3" providerId="LiveId" clId="{7CD043B0-6B74-4D9A-84AE-1D8FE229AAC4}" dt="2023-01-24T04:08:00.314" v="7112" actId="20577"/>
          <ac:spMkLst>
            <pc:docMk/>
            <pc:sldMk cId="277450242" sldId="2610"/>
            <ac:spMk id="8" creationId="{1E491249-7FAF-8144-58F5-70A10F4F1A99}"/>
          </ac:spMkLst>
        </pc:spChg>
        <pc:spChg chg="add mod">
          <ac:chgData name="Aurelien Domont" userId="6da7715ce44349b3" providerId="LiveId" clId="{7CD043B0-6B74-4D9A-84AE-1D8FE229AAC4}" dt="2023-01-24T04:17:54.578" v="7415" actId="20577"/>
          <ac:spMkLst>
            <pc:docMk/>
            <pc:sldMk cId="277450242" sldId="2610"/>
            <ac:spMk id="9" creationId="{699E57FB-28C7-C0DD-8DCD-92441590B55C}"/>
          </ac:spMkLst>
        </pc:spChg>
        <pc:spChg chg="add mod">
          <ac:chgData name="Aurelien Domont" userId="6da7715ce44349b3" providerId="LiveId" clId="{7CD043B0-6B74-4D9A-84AE-1D8FE229AAC4}" dt="2023-01-24T04:17:12.580" v="7408" actId="108"/>
          <ac:spMkLst>
            <pc:docMk/>
            <pc:sldMk cId="277450242" sldId="2610"/>
            <ac:spMk id="10" creationId="{15994503-9D7E-6456-4959-559230941CF0}"/>
          </ac:spMkLst>
        </pc:spChg>
        <pc:spChg chg="add mod">
          <ac:chgData name="Aurelien Domont" userId="6da7715ce44349b3" providerId="LiveId" clId="{7CD043B0-6B74-4D9A-84AE-1D8FE229AAC4}" dt="2023-01-24T04:18:44.536" v="7520" actId="6549"/>
          <ac:spMkLst>
            <pc:docMk/>
            <pc:sldMk cId="277450242" sldId="2610"/>
            <ac:spMk id="11" creationId="{C0597167-B0C5-3D69-80E7-9B937F4E9395}"/>
          </ac:spMkLst>
        </pc:spChg>
        <pc:spChg chg="add mod">
          <ac:chgData name="Aurelien Domont" userId="6da7715ce44349b3" providerId="LiveId" clId="{7CD043B0-6B74-4D9A-84AE-1D8FE229AAC4}" dt="2023-01-24T03:50:40.936" v="6906" actId="404"/>
          <ac:spMkLst>
            <pc:docMk/>
            <pc:sldMk cId="277450242" sldId="2610"/>
            <ac:spMk id="12" creationId="{A46E202C-509D-9121-7F39-32D504EFE336}"/>
          </ac:spMkLst>
        </pc:spChg>
        <pc:spChg chg="mod">
          <ac:chgData name="Aurelien Domont" userId="6da7715ce44349b3" providerId="LiveId" clId="{7CD043B0-6B74-4D9A-84AE-1D8FE229AAC4}" dt="2023-01-24T03:48:20.546" v="6679" actId="20577"/>
          <ac:spMkLst>
            <pc:docMk/>
            <pc:sldMk cId="277450242" sldId="2610"/>
            <ac:spMk id="16" creationId="{6C2BB713-9637-4B9B-938F-E9768876782A}"/>
          </ac:spMkLst>
        </pc:spChg>
        <pc:spChg chg="add mod">
          <ac:chgData name="Aurelien Domont" userId="6da7715ce44349b3" providerId="LiveId" clId="{7CD043B0-6B74-4D9A-84AE-1D8FE229AAC4}" dt="2023-01-24T03:54:10.336" v="6945" actId="207"/>
          <ac:spMkLst>
            <pc:docMk/>
            <pc:sldMk cId="277450242" sldId="2610"/>
            <ac:spMk id="21" creationId="{91216224-C40A-29D7-2484-46A15ADC4882}"/>
          </ac:spMkLst>
        </pc:spChg>
        <pc:spChg chg="add mod">
          <ac:chgData name="Aurelien Domont" userId="6da7715ce44349b3" providerId="LiveId" clId="{7CD043B0-6B74-4D9A-84AE-1D8FE229AAC4}" dt="2023-01-24T04:00:33.536" v="6969" actId="1076"/>
          <ac:spMkLst>
            <pc:docMk/>
            <pc:sldMk cId="277450242" sldId="2610"/>
            <ac:spMk id="28" creationId="{2BA754E0-B153-9CC1-CCAC-43C396302B18}"/>
          </ac:spMkLst>
        </pc:spChg>
        <pc:picChg chg="add del mod">
          <ac:chgData name="Aurelien Domont" userId="6da7715ce44349b3" providerId="LiveId" clId="{7CD043B0-6B74-4D9A-84AE-1D8FE229AAC4}" dt="2023-01-24T03:52:59.438" v="6934" actId="931"/>
          <ac:picMkLst>
            <pc:docMk/>
            <pc:sldMk cId="277450242" sldId="2610"/>
            <ac:picMk id="15" creationId="{CD43B51F-485F-A29C-CEDE-A0B34920C88B}"/>
          </ac:picMkLst>
        </pc:picChg>
        <pc:picChg chg="add del mod">
          <ac:chgData name="Aurelien Domont" userId="6da7715ce44349b3" providerId="LiveId" clId="{7CD043B0-6B74-4D9A-84AE-1D8FE229AAC4}" dt="2023-01-24T03:52:59.438" v="6934" actId="931"/>
          <ac:picMkLst>
            <pc:docMk/>
            <pc:sldMk cId="277450242" sldId="2610"/>
            <ac:picMk id="18" creationId="{A8932DC4-716F-63C3-E037-7868EC98704D}"/>
          </ac:picMkLst>
        </pc:picChg>
        <pc:picChg chg="add del mod">
          <ac:chgData name="Aurelien Domont" userId="6da7715ce44349b3" providerId="LiveId" clId="{7CD043B0-6B74-4D9A-84AE-1D8FE229AAC4}" dt="2023-01-24T03:52:59.438" v="6934" actId="931"/>
          <ac:picMkLst>
            <pc:docMk/>
            <pc:sldMk cId="277450242" sldId="2610"/>
            <ac:picMk id="20" creationId="{45A764EF-7F82-03F9-28A8-6CF3E9829E43}"/>
          </ac:picMkLst>
        </pc:picChg>
        <pc:picChg chg="add mod">
          <ac:chgData name="Aurelien Domont" userId="6da7715ce44349b3" providerId="LiveId" clId="{7CD043B0-6B74-4D9A-84AE-1D8FE229AAC4}" dt="2023-01-24T03:59:17.417" v="6954" actId="1038"/>
          <ac:picMkLst>
            <pc:docMk/>
            <pc:sldMk cId="277450242" sldId="2610"/>
            <ac:picMk id="23" creationId="{259B05FA-A233-02DA-CF12-565A9EDB2A21}"/>
          </ac:picMkLst>
        </pc:picChg>
        <pc:picChg chg="add del mod">
          <ac:chgData name="Aurelien Domont" userId="6da7715ce44349b3" providerId="LiveId" clId="{7CD043B0-6B74-4D9A-84AE-1D8FE229AAC4}" dt="2023-01-24T04:00:02.401" v="6962" actId="478"/>
          <ac:picMkLst>
            <pc:docMk/>
            <pc:sldMk cId="277450242" sldId="2610"/>
            <ac:picMk id="25" creationId="{1D294CD8-890A-CED1-E9D1-B04482CF863D}"/>
          </ac:picMkLst>
        </pc:picChg>
        <pc:picChg chg="add mod">
          <ac:chgData name="Aurelien Domont" userId="6da7715ce44349b3" providerId="LiveId" clId="{7CD043B0-6B74-4D9A-84AE-1D8FE229AAC4}" dt="2023-01-24T04:00:06.604" v="6964" actId="1076"/>
          <ac:picMkLst>
            <pc:docMk/>
            <pc:sldMk cId="277450242" sldId="2610"/>
            <ac:picMk id="27" creationId="{F5AE51D4-41A0-C5B1-E028-271E95EE0C40}"/>
          </ac:picMkLst>
        </pc:picChg>
      </pc:sldChg>
      <pc:sldChg chg="modSp add del mod ord">
        <pc:chgData name="Aurelien Domont" userId="6da7715ce44349b3" providerId="LiveId" clId="{7CD043B0-6B74-4D9A-84AE-1D8FE229AAC4}" dt="2023-01-25T01:48:08.299" v="7726" actId="2696"/>
        <pc:sldMkLst>
          <pc:docMk/>
          <pc:sldMk cId="823456626" sldId="2611"/>
        </pc:sldMkLst>
        <pc:spChg chg="mod">
          <ac:chgData name="Aurelien Domont" userId="6da7715ce44349b3" providerId="LiveId" clId="{7CD043B0-6B74-4D9A-84AE-1D8FE229AAC4}" dt="2023-01-25T01:41:58.333" v="7630" actId="207"/>
          <ac:spMkLst>
            <pc:docMk/>
            <pc:sldMk cId="823456626" sldId="2611"/>
            <ac:spMk id="39" creationId="{58E523E7-77EB-DDEE-1729-E95DBA068009}"/>
          </ac:spMkLst>
        </pc:spChg>
        <pc:spChg chg="mod">
          <ac:chgData name="Aurelien Domont" userId="6da7715ce44349b3" providerId="LiveId" clId="{7CD043B0-6B74-4D9A-84AE-1D8FE229AAC4}" dt="2023-01-25T01:42:14.946" v="7642" actId="1037"/>
          <ac:spMkLst>
            <pc:docMk/>
            <pc:sldMk cId="823456626" sldId="2611"/>
            <ac:spMk id="50" creationId="{200F08AB-786B-A8A2-67DF-30AF26BDC1BD}"/>
          </ac:spMkLst>
        </pc:spChg>
        <pc:spChg chg="mod">
          <ac:chgData name="Aurelien Domont" userId="6da7715ce44349b3" providerId="LiveId" clId="{7CD043B0-6B74-4D9A-84AE-1D8FE229AAC4}" dt="2023-01-25T01:42:08.829" v="7632" actId="14100"/>
          <ac:spMkLst>
            <pc:docMk/>
            <pc:sldMk cId="823456626" sldId="2611"/>
            <ac:spMk id="66" creationId="{D2A8DFC7-27D0-2248-2089-0502807F476A}"/>
          </ac:spMkLst>
        </pc:spChg>
      </pc:sldChg>
      <pc:sldChg chg="modSp add mod">
        <pc:chgData name="Aurelien Domont" userId="6da7715ce44349b3" providerId="LiveId" clId="{7CD043B0-6B74-4D9A-84AE-1D8FE229AAC4}" dt="2023-01-25T03:39:56.186" v="7829" actId="207"/>
        <pc:sldMkLst>
          <pc:docMk/>
          <pc:sldMk cId="1203881852" sldId="2611"/>
        </pc:sldMkLst>
        <pc:spChg chg="mod">
          <ac:chgData name="Aurelien Domont" userId="6da7715ce44349b3" providerId="LiveId" clId="{7CD043B0-6B74-4D9A-84AE-1D8FE229AAC4}" dt="2023-01-25T03:39:56.186" v="7829" actId="207"/>
          <ac:spMkLst>
            <pc:docMk/>
            <pc:sldMk cId="1203881852" sldId="2611"/>
            <ac:spMk id="38" creationId="{439383D9-25CD-1FE7-1C6E-E98D4A6F6CEF}"/>
          </ac:spMkLst>
        </pc:spChg>
      </pc:sldChg>
      <pc:sldChg chg="modSp add mod">
        <pc:chgData name="Aurelien Domont" userId="6da7715ce44349b3" providerId="LiveId" clId="{7CD043B0-6B74-4D9A-84AE-1D8FE229AAC4}" dt="2023-01-25T01:45:30.943" v="7687" actId="14100"/>
        <pc:sldMkLst>
          <pc:docMk/>
          <pc:sldMk cId="699144254" sldId="2612"/>
        </pc:sldMkLst>
        <pc:spChg chg="mod">
          <ac:chgData name="Aurelien Domont" userId="6da7715ce44349b3" providerId="LiveId" clId="{7CD043B0-6B74-4D9A-84AE-1D8FE229AAC4}" dt="2023-01-25T01:45:30.943" v="7687" actId="14100"/>
          <ac:spMkLst>
            <pc:docMk/>
            <pc:sldMk cId="699144254" sldId="2612"/>
            <ac:spMk id="66" creationId="{D2A8DFC7-27D0-2248-2089-0502807F476A}"/>
          </ac:spMkLst>
        </pc:spChg>
      </pc:sldChg>
      <pc:sldChg chg="delSp modSp add mod">
        <pc:chgData name="Aurelien Domont" userId="6da7715ce44349b3" providerId="LiveId" clId="{7CD043B0-6B74-4D9A-84AE-1D8FE229AAC4}" dt="2023-01-25T01:47:14.442" v="7721" actId="478"/>
        <pc:sldMkLst>
          <pc:docMk/>
          <pc:sldMk cId="950384843" sldId="2613"/>
        </pc:sldMkLst>
        <pc:spChg chg="del">
          <ac:chgData name="Aurelien Domont" userId="6da7715ce44349b3" providerId="LiveId" clId="{7CD043B0-6B74-4D9A-84AE-1D8FE229AAC4}" dt="2023-01-25T01:47:12.263" v="7720" actId="478"/>
          <ac:spMkLst>
            <pc:docMk/>
            <pc:sldMk cId="950384843" sldId="2613"/>
            <ac:spMk id="8" creationId="{13A6DBCB-C42F-B229-17FE-D02925B70835}"/>
          </ac:spMkLst>
        </pc:spChg>
        <pc:spChg chg="del">
          <ac:chgData name="Aurelien Domont" userId="6da7715ce44349b3" providerId="LiveId" clId="{7CD043B0-6B74-4D9A-84AE-1D8FE229AAC4}" dt="2023-01-25T01:47:12.263" v="7720" actId="478"/>
          <ac:spMkLst>
            <pc:docMk/>
            <pc:sldMk cId="950384843" sldId="2613"/>
            <ac:spMk id="9" creationId="{DB384705-5919-E1CA-C580-27EDC02B6868}"/>
          </ac:spMkLst>
        </pc:spChg>
        <pc:spChg chg="del">
          <ac:chgData name="Aurelien Domont" userId="6da7715ce44349b3" providerId="LiveId" clId="{7CD043B0-6B74-4D9A-84AE-1D8FE229AAC4}" dt="2023-01-25T01:47:12.263" v="7720" actId="478"/>
          <ac:spMkLst>
            <pc:docMk/>
            <pc:sldMk cId="950384843" sldId="2613"/>
            <ac:spMk id="11" creationId="{857D3225-6E1B-128F-3967-1902EFD2488A}"/>
          </ac:spMkLst>
        </pc:spChg>
        <pc:spChg chg="del">
          <ac:chgData name="Aurelien Domont" userId="6da7715ce44349b3" providerId="LiveId" clId="{7CD043B0-6B74-4D9A-84AE-1D8FE229AAC4}" dt="2023-01-25T01:47:12.263" v="7720" actId="478"/>
          <ac:spMkLst>
            <pc:docMk/>
            <pc:sldMk cId="950384843" sldId="2613"/>
            <ac:spMk id="14" creationId="{26CBF222-8884-175D-CD45-9D256C962366}"/>
          </ac:spMkLst>
        </pc:spChg>
        <pc:spChg chg="del">
          <ac:chgData name="Aurelien Domont" userId="6da7715ce44349b3" providerId="LiveId" clId="{7CD043B0-6B74-4D9A-84AE-1D8FE229AAC4}" dt="2023-01-25T01:47:12.263" v="7720" actId="478"/>
          <ac:spMkLst>
            <pc:docMk/>
            <pc:sldMk cId="950384843" sldId="2613"/>
            <ac:spMk id="15" creationId="{F5870C62-82E3-B029-5642-4C1ABC063083}"/>
          </ac:spMkLst>
        </pc:spChg>
        <pc:spChg chg="mod">
          <ac:chgData name="Aurelien Domont" userId="6da7715ce44349b3" providerId="LiveId" clId="{7CD043B0-6B74-4D9A-84AE-1D8FE229AAC4}" dt="2023-01-25T01:46:38.873" v="7702" actId="6549"/>
          <ac:spMkLst>
            <pc:docMk/>
            <pc:sldMk cId="950384843" sldId="2613"/>
            <ac:spMk id="16" creationId="{6C2BB713-9637-4B9B-938F-E9768876782A}"/>
          </ac:spMkLst>
        </pc:spChg>
        <pc:spChg chg="del">
          <ac:chgData name="Aurelien Domont" userId="6da7715ce44349b3" providerId="LiveId" clId="{7CD043B0-6B74-4D9A-84AE-1D8FE229AAC4}" dt="2023-01-25T01:47:12.263" v="7720" actId="478"/>
          <ac:spMkLst>
            <pc:docMk/>
            <pc:sldMk cId="950384843" sldId="2613"/>
            <ac:spMk id="17" creationId="{E932874B-6481-E66C-7162-E0118663A724}"/>
          </ac:spMkLst>
        </pc:spChg>
        <pc:spChg chg="del">
          <ac:chgData name="Aurelien Domont" userId="6da7715ce44349b3" providerId="LiveId" clId="{7CD043B0-6B74-4D9A-84AE-1D8FE229AAC4}" dt="2023-01-25T01:47:14.442" v="7721" actId="478"/>
          <ac:spMkLst>
            <pc:docMk/>
            <pc:sldMk cId="950384843" sldId="2613"/>
            <ac:spMk id="18" creationId="{A766C355-E442-BDB7-AC73-BFF4CCA3F0D9}"/>
          </ac:spMkLst>
        </pc:spChg>
        <pc:spChg chg="del">
          <ac:chgData name="Aurelien Domont" userId="6da7715ce44349b3" providerId="LiveId" clId="{7CD043B0-6B74-4D9A-84AE-1D8FE229AAC4}" dt="2023-01-25T01:47:09.408" v="7719" actId="478"/>
          <ac:spMkLst>
            <pc:docMk/>
            <pc:sldMk cId="950384843" sldId="2613"/>
            <ac:spMk id="19" creationId="{683FE2CD-1D5E-7A86-4F94-3A4019209C1F}"/>
          </ac:spMkLst>
        </pc:spChg>
        <pc:spChg chg="del">
          <ac:chgData name="Aurelien Domont" userId="6da7715ce44349b3" providerId="LiveId" clId="{7CD043B0-6B74-4D9A-84AE-1D8FE229AAC4}" dt="2023-01-25T01:47:12.263" v="7720" actId="478"/>
          <ac:spMkLst>
            <pc:docMk/>
            <pc:sldMk cId="950384843" sldId="2613"/>
            <ac:spMk id="22" creationId="{4D90C436-0C39-975C-CD57-190535908880}"/>
          </ac:spMkLst>
        </pc:spChg>
        <pc:spChg chg="del">
          <ac:chgData name="Aurelien Domont" userId="6da7715ce44349b3" providerId="LiveId" clId="{7CD043B0-6B74-4D9A-84AE-1D8FE229AAC4}" dt="2023-01-25T01:47:12.263" v="7720" actId="478"/>
          <ac:spMkLst>
            <pc:docMk/>
            <pc:sldMk cId="950384843" sldId="2613"/>
            <ac:spMk id="23" creationId="{BBBF1FAA-071B-8EFB-027D-B19AF83662BE}"/>
          </ac:spMkLst>
        </pc:spChg>
        <pc:spChg chg="del">
          <ac:chgData name="Aurelien Domont" userId="6da7715ce44349b3" providerId="LiveId" clId="{7CD043B0-6B74-4D9A-84AE-1D8FE229AAC4}" dt="2023-01-25T01:47:12.263" v="7720" actId="478"/>
          <ac:spMkLst>
            <pc:docMk/>
            <pc:sldMk cId="950384843" sldId="2613"/>
            <ac:spMk id="24" creationId="{2EEB31C6-E4EF-107C-22DF-B32B1CF1D727}"/>
          </ac:spMkLst>
        </pc:spChg>
        <pc:spChg chg="del">
          <ac:chgData name="Aurelien Domont" userId="6da7715ce44349b3" providerId="LiveId" clId="{7CD043B0-6B74-4D9A-84AE-1D8FE229AAC4}" dt="2023-01-25T01:47:12.263" v="7720" actId="478"/>
          <ac:spMkLst>
            <pc:docMk/>
            <pc:sldMk cId="950384843" sldId="2613"/>
            <ac:spMk id="25" creationId="{A6335613-6525-986E-6249-BED2A22A1D76}"/>
          </ac:spMkLst>
        </pc:spChg>
        <pc:spChg chg="del">
          <ac:chgData name="Aurelien Domont" userId="6da7715ce44349b3" providerId="LiveId" clId="{7CD043B0-6B74-4D9A-84AE-1D8FE229AAC4}" dt="2023-01-25T01:47:12.263" v="7720" actId="478"/>
          <ac:spMkLst>
            <pc:docMk/>
            <pc:sldMk cId="950384843" sldId="2613"/>
            <ac:spMk id="26" creationId="{954E2405-4063-3265-490E-679F6328ACC2}"/>
          </ac:spMkLst>
        </pc:spChg>
        <pc:spChg chg="del">
          <ac:chgData name="Aurelien Domont" userId="6da7715ce44349b3" providerId="LiveId" clId="{7CD043B0-6B74-4D9A-84AE-1D8FE229AAC4}" dt="2023-01-25T01:47:12.263" v="7720" actId="478"/>
          <ac:spMkLst>
            <pc:docMk/>
            <pc:sldMk cId="950384843" sldId="2613"/>
            <ac:spMk id="27" creationId="{7D0E4E9C-1BCA-9A2C-D391-B34472133880}"/>
          </ac:spMkLst>
        </pc:spChg>
        <pc:spChg chg="del">
          <ac:chgData name="Aurelien Domont" userId="6da7715ce44349b3" providerId="LiveId" clId="{7CD043B0-6B74-4D9A-84AE-1D8FE229AAC4}" dt="2023-01-25T01:47:14.442" v="7721" actId="478"/>
          <ac:spMkLst>
            <pc:docMk/>
            <pc:sldMk cId="950384843" sldId="2613"/>
            <ac:spMk id="28" creationId="{E22F3F39-AFBE-D287-2A64-E3EABF1D83A0}"/>
          </ac:spMkLst>
        </pc:spChg>
        <pc:spChg chg="del">
          <ac:chgData name="Aurelien Domont" userId="6da7715ce44349b3" providerId="LiveId" clId="{7CD043B0-6B74-4D9A-84AE-1D8FE229AAC4}" dt="2023-01-25T01:47:14.442" v="7721" actId="478"/>
          <ac:spMkLst>
            <pc:docMk/>
            <pc:sldMk cId="950384843" sldId="2613"/>
            <ac:spMk id="29" creationId="{44FA5AB6-CF64-8808-C090-A8E511397592}"/>
          </ac:spMkLst>
        </pc:spChg>
        <pc:spChg chg="del">
          <ac:chgData name="Aurelien Domont" userId="6da7715ce44349b3" providerId="LiveId" clId="{7CD043B0-6B74-4D9A-84AE-1D8FE229AAC4}" dt="2023-01-25T01:47:14.442" v="7721" actId="478"/>
          <ac:spMkLst>
            <pc:docMk/>
            <pc:sldMk cId="950384843" sldId="2613"/>
            <ac:spMk id="30" creationId="{61E30337-BDFD-1097-E720-0FB6555FE99C}"/>
          </ac:spMkLst>
        </pc:spChg>
        <pc:spChg chg="del">
          <ac:chgData name="Aurelien Domont" userId="6da7715ce44349b3" providerId="LiveId" clId="{7CD043B0-6B74-4D9A-84AE-1D8FE229AAC4}" dt="2023-01-25T01:47:14.442" v="7721" actId="478"/>
          <ac:spMkLst>
            <pc:docMk/>
            <pc:sldMk cId="950384843" sldId="2613"/>
            <ac:spMk id="32" creationId="{2266FD37-6505-8EC1-1718-4988AD8E0F04}"/>
          </ac:spMkLst>
        </pc:spChg>
        <pc:spChg chg="del">
          <ac:chgData name="Aurelien Domont" userId="6da7715ce44349b3" providerId="LiveId" clId="{7CD043B0-6B74-4D9A-84AE-1D8FE229AAC4}" dt="2023-01-25T01:47:14.442" v="7721" actId="478"/>
          <ac:spMkLst>
            <pc:docMk/>
            <pc:sldMk cId="950384843" sldId="2613"/>
            <ac:spMk id="33" creationId="{A30EF7F6-A748-C695-107A-42B2295213B7}"/>
          </ac:spMkLst>
        </pc:spChg>
        <pc:spChg chg="del">
          <ac:chgData name="Aurelien Domont" userId="6da7715ce44349b3" providerId="LiveId" clId="{7CD043B0-6B74-4D9A-84AE-1D8FE229AAC4}" dt="2023-01-25T01:47:14.442" v="7721" actId="478"/>
          <ac:spMkLst>
            <pc:docMk/>
            <pc:sldMk cId="950384843" sldId="2613"/>
            <ac:spMk id="34" creationId="{1746E22F-176B-03C9-50C8-C9254D6618FA}"/>
          </ac:spMkLst>
        </pc:spChg>
        <pc:spChg chg="del">
          <ac:chgData name="Aurelien Domont" userId="6da7715ce44349b3" providerId="LiveId" clId="{7CD043B0-6B74-4D9A-84AE-1D8FE229AAC4}" dt="2023-01-25T01:47:07.319" v="7718" actId="478"/>
          <ac:spMkLst>
            <pc:docMk/>
            <pc:sldMk cId="950384843" sldId="2613"/>
            <ac:spMk id="36" creationId="{CD2BDADE-9575-5538-BA27-2AF03A21DEC9}"/>
          </ac:spMkLst>
        </pc:spChg>
        <pc:spChg chg="del">
          <ac:chgData name="Aurelien Domont" userId="6da7715ce44349b3" providerId="LiveId" clId="{7CD043B0-6B74-4D9A-84AE-1D8FE229AAC4}" dt="2023-01-25T01:47:07.319" v="7718" actId="478"/>
          <ac:spMkLst>
            <pc:docMk/>
            <pc:sldMk cId="950384843" sldId="2613"/>
            <ac:spMk id="37" creationId="{99B66B4A-1476-D359-A181-EA41C80A4CBC}"/>
          </ac:spMkLst>
        </pc:spChg>
        <pc:spChg chg="del">
          <ac:chgData name="Aurelien Domont" userId="6da7715ce44349b3" providerId="LiveId" clId="{7CD043B0-6B74-4D9A-84AE-1D8FE229AAC4}" dt="2023-01-25T01:47:12.263" v="7720" actId="478"/>
          <ac:spMkLst>
            <pc:docMk/>
            <pc:sldMk cId="950384843" sldId="2613"/>
            <ac:spMk id="38" creationId="{7DFE3EAC-9160-907D-F27D-0E2309EB0476}"/>
          </ac:spMkLst>
        </pc:spChg>
        <pc:spChg chg="del">
          <ac:chgData name="Aurelien Domont" userId="6da7715ce44349b3" providerId="LiveId" clId="{7CD043B0-6B74-4D9A-84AE-1D8FE229AAC4}" dt="2023-01-25T01:47:07.319" v="7718" actId="478"/>
          <ac:spMkLst>
            <pc:docMk/>
            <pc:sldMk cId="950384843" sldId="2613"/>
            <ac:spMk id="40" creationId="{4D87EC78-3C51-667E-6301-BC7F4FE57040}"/>
          </ac:spMkLst>
        </pc:spChg>
        <pc:spChg chg="del">
          <ac:chgData name="Aurelien Domont" userId="6da7715ce44349b3" providerId="LiveId" clId="{7CD043B0-6B74-4D9A-84AE-1D8FE229AAC4}" dt="2023-01-25T01:47:05.736" v="7717" actId="478"/>
          <ac:spMkLst>
            <pc:docMk/>
            <pc:sldMk cId="950384843" sldId="2613"/>
            <ac:spMk id="41" creationId="{4D0E4771-44C7-20D1-0C7E-B1B12E30B0CC}"/>
          </ac:spMkLst>
        </pc:spChg>
        <pc:spChg chg="del">
          <ac:chgData name="Aurelien Domont" userId="6da7715ce44349b3" providerId="LiveId" clId="{7CD043B0-6B74-4D9A-84AE-1D8FE229AAC4}" dt="2023-01-25T01:47:07.319" v="7718" actId="478"/>
          <ac:spMkLst>
            <pc:docMk/>
            <pc:sldMk cId="950384843" sldId="2613"/>
            <ac:spMk id="42" creationId="{D874BBB3-362C-0BF4-3108-6565798365B9}"/>
          </ac:spMkLst>
        </pc:spChg>
      </pc:sldChg>
      <pc:sldChg chg="modSp add mod">
        <pc:chgData name="Aurelien Domont" userId="6da7715ce44349b3" providerId="LiveId" clId="{7CD043B0-6B74-4D9A-84AE-1D8FE229AAC4}" dt="2023-01-25T01:47:33.935" v="7722" actId="6549"/>
        <pc:sldMkLst>
          <pc:docMk/>
          <pc:sldMk cId="4093862865" sldId="2614"/>
        </pc:sldMkLst>
        <pc:spChg chg="mod">
          <ac:chgData name="Aurelien Domont" userId="6da7715ce44349b3" providerId="LiveId" clId="{7CD043B0-6B74-4D9A-84AE-1D8FE229AAC4}" dt="2023-01-25T01:46:52.812" v="7716" actId="313"/>
          <ac:spMkLst>
            <pc:docMk/>
            <pc:sldMk cId="4093862865" sldId="2614"/>
            <ac:spMk id="16" creationId="{6C2BB713-9637-4B9B-938F-E9768876782A}"/>
          </ac:spMkLst>
        </pc:spChg>
        <pc:spChg chg="mod">
          <ac:chgData name="Aurelien Domont" userId="6da7715ce44349b3" providerId="LiveId" clId="{7CD043B0-6B74-4D9A-84AE-1D8FE229AAC4}" dt="2023-01-25T01:47:33.935" v="7722" actId="6549"/>
          <ac:spMkLst>
            <pc:docMk/>
            <pc:sldMk cId="4093862865" sldId="2614"/>
            <ac:spMk id="19" creationId="{683FE2CD-1D5E-7A86-4F94-3A4019209C1F}"/>
          </ac:spMkLst>
        </pc:spChg>
      </pc:sldChg>
      <pc:sldChg chg="addSp delSp modSp add mod">
        <pc:chgData name="Aurelien Domont" userId="6da7715ce44349b3" providerId="LiveId" clId="{7CD043B0-6B74-4D9A-84AE-1D8FE229AAC4}" dt="2023-01-25T03:40:11.684" v="7830" actId="207"/>
        <pc:sldMkLst>
          <pc:docMk/>
          <pc:sldMk cId="271808611" sldId="2615"/>
        </pc:sldMkLst>
        <pc:spChg chg="add del mod">
          <ac:chgData name="Aurelien Domont" userId="6da7715ce44349b3" providerId="LiveId" clId="{7CD043B0-6B74-4D9A-84AE-1D8FE229AAC4}" dt="2023-01-25T03:38:18.881" v="7760" actId="478"/>
          <ac:spMkLst>
            <pc:docMk/>
            <pc:sldMk cId="271808611" sldId="2615"/>
            <ac:spMk id="4" creationId="{C812AEF3-63A2-02DC-8B6C-7797F1476133}"/>
          </ac:spMkLst>
        </pc:spChg>
        <pc:spChg chg="mod">
          <ac:chgData name="Aurelien Domont" userId="6da7715ce44349b3" providerId="LiveId" clId="{7CD043B0-6B74-4D9A-84AE-1D8FE229AAC4}" dt="2023-01-25T03:40:11.684" v="7830" actId="207"/>
          <ac:spMkLst>
            <pc:docMk/>
            <pc:sldMk cId="271808611" sldId="2615"/>
            <ac:spMk id="38" creationId="{439383D9-25CD-1FE7-1C6E-E98D4A6F6CEF}"/>
          </ac:spMkLst>
        </pc:spChg>
        <pc:spChg chg="mod">
          <ac:chgData name="Aurelien Domont" userId="6da7715ce44349b3" providerId="LiveId" clId="{7CD043B0-6B74-4D9A-84AE-1D8FE229AAC4}" dt="2023-01-25T01:48:40.706" v="7756" actId="14100"/>
          <ac:spMkLst>
            <pc:docMk/>
            <pc:sldMk cId="271808611" sldId="2615"/>
            <ac:spMk id="66" creationId="{D2A8DFC7-27D0-2248-2089-0502807F476A}"/>
          </ac:spMkLst>
        </pc:spChg>
      </pc:sldChg>
      <pc:sldChg chg="modSp add mod">
        <pc:chgData name="Aurelien Domont" userId="6da7715ce44349b3" providerId="LiveId" clId="{7CD043B0-6B74-4D9A-84AE-1D8FE229AAC4}" dt="2023-01-25T03:40:15.568" v="7831" actId="207"/>
        <pc:sldMkLst>
          <pc:docMk/>
          <pc:sldMk cId="4216206616" sldId="2616"/>
        </pc:sldMkLst>
        <pc:spChg chg="mod">
          <ac:chgData name="Aurelien Domont" userId="6da7715ce44349b3" providerId="LiveId" clId="{7CD043B0-6B74-4D9A-84AE-1D8FE229AAC4}" dt="2023-01-25T03:38:51.629" v="7828" actId="313"/>
          <ac:spMkLst>
            <pc:docMk/>
            <pc:sldMk cId="4216206616" sldId="2616"/>
            <ac:spMk id="4" creationId="{C812AEF3-63A2-02DC-8B6C-7797F1476133}"/>
          </ac:spMkLst>
        </pc:spChg>
        <pc:spChg chg="mod">
          <ac:chgData name="Aurelien Domont" userId="6da7715ce44349b3" providerId="LiveId" clId="{7CD043B0-6B74-4D9A-84AE-1D8FE229AAC4}" dt="2023-01-25T03:40:15.568" v="7831" actId="207"/>
          <ac:spMkLst>
            <pc:docMk/>
            <pc:sldMk cId="4216206616" sldId="2616"/>
            <ac:spMk id="38" creationId="{439383D9-25CD-1FE7-1C6E-E98D4A6F6CEF}"/>
          </ac:spMkLst>
        </pc:spChg>
      </pc:sldChg>
      <pc:sldChg chg="modSp add mod">
        <pc:chgData name="Aurelien Domont" userId="6da7715ce44349b3" providerId="LiveId" clId="{7CD043B0-6B74-4D9A-84AE-1D8FE229AAC4}" dt="2023-01-25T03:40:43.951" v="7851" actId="1035"/>
        <pc:sldMkLst>
          <pc:docMk/>
          <pc:sldMk cId="521784118" sldId="2617"/>
        </pc:sldMkLst>
        <pc:spChg chg="mod">
          <ac:chgData name="Aurelien Domont" userId="6da7715ce44349b3" providerId="LiveId" clId="{7CD043B0-6B74-4D9A-84AE-1D8FE229AAC4}" dt="2023-01-25T03:40:43.951" v="7851" actId="1035"/>
          <ac:spMkLst>
            <pc:docMk/>
            <pc:sldMk cId="521784118" sldId="2617"/>
            <ac:spMk id="66" creationId="{D2A8DFC7-27D0-2248-2089-0502807F476A}"/>
          </ac:spMkLst>
        </pc:spChg>
      </pc:sldChg>
      <pc:sldChg chg="modSp add mod">
        <pc:chgData name="Aurelien Domont" userId="6da7715ce44349b3" providerId="LiveId" clId="{7CD043B0-6B74-4D9A-84AE-1D8FE229AAC4}" dt="2023-01-25T03:44:20.426" v="7864" actId="20577"/>
        <pc:sldMkLst>
          <pc:docMk/>
          <pc:sldMk cId="883288700" sldId="2618"/>
        </pc:sldMkLst>
        <pc:spChg chg="mod">
          <ac:chgData name="Aurelien Domont" userId="6da7715ce44349b3" providerId="LiveId" clId="{7CD043B0-6B74-4D9A-84AE-1D8FE229AAC4}" dt="2023-01-25T03:44:20.426" v="7864" actId="20577"/>
          <ac:spMkLst>
            <pc:docMk/>
            <pc:sldMk cId="883288700" sldId="2618"/>
            <ac:spMk id="4" creationId="{471FDD12-2524-D2C4-61FC-BBD6D7EE5522}"/>
          </ac:spMkLst>
        </pc:spChg>
        <pc:spChg chg="mod">
          <ac:chgData name="Aurelien Domont" userId="6da7715ce44349b3" providerId="LiveId" clId="{7CD043B0-6B74-4D9A-84AE-1D8FE229AAC4}" dt="2023-01-25T03:42:14.156" v="7856" actId="27636"/>
          <ac:spMkLst>
            <pc:docMk/>
            <pc:sldMk cId="883288700" sldId="2618"/>
            <ac:spMk id="16" creationId="{6C2BB713-9637-4B9B-938F-E9768876782A}"/>
          </ac:spMkLst>
        </pc:spChg>
      </pc:sldChg>
      <pc:sldChg chg="modSp add mod">
        <pc:chgData name="Aurelien Domont" userId="6da7715ce44349b3" providerId="LiveId" clId="{7CD043B0-6B74-4D9A-84AE-1D8FE229AAC4}" dt="2023-01-25T03:47:46.491" v="7905" actId="1035"/>
        <pc:sldMkLst>
          <pc:docMk/>
          <pc:sldMk cId="1477443042" sldId="2619"/>
        </pc:sldMkLst>
        <pc:spChg chg="mod">
          <ac:chgData name="Aurelien Domont" userId="6da7715ce44349b3" providerId="LiveId" clId="{7CD043B0-6B74-4D9A-84AE-1D8FE229AAC4}" dt="2023-01-25T03:47:46.491" v="7905" actId="1035"/>
          <ac:spMkLst>
            <pc:docMk/>
            <pc:sldMk cId="1477443042" sldId="2619"/>
            <ac:spMk id="4" creationId="{471FDD12-2524-D2C4-61FC-BBD6D7EE5522}"/>
          </ac:spMkLst>
        </pc:spChg>
        <pc:spChg chg="mod">
          <ac:chgData name="Aurelien Domont" userId="6da7715ce44349b3" providerId="LiveId" clId="{7CD043B0-6B74-4D9A-84AE-1D8FE229AAC4}" dt="2023-01-25T03:46:16.455" v="7895" actId="113"/>
          <ac:spMkLst>
            <pc:docMk/>
            <pc:sldMk cId="1477443042" sldId="2619"/>
            <ac:spMk id="16" creationId="{6C2BB713-9637-4B9B-938F-E9768876782A}"/>
          </ac:spMkLst>
        </pc:spChg>
      </pc:sldChg>
      <pc:sldChg chg="modSp add mod">
        <pc:chgData name="Aurelien Domont" userId="6da7715ce44349b3" providerId="LiveId" clId="{7CD043B0-6B74-4D9A-84AE-1D8FE229AAC4}" dt="2023-01-25T03:48:04.850" v="7920" actId="1036"/>
        <pc:sldMkLst>
          <pc:docMk/>
          <pc:sldMk cId="3090989609" sldId="2620"/>
        </pc:sldMkLst>
        <pc:spChg chg="mod">
          <ac:chgData name="Aurelien Domont" userId="6da7715ce44349b3" providerId="LiveId" clId="{7CD043B0-6B74-4D9A-84AE-1D8FE229AAC4}" dt="2023-01-25T03:48:04.850" v="7920" actId="1036"/>
          <ac:spMkLst>
            <pc:docMk/>
            <pc:sldMk cId="3090989609" sldId="2620"/>
            <ac:spMk id="66" creationId="{D2A8DFC7-27D0-2248-2089-0502807F476A}"/>
          </ac:spMkLst>
        </pc:spChg>
      </pc:sldChg>
      <pc:sldChg chg="modSp add mod">
        <pc:chgData name="Aurelien Domont" userId="6da7715ce44349b3" providerId="LiveId" clId="{7CD043B0-6B74-4D9A-84AE-1D8FE229AAC4}" dt="2023-01-25T03:49:42.077" v="7945" actId="20577"/>
        <pc:sldMkLst>
          <pc:docMk/>
          <pc:sldMk cId="145987337" sldId="2621"/>
        </pc:sldMkLst>
        <pc:spChg chg="mod">
          <ac:chgData name="Aurelien Domont" userId="6da7715ce44349b3" providerId="LiveId" clId="{7CD043B0-6B74-4D9A-84AE-1D8FE229AAC4}" dt="2023-01-25T03:49:42.077" v="7945" actId="20577"/>
          <ac:spMkLst>
            <pc:docMk/>
            <pc:sldMk cId="145987337" sldId="2621"/>
            <ac:spMk id="4" creationId="{471FDD12-2524-D2C4-61FC-BBD6D7EE5522}"/>
          </ac:spMkLst>
        </pc:spChg>
        <pc:spChg chg="mod">
          <ac:chgData name="Aurelien Domont" userId="6da7715ce44349b3" providerId="LiveId" clId="{7CD043B0-6B74-4D9A-84AE-1D8FE229AAC4}" dt="2023-01-25T03:48:17.092" v="7928" actId="6549"/>
          <ac:spMkLst>
            <pc:docMk/>
            <pc:sldMk cId="145987337" sldId="2621"/>
            <ac:spMk id="16" creationId="{6C2BB713-9637-4B9B-938F-E9768876782A}"/>
          </ac:spMkLst>
        </pc:spChg>
      </pc:sldChg>
      <pc:sldChg chg="modSp add mod">
        <pc:chgData name="Aurelien Domont" userId="6da7715ce44349b3" providerId="LiveId" clId="{7CD043B0-6B74-4D9A-84AE-1D8FE229AAC4}" dt="2023-01-25T03:53:31.070" v="7951" actId="255"/>
        <pc:sldMkLst>
          <pc:docMk/>
          <pc:sldMk cId="930751640" sldId="2622"/>
        </pc:sldMkLst>
        <pc:spChg chg="mod">
          <ac:chgData name="Aurelien Domont" userId="6da7715ce44349b3" providerId="LiveId" clId="{7CD043B0-6B74-4D9A-84AE-1D8FE229AAC4}" dt="2023-01-25T03:53:31.070" v="7951" actId="255"/>
          <ac:spMkLst>
            <pc:docMk/>
            <pc:sldMk cId="930751640" sldId="2622"/>
            <ac:spMk id="4" creationId="{471FDD12-2524-D2C4-61FC-BBD6D7EE5522}"/>
          </ac:spMkLst>
        </pc:spChg>
        <pc:spChg chg="mod">
          <ac:chgData name="Aurelien Domont" userId="6da7715ce44349b3" providerId="LiveId" clId="{7CD043B0-6B74-4D9A-84AE-1D8FE229AAC4}" dt="2023-01-25T03:48:25.933" v="7938" actId="20577"/>
          <ac:spMkLst>
            <pc:docMk/>
            <pc:sldMk cId="930751640" sldId="2622"/>
            <ac:spMk id="16" creationId="{6C2BB713-9637-4B9B-938F-E9768876782A}"/>
          </ac:spMkLst>
        </pc:spChg>
      </pc:sldChg>
      <pc:sldChg chg="addSp delSp modSp add mod ord">
        <pc:chgData name="Aurelien Domont" userId="6da7715ce44349b3" providerId="LiveId" clId="{7CD043B0-6B74-4D9A-84AE-1D8FE229AAC4}" dt="2023-01-25T03:59:01.868" v="7982"/>
        <pc:sldMkLst>
          <pc:docMk/>
          <pc:sldMk cId="647264979" sldId="2623"/>
        </pc:sldMkLst>
        <pc:spChg chg="add del mod ord">
          <ac:chgData name="Aurelien Domont" userId="6da7715ce44349b3" providerId="LiveId" clId="{7CD043B0-6B74-4D9A-84AE-1D8FE229AAC4}" dt="2023-01-25T03:58:39.973" v="7980" actId="478"/>
          <ac:spMkLst>
            <pc:docMk/>
            <pc:sldMk cId="647264979" sldId="2623"/>
            <ac:spMk id="4" creationId="{AD6A28A7-DD6A-FF12-4C07-5D8C55339D0C}"/>
          </ac:spMkLst>
        </pc:spChg>
        <pc:spChg chg="mod">
          <ac:chgData name="Aurelien Domont" userId="6da7715ce44349b3" providerId="LiveId" clId="{7CD043B0-6B74-4D9A-84AE-1D8FE229AAC4}" dt="2023-01-25T03:53:56.715" v="7954" actId="207"/>
          <ac:spMkLst>
            <pc:docMk/>
            <pc:sldMk cId="647264979" sldId="2623"/>
            <ac:spMk id="39" creationId="{58E523E7-77EB-DDEE-1729-E95DBA068009}"/>
          </ac:spMkLst>
        </pc:spChg>
        <pc:spChg chg="mod">
          <ac:chgData name="Aurelien Domont" userId="6da7715ce44349b3" providerId="LiveId" clId="{7CD043B0-6B74-4D9A-84AE-1D8FE229AAC4}" dt="2023-01-25T03:54:00.772" v="7955" actId="207"/>
          <ac:spMkLst>
            <pc:docMk/>
            <pc:sldMk cId="647264979" sldId="2623"/>
            <ac:spMk id="41" creationId="{37E5E3B0-C14B-75FD-FAA8-E8B4173EF925}"/>
          </ac:spMkLst>
        </pc:spChg>
        <pc:spChg chg="mod">
          <ac:chgData name="Aurelien Domont" userId="6da7715ce44349b3" providerId="LiveId" clId="{7CD043B0-6B74-4D9A-84AE-1D8FE229AAC4}" dt="2023-01-25T03:58:38.106" v="7979" actId="1035"/>
          <ac:spMkLst>
            <pc:docMk/>
            <pc:sldMk cId="647264979" sldId="2623"/>
            <ac:spMk id="66" creationId="{D2A8DFC7-27D0-2248-2089-0502807F476A}"/>
          </ac:spMkLst>
        </pc:spChg>
      </pc:sldChg>
      <pc:sldChg chg="delSp add mod ord">
        <pc:chgData name="Aurelien Domont" userId="6da7715ce44349b3" providerId="LiveId" clId="{7CD043B0-6B74-4D9A-84AE-1D8FE229AAC4}" dt="2023-01-25T03:59:05.080" v="7985" actId="478"/>
        <pc:sldMkLst>
          <pc:docMk/>
          <pc:sldMk cId="1875087816" sldId="2624"/>
        </pc:sldMkLst>
        <pc:spChg chg="del">
          <ac:chgData name="Aurelien Domont" userId="6da7715ce44349b3" providerId="LiveId" clId="{7CD043B0-6B74-4D9A-84AE-1D8FE229AAC4}" dt="2023-01-25T03:59:05.080" v="7985" actId="478"/>
          <ac:spMkLst>
            <pc:docMk/>
            <pc:sldMk cId="1875087816" sldId="2624"/>
            <ac:spMk id="66" creationId="{D2A8DFC7-27D0-2248-2089-0502807F476A}"/>
          </ac:spMkLst>
        </pc:spChg>
      </pc:sldChg>
      <pc:sldChg chg="modSp add mod">
        <pc:chgData name="Aurelien Domont" userId="6da7715ce44349b3" providerId="LiveId" clId="{7CD043B0-6B74-4D9A-84AE-1D8FE229AAC4}" dt="2023-01-25T04:10:37.363" v="8065" actId="20577"/>
        <pc:sldMkLst>
          <pc:docMk/>
          <pc:sldMk cId="2288615205" sldId="2625"/>
        </pc:sldMkLst>
        <pc:spChg chg="mod">
          <ac:chgData name="Aurelien Domont" userId="6da7715ce44349b3" providerId="LiveId" clId="{7CD043B0-6B74-4D9A-84AE-1D8FE229AAC4}" dt="2023-01-25T04:10:37.363" v="8065" actId="20577"/>
          <ac:spMkLst>
            <pc:docMk/>
            <pc:sldMk cId="2288615205" sldId="2625"/>
            <ac:spMk id="4" creationId="{471FDD12-2524-D2C4-61FC-BBD6D7EE5522}"/>
          </ac:spMkLst>
        </pc:spChg>
        <pc:spChg chg="mod">
          <ac:chgData name="Aurelien Domont" userId="6da7715ce44349b3" providerId="LiveId" clId="{7CD043B0-6B74-4D9A-84AE-1D8FE229AAC4}" dt="2023-01-25T04:00:42.423" v="7999" actId="20577"/>
          <ac:spMkLst>
            <pc:docMk/>
            <pc:sldMk cId="2288615205" sldId="2625"/>
            <ac:spMk id="16" creationId="{6C2BB713-9637-4B9B-938F-E9768876782A}"/>
          </ac:spMkLst>
        </pc:spChg>
      </pc:sldChg>
      <pc:sldChg chg="addSp delSp modSp add del mod">
        <pc:chgData name="Aurelien Domont" userId="6da7715ce44349b3" providerId="LiveId" clId="{7CD043B0-6B74-4D9A-84AE-1D8FE229AAC4}" dt="2023-01-25T04:24:09.481" v="8376" actId="47"/>
        <pc:sldMkLst>
          <pc:docMk/>
          <pc:sldMk cId="2970965617" sldId="2626"/>
        </pc:sldMkLst>
        <pc:spChg chg="add del mod topLvl">
          <ac:chgData name="Aurelien Domont" userId="6da7715ce44349b3" providerId="LiveId" clId="{7CD043B0-6B74-4D9A-84AE-1D8FE229AAC4}" dt="2023-01-25T04:09:33.522" v="8028" actId="478"/>
          <ac:spMkLst>
            <pc:docMk/>
            <pc:sldMk cId="2970965617" sldId="2626"/>
            <ac:spMk id="2" creationId="{62633987-78BB-2265-D4CC-BC573116E120}"/>
          </ac:spMkLst>
        </pc:spChg>
        <pc:spChg chg="del mod">
          <ac:chgData name="Aurelien Domont" userId="6da7715ce44349b3" providerId="LiveId" clId="{7CD043B0-6B74-4D9A-84AE-1D8FE229AAC4}" dt="2023-01-25T04:07:23.221" v="8011" actId="478"/>
          <ac:spMkLst>
            <pc:docMk/>
            <pc:sldMk cId="2970965617" sldId="2626"/>
            <ac:spMk id="4" creationId="{471FDD12-2524-D2C4-61FC-BBD6D7EE5522}"/>
          </ac:spMkLst>
        </pc:spChg>
        <pc:spChg chg="add del mod topLvl">
          <ac:chgData name="Aurelien Domont" userId="6da7715ce44349b3" providerId="LiveId" clId="{7CD043B0-6B74-4D9A-84AE-1D8FE229AAC4}" dt="2023-01-25T04:09:33.522" v="8028" actId="478"/>
          <ac:spMkLst>
            <pc:docMk/>
            <pc:sldMk cId="2970965617" sldId="2626"/>
            <ac:spMk id="5" creationId="{290637DC-E6E8-C9CD-D7E7-148EDD61DB64}"/>
          </ac:spMkLst>
        </pc:spChg>
        <pc:spChg chg="add del mod topLvl">
          <ac:chgData name="Aurelien Domont" userId="6da7715ce44349b3" providerId="LiveId" clId="{7CD043B0-6B74-4D9A-84AE-1D8FE229AAC4}" dt="2023-01-25T04:09:33.522" v="8028" actId="478"/>
          <ac:spMkLst>
            <pc:docMk/>
            <pc:sldMk cId="2970965617" sldId="2626"/>
            <ac:spMk id="6" creationId="{A646A00A-21BA-5D18-FA53-F513513B8026}"/>
          </ac:spMkLst>
        </pc:spChg>
        <pc:spChg chg="add del mod topLvl">
          <ac:chgData name="Aurelien Domont" userId="6da7715ce44349b3" providerId="LiveId" clId="{7CD043B0-6B74-4D9A-84AE-1D8FE229AAC4}" dt="2023-01-25T04:09:33.522" v="8028" actId="478"/>
          <ac:spMkLst>
            <pc:docMk/>
            <pc:sldMk cId="2970965617" sldId="2626"/>
            <ac:spMk id="7" creationId="{1277C11B-ECD0-D205-1A99-40CCF25AFD54}"/>
          </ac:spMkLst>
        </pc:spChg>
        <pc:spChg chg="add mod topLvl">
          <ac:chgData name="Aurelien Domont" userId="6da7715ce44349b3" providerId="LiveId" clId="{7CD043B0-6B74-4D9A-84AE-1D8FE229AAC4}" dt="2023-01-25T04:23:06.182" v="8372" actId="14100"/>
          <ac:spMkLst>
            <pc:docMk/>
            <pc:sldMk cId="2970965617" sldId="2626"/>
            <ac:spMk id="8" creationId="{A33457AB-9F08-D8B5-5AEB-00FE15EA6B66}"/>
          </ac:spMkLst>
        </pc:spChg>
        <pc:spChg chg="add mod topLvl">
          <ac:chgData name="Aurelien Domont" userId="6da7715ce44349b3" providerId="LiveId" clId="{7CD043B0-6B74-4D9A-84AE-1D8FE229AAC4}" dt="2023-01-25T04:17:13.271" v="8292"/>
          <ac:spMkLst>
            <pc:docMk/>
            <pc:sldMk cId="2970965617" sldId="2626"/>
            <ac:spMk id="9" creationId="{DB3A0E10-E9F1-B0CC-A9A4-45C921965FF5}"/>
          </ac:spMkLst>
        </pc:spChg>
        <pc:spChg chg="add del mod topLvl">
          <ac:chgData name="Aurelien Domont" userId="6da7715ce44349b3" providerId="LiveId" clId="{7CD043B0-6B74-4D9A-84AE-1D8FE229AAC4}" dt="2023-01-25T04:09:33.522" v="8028" actId="478"/>
          <ac:spMkLst>
            <pc:docMk/>
            <pc:sldMk cId="2970965617" sldId="2626"/>
            <ac:spMk id="10" creationId="{B4D63EF2-8670-1699-877B-F6345C6C4492}"/>
          </ac:spMkLst>
        </pc:spChg>
        <pc:spChg chg="add del mod topLvl">
          <ac:chgData name="Aurelien Domont" userId="6da7715ce44349b3" providerId="LiveId" clId="{7CD043B0-6B74-4D9A-84AE-1D8FE229AAC4}" dt="2023-01-25T04:09:33.522" v="8028" actId="478"/>
          <ac:spMkLst>
            <pc:docMk/>
            <pc:sldMk cId="2970965617" sldId="2626"/>
            <ac:spMk id="11" creationId="{B6BF7F6A-ADD8-7243-3735-442897AE0637}"/>
          </ac:spMkLst>
        </pc:spChg>
        <pc:spChg chg="add del mod topLvl">
          <ac:chgData name="Aurelien Domont" userId="6da7715ce44349b3" providerId="LiveId" clId="{7CD043B0-6B74-4D9A-84AE-1D8FE229AAC4}" dt="2023-01-25T04:09:33.522" v="8028" actId="478"/>
          <ac:spMkLst>
            <pc:docMk/>
            <pc:sldMk cId="2970965617" sldId="2626"/>
            <ac:spMk id="12" creationId="{719F25E4-8A19-F318-EB37-5163D6DFDCE7}"/>
          </ac:spMkLst>
        </pc:spChg>
        <pc:spChg chg="mod">
          <ac:chgData name="Aurelien Domont" userId="6da7715ce44349b3" providerId="LiveId" clId="{7CD043B0-6B74-4D9A-84AE-1D8FE229AAC4}" dt="2023-01-25T04:16:19.996" v="8273" actId="20577"/>
          <ac:spMkLst>
            <pc:docMk/>
            <pc:sldMk cId="2970965617" sldId="2626"/>
            <ac:spMk id="16" creationId="{6C2BB713-9637-4B9B-938F-E9768876782A}"/>
          </ac:spMkLst>
        </pc:spChg>
        <pc:spChg chg="add del mod topLvl">
          <ac:chgData name="Aurelien Domont" userId="6da7715ce44349b3" providerId="LiveId" clId="{7CD043B0-6B74-4D9A-84AE-1D8FE229AAC4}" dt="2023-01-25T04:09:33.522" v="8028" actId="478"/>
          <ac:spMkLst>
            <pc:docMk/>
            <pc:sldMk cId="2970965617" sldId="2626"/>
            <ac:spMk id="23" creationId="{301775C3-8AD2-5512-4688-B4E97E499E92}"/>
          </ac:spMkLst>
        </pc:spChg>
        <pc:spChg chg="add mod">
          <ac:chgData name="Aurelien Domont" userId="6da7715ce44349b3" providerId="LiveId" clId="{7CD043B0-6B74-4D9A-84AE-1D8FE229AAC4}" dt="2023-01-25T04:22:41.045" v="8369" actId="14100"/>
          <ac:spMkLst>
            <pc:docMk/>
            <pc:sldMk cId="2970965617" sldId="2626"/>
            <ac:spMk id="25" creationId="{FA9C52EA-B905-7531-5F30-80BE2BC954CB}"/>
          </ac:spMkLst>
        </pc:spChg>
        <pc:spChg chg="add mod">
          <ac:chgData name="Aurelien Domont" userId="6da7715ce44349b3" providerId="LiveId" clId="{7CD043B0-6B74-4D9A-84AE-1D8FE229AAC4}" dt="2023-01-25T04:22:41.045" v="8369" actId="14100"/>
          <ac:spMkLst>
            <pc:docMk/>
            <pc:sldMk cId="2970965617" sldId="2626"/>
            <ac:spMk id="26" creationId="{A9E1070C-DEFD-4EE3-3A93-C1E8584394DA}"/>
          </ac:spMkLst>
        </pc:spChg>
        <pc:spChg chg="add mod">
          <ac:chgData name="Aurelien Domont" userId="6da7715ce44349b3" providerId="LiveId" clId="{7CD043B0-6B74-4D9A-84AE-1D8FE229AAC4}" dt="2023-01-25T04:24:00.665" v="8375" actId="14100"/>
          <ac:spMkLst>
            <pc:docMk/>
            <pc:sldMk cId="2970965617" sldId="2626"/>
            <ac:spMk id="27" creationId="{4470E640-B807-0FB9-18CE-D3C9B20E04E0}"/>
          </ac:spMkLst>
        </pc:spChg>
        <pc:spChg chg="add mod">
          <ac:chgData name="Aurelien Domont" userId="6da7715ce44349b3" providerId="LiveId" clId="{7CD043B0-6B74-4D9A-84AE-1D8FE229AAC4}" dt="2023-01-25T04:22:34.106" v="8368" actId="14100"/>
          <ac:spMkLst>
            <pc:docMk/>
            <pc:sldMk cId="2970965617" sldId="2626"/>
            <ac:spMk id="28" creationId="{FB05AA96-C243-D603-05DE-FE1F22B64702}"/>
          </ac:spMkLst>
        </pc:spChg>
        <pc:spChg chg="add mod">
          <ac:chgData name="Aurelien Domont" userId="6da7715ce44349b3" providerId="LiveId" clId="{7CD043B0-6B74-4D9A-84AE-1D8FE229AAC4}" dt="2023-01-25T04:24:00.665" v="8375" actId="14100"/>
          <ac:spMkLst>
            <pc:docMk/>
            <pc:sldMk cId="2970965617" sldId="2626"/>
            <ac:spMk id="31" creationId="{4B0A2597-4E9B-73C9-7627-43F333C10BFB}"/>
          </ac:spMkLst>
        </pc:spChg>
        <pc:grpChg chg="add del mod">
          <ac:chgData name="Aurelien Domont" userId="6da7715ce44349b3" providerId="LiveId" clId="{7CD043B0-6B74-4D9A-84AE-1D8FE229AAC4}" dt="2023-01-25T04:09:30.456" v="8027" actId="165"/>
          <ac:grpSpMkLst>
            <pc:docMk/>
            <pc:sldMk cId="2970965617" sldId="2626"/>
            <ac:grpSpMk id="24" creationId="{81DF9486-07D3-76CC-7AF8-AC439F964232}"/>
          </ac:grpSpMkLst>
        </pc:grpChg>
        <pc:picChg chg="add del mod topLvl">
          <ac:chgData name="Aurelien Domont" userId="6da7715ce44349b3" providerId="LiveId" clId="{7CD043B0-6B74-4D9A-84AE-1D8FE229AAC4}" dt="2023-01-25T04:09:33.522" v="8028" actId="478"/>
          <ac:picMkLst>
            <pc:docMk/>
            <pc:sldMk cId="2970965617" sldId="2626"/>
            <ac:picMk id="14" creationId="{77E1726B-F2CC-F89B-053C-9A544A7A7392}"/>
          </ac:picMkLst>
        </pc:picChg>
        <pc:picChg chg="add del mod topLvl">
          <ac:chgData name="Aurelien Domont" userId="6da7715ce44349b3" providerId="LiveId" clId="{7CD043B0-6B74-4D9A-84AE-1D8FE229AAC4}" dt="2023-01-25T04:09:33.522" v="8028" actId="478"/>
          <ac:picMkLst>
            <pc:docMk/>
            <pc:sldMk cId="2970965617" sldId="2626"/>
            <ac:picMk id="15" creationId="{2A8B1D01-E0F5-C587-A441-D360E5E5408C}"/>
          </ac:picMkLst>
        </pc:picChg>
        <pc:picChg chg="add del mod topLvl">
          <ac:chgData name="Aurelien Domont" userId="6da7715ce44349b3" providerId="LiveId" clId="{7CD043B0-6B74-4D9A-84AE-1D8FE229AAC4}" dt="2023-01-25T04:09:33.522" v="8028" actId="478"/>
          <ac:picMkLst>
            <pc:docMk/>
            <pc:sldMk cId="2970965617" sldId="2626"/>
            <ac:picMk id="17" creationId="{80D2D887-8576-B1B9-D7FF-21D225BB8873}"/>
          </ac:picMkLst>
        </pc:picChg>
        <pc:picChg chg="add del mod topLvl">
          <ac:chgData name="Aurelien Domont" userId="6da7715ce44349b3" providerId="LiveId" clId="{7CD043B0-6B74-4D9A-84AE-1D8FE229AAC4}" dt="2023-01-25T04:09:33.522" v="8028" actId="478"/>
          <ac:picMkLst>
            <pc:docMk/>
            <pc:sldMk cId="2970965617" sldId="2626"/>
            <ac:picMk id="18" creationId="{E16EEADD-3EA9-11CE-6E8B-CB828D0089BD}"/>
          </ac:picMkLst>
        </pc:picChg>
        <pc:picChg chg="add del mod topLvl">
          <ac:chgData name="Aurelien Domont" userId="6da7715ce44349b3" providerId="LiveId" clId="{7CD043B0-6B74-4D9A-84AE-1D8FE229AAC4}" dt="2023-01-25T04:09:33.522" v="8028" actId="478"/>
          <ac:picMkLst>
            <pc:docMk/>
            <pc:sldMk cId="2970965617" sldId="2626"/>
            <ac:picMk id="19" creationId="{02793890-E148-9A66-929B-D3D94B5A9B40}"/>
          </ac:picMkLst>
        </pc:picChg>
        <pc:picChg chg="add mod topLvl">
          <ac:chgData name="Aurelien Domont" userId="6da7715ce44349b3" providerId="LiveId" clId="{7CD043B0-6B74-4D9A-84AE-1D8FE229AAC4}" dt="2023-01-25T04:09:47.501" v="8063" actId="1076"/>
          <ac:picMkLst>
            <pc:docMk/>
            <pc:sldMk cId="2970965617" sldId="2626"/>
            <ac:picMk id="20" creationId="{98D4700B-052B-510D-7CC2-A141BD977A8F}"/>
          </ac:picMkLst>
        </pc:picChg>
        <pc:picChg chg="add mod topLvl">
          <ac:chgData name="Aurelien Domont" userId="6da7715ce44349b3" providerId="LiveId" clId="{7CD043B0-6B74-4D9A-84AE-1D8FE229AAC4}" dt="2023-01-25T04:09:47.501" v="8063" actId="1076"/>
          <ac:picMkLst>
            <pc:docMk/>
            <pc:sldMk cId="2970965617" sldId="2626"/>
            <ac:picMk id="21" creationId="{585B81F8-CDCB-1A5E-2732-A0908A5B2392}"/>
          </ac:picMkLst>
        </pc:picChg>
        <pc:picChg chg="add del mod topLvl">
          <ac:chgData name="Aurelien Domont" userId="6da7715ce44349b3" providerId="LiveId" clId="{7CD043B0-6B74-4D9A-84AE-1D8FE229AAC4}" dt="2023-01-25T04:09:33.522" v="8028" actId="478"/>
          <ac:picMkLst>
            <pc:docMk/>
            <pc:sldMk cId="2970965617" sldId="2626"/>
            <ac:picMk id="22" creationId="{435218F8-DA85-3A72-B8B5-6B63C4742370}"/>
          </ac:picMkLst>
        </pc:picChg>
        <pc:picChg chg="add mod">
          <ac:chgData name="Aurelien Domont" userId="6da7715ce44349b3" providerId="LiveId" clId="{7CD043B0-6B74-4D9A-84AE-1D8FE229AAC4}" dt="2023-01-25T04:18:00.305" v="8293" actId="571"/>
          <ac:picMkLst>
            <pc:docMk/>
            <pc:sldMk cId="2970965617" sldId="2626"/>
            <ac:picMk id="29" creationId="{81B58B82-E109-3E3B-CABD-213B7EAA8427}"/>
          </ac:picMkLst>
        </pc:picChg>
        <pc:picChg chg="add mod">
          <ac:chgData name="Aurelien Domont" userId="6da7715ce44349b3" providerId="LiveId" clId="{7CD043B0-6B74-4D9A-84AE-1D8FE229AAC4}" dt="2023-01-25T04:18:00.305" v="8293" actId="571"/>
          <ac:picMkLst>
            <pc:docMk/>
            <pc:sldMk cId="2970965617" sldId="2626"/>
            <ac:picMk id="30" creationId="{DFE28CE9-3B43-7F8D-A03A-13D04B21F62D}"/>
          </ac:picMkLst>
        </pc:picChg>
        <pc:picChg chg="add mod">
          <ac:chgData name="Aurelien Domont" userId="6da7715ce44349b3" providerId="LiveId" clId="{7CD043B0-6B74-4D9A-84AE-1D8FE229AAC4}" dt="2023-01-25T04:23:56.831" v="8374" actId="571"/>
          <ac:picMkLst>
            <pc:docMk/>
            <pc:sldMk cId="2970965617" sldId="2626"/>
            <ac:picMk id="32" creationId="{4F397789-C4AD-00F6-6B5A-BB861E446A0C}"/>
          </ac:picMkLst>
        </pc:picChg>
      </pc:sldChg>
      <pc:sldChg chg="addSp delSp modSp add mod">
        <pc:chgData name="Aurelien Domont" userId="6da7715ce44349b3" providerId="LiveId" clId="{7CD043B0-6B74-4D9A-84AE-1D8FE229AAC4}" dt="2023-01-25T04:29:52.591" v="8622" actId="14100"/>
        <pc:sldMkLst>
          <pc:docMk/>
          <pc:sldMk cId="3024276857" sldId="2627"/>
        </pc:sldMkLst>
        <pc:spChg chg="mod">
          <ac:chgData name="Aurelien Domont" userId="6da7715ce44349b3" providerId="LiveId" clId="{7CD043B0-6B74-4D9A-84AE-1D8FE229AAC4}" dt="2023-01-25T04:26:40.504" v="8592" actId="108"/>
          <ac:spMkLst>
            <pc:docMk/>
            <pc:sldMk cId="3024276857" sldId="2627"/>
            <ac:spMk id="9" creationId="{DB3A0E10-E9F1-B0CC-A9A4-45C921965FF5}"/>
          </ac:spMkLst>
        </pc:spChg>
        <pc:spChg chg="mod">
          <ac:chgData name="Aurelien Domont" userId="6da7715ce44349b3" providerId="LiveId" clId="{7CD043B0-6B74-4D9A-84AE-1D8FE229AAC4}" dt="2023-01-25T04:25:03.425" v="8415" actId="20577"/>
          <ac:spMkLst>
            <pc:docMk/>
            <pc:sldMk cId="3024276857" sldId="2627"/>
            <ac:spMk id="25" creationId="{FA9C52EA-B905-7531-5F30-80BE2BC954CB}"/>
          </ac:spMkLst>
        </pc:spChg>
        <pc:picChg chg="add mod">
          <ac:chgData name="Aurelien Domont" userId="6da7715ce44349b3" providerId="LiveId" clId="{7CD043B0-6B74-4D9A-84AE-1D8FE229AAC4}" dt="2023-01-25T04:28:25.860" v="8605" actId="1076"/>
          <ac:picMkLst>
            <pc:docMk/>
            <pc:sldMk cId="3024276857" sldId="2627"/>
            <ac:picMk id="4" creationId="{2985995B-FBF1-4E35-DAD0-C1A2D93ECE70}"/>
          </ac:picMkLst>
        </pc:picChg>
        <pc:picChg chg="add mod">
          <ac:chgData name="Aurelien Domont" userId="6da7715ce44349b3" providerId="LiveId" clId="{7CD043B0-6B74-4D9A-84AE-1D8FE229AAC4}" dt="2023-01-25T04:28:23.160" v="8604" actId="1076"/>
          <ac:picMkLst>
            <pc:docMk/>
            <pc:sldMk cId="3024276857" sldId="2627"/>
            <ac:picMk id="6" creationId="{16A587FE-DBD9-386F-6E20-3CBA4CD2911A}"/>
          </ac:picMkLst>
        </pc:picChg>
        <pc:picChg chg="add mod">
          <ac:chgData name="Aurelien Domont" userId="6da7715ce44349b3" providerId="LiveId" clId="{7CD043B0-6B74-4D9A-84AE-1D8FE229AAC4}" dt="2023-01-25T04:29:52.591" v="8622" actId="14100"/>
          <ac:picMkLst>
            <pc:docMk/>
            <pc:sldMk cId="3024276857" sldId="2627"/>
            <ac:picMk id="10" creationId="{CDDF1ACE-0F24-E06E-7BA3-7F0A8C3068C6}"/>
          </ac:picMkLst>
        </pc:picChg>
        <pc:picChg chg="add mod">
          <ac:chgData name="Aurelien Domont" userId="6da7715ce44349b3" providerId="LiveId" clId="{7CD043B0-6B74-4D9A-84AE-1D8FE229AAC4}" dt="2023-01-25T04:29:02.493" v="8611" actId="1076"/>
          <ac:picMkLst>
            <pc:docMk/>
            <pc:sldMk cId="3024276857" sldId="2627"/>
            <ac:picMk id="12" creationId="{0D04350D-557D-F179-8C1B-646A21E6425F}"/>
          </ac:picMkLst>
        </pc:picChg>
        <pc:picChg chg="add mod">
          <ac:chgData name="Aurelien Domont" userId="6da7715ce44349b3" providerId="LiveId" clId="{7CD043B0-6B74-4D9A-84AE-1D8FE229AAC4}" dt="2023-01-25T04:29:46.828" v="8621" actId="14100"/>
          <ac:picMkLst>
            <pc:docMk/>
            <pc:sldMk cId="3024276857" sldId="2627"/>
            <ac:picMk id="15" creationId="{B36321FE-B991-C8F4-DE6A-171B761B051A}"/>
          </ac:picMkLst>
        </pc:picChg>
        <pc:picChg chg="add mod">
          <ac:chgData name="Aurelien Domont" userId="6da7715ce44349b3" providerId="LiveId" clId="{7CD043B0-6B74-4D9A-84AE-1D8FE229AAC4}" dt="2023-01-25T04:29:40.886" v="8618" actId="14100"/>
          <ac:picMkLst>
            <pc:docMk/>
            <pc:sldMk cId="3024276857" sldId="2627"/>
            <ac:picMk id="18" creationId="{C1B8BADC-F146-4F85-48ED-E5DF50A79F77}"/>
          </ac:picMkLst>
        </pc:picChg>
        <pc:picChg chg="del">
          <ac:chgData name="Aurelien Domont" userId="6da7715ce44349b3" providerId="LiveId" clId="{7CD043B0-6B74-4D9A-84AE-1D8FE229AAC4}" dt="2023-01-25T04:28:18.142" v="8603" actId="478"/>
          <ac:picMkLst>
            <pc:docMk/>
            <pc:sldMk cId="3024276857" sldId="2627"/>
            <ac:picMk id="20" creationId="{98D4700B-052B-510D-7CC2-A141BD977A8F}"/>
          </ac:picMkLst>
        </pc:picChg>
        <pc:picChg chg="del">
          <ac:chgData name="Aurelien Domont" userId="6da7715ce44349b3" providerId="LiveId" clId="{7CD043B0-6B74-4D9A-84AE-1D8FE229AAC4}" dt="2023-01-25T04:28:08.239" v="8599" actId="478"/>
          <ac:picMkLst>
            <pc:docMk/>
            <pc:sldMk cId="3024276857" sldId="2627"/>
            <ac:picMk id="21" creationId="{585B81F8-CDCB-1A5E-2732-A0908A5B2392}"/>
          </ac:picMkLst>
        </pc:picChg>
        <pc:picChg chg="del">
          <ac:chgData name="Aurelien Domont" userId="6da7715ce44349b3" providerId="LiveId" clId="{7CD043B0-6B74-4D9A-84AE-1D8FE229AAC4}" dt="2023-01-25T04:28:28.720" v="8606" actId="478"/>
          <ac:picMkLst>
            <pc:docMk/>
            <pc:sldMk cId="3024276857" sldId="2627"/>
            <ac:picMk id="29" creationId="{81B58B82-E109-3E3B-CABD-213B7EAA8427}"/>
          </ac:picMkLst>
        </pc:picChg>
        <pc:picChg chg="del">
          <ac:chgData name="Aurelien Domont" userId="6da7715ce44349b3" providerId="LiveId" clId="{7CD043B0-6B74-4D9A-84AE-1D8FE229AAC4}" dt="2023-01-25T04:28:28.720" v="8606" actId="478"/>
          <ac:picMkLst>
            <pc:docMk/>
            <pc:sldMk cId="3024276857" sldId="2627"/>
            <ac:picMk id="30" creationId="{DFE28CE9-3B43-7F8D-A03A-13D04B21F62D}"/>
          </ac:picMkLst>
        </pc:picChg>
      </pc:sldChg>
      <pc:sldChg chg="modSp add mod">
        <pc:chgData name="Aurelien Domont" userId="6da7715ce44349b3" providerId="LiveId" clId="{7CD043B0-6B74-4D9A-84AE-1D8FE229AAC4}" dt="2023-01-25T04:30:21.362" v="8641" actId="1036"/>
        <pc:sldMkLst>
          <pc:docMk/>
          <pc:sldMk cId="2401429624" sldId="2628"/>
        </pc:sldMkLst>
        <pc:spChg chg="mod">
          <ac:chgData name="Aurelien Domont" userId="6da7715ce44349b3" providerId="LiveId" clId="{7CD043B0-6B74-4D9A-84AE-1D8FE229AAC4}" dt="2023-01-25T04:30:21.362" v="8641" actId="1036"/>
          <ac:spMkLst>
            <pc:docMk/>
            <pc:sldMk cId="2401429624" sldId="2628"/>
            <ac:spMk id="66" creationId="{D2A8DFC7-27D0-2248-2089-0502807F476A}"/>
          </ac:spMkLst>
        </pc:spChg>
      </pc:sldChg>
      <pc:sldChg chg="modSp add mod">
        <pc:chgData name="Aurelien Domont" userId="6da7715ce44349b3" providerId="LiveId" clId="{7CD043B0-6B74-4D9A-84AE-1D8FE229AAC4}" dt="2023-01-25T04:33:46.053" v="8695" actId="20577"/>
        <pc:sldMkLst>
          <pc:docMk/>
          <pc:sldMk cId="557752984" sldId="2629"/>
        </pc:sldMkLst>
        <pc:spChg chg="mod">
          <ac:chgData name="Aurelien Domont" userId="6da7715ce44349b3" providerId="LiveId" clId="{7CD043B0-6B74-4D9A-84AE-1D8FE229AAC4}" dt="2023-01-25T04:33:46.053" v="8695" actId="20577"/>
          <ac:spMkLst>
            <pc:docMk/>
            <pc:sldMk cId="557752984" sldId="2629"/>
            <ac:spMk id="4" creationId="{471FDD12-2524-D2C4-61FC-BBD6D7EE5522}"/>
          </ac:spMkLst>
        </pc:spChg>
        <pc:spChg chg="mod">
          <ac:chgData name="Aurelien Domont" userId="6da7715ce44349b3" providerId="LiveId" clId="{7CD043B0-6B74-4D9A-84AE-1D8FE229AAC4}" dt="2023-01-25T04:30:43.903" v="8660" actId="20577"/>
          <ac:spMkLst>
            <pc:docMk/>
            <pc:sldMk cId="557752984" sldId="2629"/>
            <ac:spMk id="16" creationId="{6C2BB713-9637-4B9B-938F-E9768876782A}"/>
          </ac:spMkLst>
        </pc:spChg>
      </pc:sldChg>
      <pc:sldChg chg="modSp add mod">
        <pc:chgData name="Aurelien Domont" userId="6da7715ce44349b3" providerId="LiveId" clId="{7CD043B0-6B74-4D9A-84AE-1D8FE229AAC4}" dt="2023-01-25T04:38:20.758" v="8709" actId="1035"/>
        <pc:sldMkLst>
          <pc:docMk/>
          <pc:sldMk cId="2774501735" sldId="2630"/>
        </pc:sldMkLst>
        <pc:spChg chg="mod">
          <ac:chgData name="Aurelien Domont" userId="6da7715ce44349b3" providerId="LiveId" clId="{7CD043B0-6B74-4D9A-84AE-1D8FE229AAC4}" dt="2023-01-25T04:38:20.758" v="8709" actId="1035"/>
          <ac:spMkLst>
            <pc:docMk/>
            <pc:sldMk cId="2774501735" sldId="2630"/>
            <ac:spMk id="4" creationId="{471FDD12-2524-D2C4-61FC-BBD6D7EE5522}"/>
          </ac:spMkLst>
        </pc:spChg>
        <pc:spChg chg="mod">
          <ac:chgData name="Aurelien Domont" userId="6da7715ce44349b3" providerId="LiveId" clId="{7CD043B0-6B74-4D9A-84AE-1D8FE229AAC4}" dt="2023-01-25T04:30:53.469" v="8671" actId="20577"/>
          <ac:spMkLst>
            <pc:docMk/>
            <pc:sldMk cId="2774501735" sldId="2630"/>
            <ac:spMk id="16" creationId="{6C2BB713-9637-4B9B-938F-E9768876782A}"/>
          </ac:spMkLst>
        </pc:spChg>
      </pc:sldChg>
      <pc:sldChg chg="modSp add mod">
        <pc:chgData name="Aurelien Domont" userId="6da7715ce44349b3" providerId="LiveId" clId="{7CD043B0-6B74-4D9A-84AE-1D8FE229AAC4}" dt="2023-01-25T04:31:05.415" v="8684" actId="1036"/>
        <pc:sldMkLst>
          <pc:docMk/>
          <pc:sldMk cId="152977254" sldId="2631"/>
        </pc:sldMkLst>
        <pc:spChg chg="mod">
          <ac:chgData name="Aurelien Domont" userId="6da7715ce44349b3" providerId="LiveId" clId="{7CD043B0-6B74-4D9A-84AE-1D8FE229AAC4}" dt="2023-01-25T04:31:05.415" v="8684" actId="1036"/>
          <ac:spMkLst>
            <pc:docMk/>
            <pc:sldMk cId="152977254" sldId="2631"/>
            <ac:spMk id="66" creationId="{D2A8DFC7-27D0-2248-2089-0502807F476A}"/>
          </ac:spMkLst>
        </pc:spChg>
      </pc:sldChg>
      <pc:sldChg chg="modSp add mod">
        <pc:chgData name="Aurelien Domont" userId="6da7715ce44349b3" providerId="LiveId" clId="{7CD043B0-6B74-4D9A-84AE-1D8FE229AAC4}" dt="2023-01-25T04:40:04.889" v="8712" actId="20577"/>
        <pc:sldMkLst>
          <pc:docMk/>
          <pc:sldMk cId="2556662504" sldId="2632"/>
        </pc:sldMkLst>
        <pc:spChg chg="mod">
          <ac:chgData name="Aurelien Domont" userId="6da7715ce44349b3" providerId="LiveId" clId="{7CD043B0-6B74-4D9A-84AE-1D8FE229AAC4}" dt="2023-01-25T04:40:04.889" v="8712" actId="20577"/>
          <ac:spMkLst>
            <pc:docMk/>
            <pc:sldMk cId="2556662504" sldId="2632"/>
            <ac:spMk id="4" creationId="{471FDD12-2524-D2C4-61FC-BBD6D7EE5522}"/>
          </ac:spMkLst>
        </pc:spChg>
        <pc:spChg chg="mod">
          <ac:chgData name="Aurelien Domont" userId="6da7715ce44349b3" providerId="LiveId" clId="{7CD043B0-6B74-4D9A-84AE-1D8FE229AAC4}" dt="2023-01-25T04:31:23.684" v="8688" actId="20577"/>
          <ac:spMkLst>
            <pc:docMk/>
            <pc:sldMk cId="2556662504" sldId="2632"/>
            <ac:spMk id="16" creationId="{6C2BB713-9637-4B9B-938F-E9768876782A}"/>
          </ac:spMkLst>
        </pc:spChg>
      </pc:sldChg>
      <pc:sldChg chg="modSp add mod">
        <pc:chgData name="Aurelien Domont" userId="6da7715ce44349b3" providerId="LiveId" clId="{7CD043B0-6B74-4D9A-84AE-1D8FE229AAC4}" dt="2023-01-25T04:42:33.146" v="8727" actId="1035"/>
        <pc:sldMkLst>
          <pc:docMk/>
          <pc:sldMk cId="1690563895" sldId="2633"/>
        </pc:sldMkLst>
        <pc:spChg chg="mod">
          <ac:chgData name="Aurelien Domont" userId="6da7715ce44349b3" providerId="LiveId" clId="{7CD043B0-6B74-4D9A-84AE-1D8FE229AAC4}" dt="2023-01-25T04:42:33.146" v="8727" actId="1035"/>
          <ac:spMkLst>
            <pc:docMk/>
            <pc:sldMk cId="1690563895" sldId="2633"/>
            <ac:spMk id="4" creationId="{471FDD12-2524-D2C4-61FC-BBD6D7EE5522}"/>
          </ac:spMkLst>
        </pc:spChg>
        <pc:spChg chg="mod">
          <ac:chgData name="Aurelien Domont" userId="6da7715ce44349b3" providerId="LiveId" clId="{7CD043B0-6B74-4D9A-84AE-1D8FE229AAC4}" dt="2023-01-25T04:31:28.229" v="8691" actId="20577"/>
          <ac:spMkLst>
            <pc:docMk/>
            <pc:sldMk cId="1690563895" sldId="2633"/>
            <ac:spMk id="16" creationId="{6C2BB713-9637-4B9B-938F-E9768876782A}"/>
          </ac:spMkLst>
        </pc:spChg>
      </pc:sldChg>
      <pc:sldChg chg="modSp add mod">
        <pc:chgData name="Aurelien Domont" userId="6da7715ce44349b3" providerId="LiveId" clId="{7CD043B0-6B74-4D9A-84AE-1D8FE229AAC4}" dt="2023-01-25T04:42:46.442" v="8751" actId="1035"/>
        <pc:sldMkLst>
          <pc:docMk/>
          <pc:sldMk cId="2065251419" sldId="2634"/>
        </pc:sldMkLst>
        <pc:spChg chg="mod">
          <ac:chgData name="Aurelien Domont" userId="6da7715ce44349b3" providerId="LiveId" clId="{7CD043B0-6B74-4D9A-84AE-1D8FE229AAC4}" dt="2023-01-25T04:42:46.442" v="8751" actId="1035"/>
          <ac:spMkLst>
            <pc:docMk/>
            <pc:sldMk cId="2065251419" sldId="2634"/>
            <ac:spMk id="66" creationId="{D2A8DFC7-27D0-2248-2089-0502807F476A}"/>
          </ac:spMkLst>
        </pc:spChg>
      </pc:sldChg>
      <pc:sldChg chg="modSp add mod">
        <pc:chgData name="Aurelien Domont" userId="6da7715ce44349b3" providerId="LiveId" clId="{7CD043B0-6B74-4D9A-84AE-1D8FE229AAC4}" dt="2023-01-25T04:44:12.680" v="8772" actId="20577"/>
        <pc:sldMkLst>
          <pc:docMk/>
          <pc:sldMk cId="3605416799" sldId="2635"/>
        </pc:sldMkLst>
        <pc:spChg chg="mod">
          <ac:chgData name="Aurelien Domont" userId="6da7715ce44349b3" providerId="LiveId" clId="{7CD043B0-6B74-4D9A-84AE-1D8FE229AAC4}" dt="2023-01-25T04:44:12.680" v="8772" actId="20577"/>
          <ac:spMkLst>
            <pc:docMk/>
            <pc:sldMk cId="3605416799" sldId="2635"/>
            <ac:spMk id="4" creationId="{471FDD12-2524-D2C4-61FC-BBD6D7EE5522}"/>
          </ac:spMkLst>
        </pc:spChg>
        <pc:spChg chg="mod">
          <ac:chgData name="Aurelien Domont" userId="6da7715ce44349b3" providerId="LiveId" clId="{7CD043B0-6B74-4D9A-84AE-1D8FE229AAC4}" dt="2023-01-25T04:43:59.005" v="8768" actId="20577"/>
          <ac:spMkLst>
            <pc:docMk/>
            <pc:sldMk cId="3605416799" sldId="2635"/>
            <ac:spMk id="16" creationId="{6C2BB713-9637-4B9B-938F-E9768876782A}"/>
          </ac:spMkLst>
        </pc:spChg>
      </pc:sldChg>
      <pc:sldChg chg="modSp add mod">
        <pc:chgData name="Aurelien Domont" userId="6da7715ce44349b3" providerId="LiveId" clId="{7CD043B0-6B74-4D9A-84AE-1D8FE229AAC4}" dt="2023-01-25T04:45:11.459" v="8787" actId="1036"/>
        <pc:sldMkLst>
          <pc:docMk/>
          <pc:sldMk cId="2637135031" sldId="2636"/>
        </pc:sldMkLst>
        <pc:spChg chg="mod">
          <ac:chgData name="Aurelien Domont" userId="6da7715ce44349b3" providerId="LiveId" clId="{7CD043B0-6B74-4D9A-84AE-1D8FE229AAC4}" dt="2023-01-25T04:45:11.459" v="8787" actId="1036"/>
          <ac:spMkLst>
            <pc:docMk/>
            <pc:sldMk cId="2637135031" sldId="2636"/>
            <ac:spMk id="66" creationId="{D2A8DFC7-27D0-2248-2089-0502807F476A}"/>
          </ac:spMkLst>
        </pc:spChg>
      </pc:sldChg>
      <pc:sldChg chg="addSp modSp add mod">
        <pc:chgData name="Aurelien Domont" userId="6da7715ce44349b3" providerId="LiveId" clId="{7CD043B0-6B74-4D9A-84AE-1D8FE229AAC4}" dt="2023-01-25T04:48:11.054" v="8803" actId="1076"/>
        <pc:sldMkLst>
          <pc:docMk/>
          <pc:sldMk cId="874617753" sldId="2637"/>
        </pc:sldMkLst>
        <pc:spChg chg="mod">
          <ac:chgData name="Aurelien Domont" userId="6da7715ce44349b3" providerId="LiveId" clId="{7CD043B0-6B74-4D9A-84AE-1D8FE229AAC4}" dt="2023-01-25T04:46:55.952" v="8800" actId="404"/>
          <ac:spMkLst>
            <pc:docMk/>
            <pc:sldMk cId="874617753" sldId="2637"/>
            <ac:spMk id="4" creationId="{471FDD12-2524-D2C4-61FC-BBD6D7EE5522}"/>
          </ac:spMkLst>
        </pc:spChg>
        <pc:spChg chg="mod">
          <ac:chgData name="Aurelien Domont" userId="6da7715ce44349b3" providerId="LiveId" clId="{7CD043B0-6B74-4D9A-84AE-1D8FE229AAC4}" dt="2023-01-25T04:46:08.159" v="8794" actId="20577"/>
          <ac:spMkLst>
            <pc:docMk/>
            <pc:sldMk cId="874617753" sldId="2637"/>
            <ac:spMk id="16" creationId="{6C2BB713-9637-4B9B-938F-E9768876782A}"/>
          </ac:spMkLst>
        </pc:spChg>
        <pc:picChg chg="add mod">
          <ac:chgData name="Aurelien Domont" userId="6da7715ce44349b3" providerId="LiveId" clId="{7CD043B0-6B74-4D9A-84AE-1D8FE229AAC4}" dt="2023-01-25T04:48:11.054" v="8803" actId="1076"/>
          <ac:picMkLst>
            <pc:docMk/>
            <pc:sldMk cId="874617753" sldId="2637"/>
            <ac:picMk id="1026" creationId="{D6E058CC-81A1-692D-F6CF-A18DFC34A283}"/>
          </ac:picMkLst>
        </pc:picChg>
      </pc:sldChg>
      <pc:sldChg chg="modSp add mod">
        <pc:chgData name="Aurelien Domont" userId="6da7715ce44349b3" providerId="LiveId" clId="{7CD043B0-6B74-4D9A-84AE-1D8FE229AAC4}" dt="2023-01-25T04:49:14.194" v="8817" actId="1036"/>
        <pc:sldMkLst>
          <pc:docMk/>
          <pc:sldMk cId="2412603565" sldId="2638"/>
        </pc:sldMkLst>
        <pc:spChg chg="mod">
          <ac:chgData name="Aurelien Domont" userId="6da7715ce44349b3" providerId="LiveId" clId="{7CD043B0-6B74-4D9A-84AE-1D8FE229AAC4}" dt="2023-01-25T04:49:14.194" v="8817" actId="1036"/>
          <ac:spMkLst>
            <pc:docMk/>
            <pc:sldMk cId="2412603565" sldId="2638"/>
            <ac:spMk id="66" creationId="{D2A8DFC7-27D0-2248-2089-0502807F476A}"/>
          </ac:spMkLst>
        </pc:spChg>
      </pc:sldChg>
      <pc:sldChg chg="delSp modSp add mod">
        <pc:chgData name="Aurelien Domont" userId="6da7715ce44349b3" providerId="LiveId" clId="{7CD043B0-6B74-4D9A-84AE-1D8FE229AAC4}" dt="2023-01-25T04:52:31.530" v="8848" actId="20577"/>
        <pc:sldMkLst>
          <pc:docMk/>
          <pc:sldMk cId="921222379" sldId="2639"/>
        </pc:sldMkLst>
        <pc:spChg chg="mod">
          <ac:chgData name="Aurelien Domont" userId="6da7715ce44349b3" providerId="LiveId" clId="{7CD043B0-6B74-4D9A-84AE-1D8FE229AAC4}" dt="2023-01-25T04:52:31.530" v="8848" actId="20577"/>
          <ac:spMkLst>
            <pc:docMk/>
            <pc:sldMk cId="921222379" sldId="2639"/>
            <ac:spMk id="4" creationId="{471FDD12-2524-D2C4-61FC-BBD6D7EE5522}"/>
          </ac:spMkLst>
        </pc:spChg>
        <pc:spChg chg="mod">
          <ac:chgData name="Aurelien Domont" userId="6da7715ce44349b3" providerId="LiveId" clId="{7CD043B0-6B74-4D9A-84AE-1D8FE229AAC4}" dt="2023-01-25T04:49:28.142" v="8840" actId="20577"/>
          <ac:spMkLst>
            <pc:docMk/>
            <pc:sldMk cId="921222379" sldId="2639"/>
            <ac:spMk id="16" creationId="{6C2BB713-9637-4B9B-938F-E9768876782A}"/>
          </ac:spMkLst>
        </pc:spChg>
        <pc:picChg chg="del">
          <ac:chgData name="Aurelien Domont" userId="6da7715ce44349b3" providerId="LiveId" clId="{7CD043B0-6B74-4D9A-84AE-1D8FE229AAC4}" dt="2023-01-25T04:49:21.974" v="8819" actId="478"/>
          <ac:picMkLst>
            <pc:docMk/>
            <pc:sldMk cId="921222379" sldId="2639"/>
            <ac:picMk id="1026" creationId="{D6E058CC-81A1-692D-F6CF-A18DFC34A283}"/>
          </ac:picMkLst>
        </pc:picChg>
      </pc:sldChg>
      <pc:sldChg chg="addSp delSp modSp add mod">
        <pc:chgData name="Aurelien Domont" userId="6da7715ce44349b3" providerId="LiveId" clId="{7CD043B0-6B74-4D9A-84AE-1D8FE229AAC4}" dt="2023-01-25T05:07:13.118" v="9132" actId="20577"/>
        <pc:sldMkLst>
          <pc:docMk/>
          <pc:sldMk cId="161867065" sldId="2640"/>
        </pc:sldMkLst>
        <pc:spChg chg="add del mod">
          <ac:chgData name="Aurelien Domont" userId="6da7715ce44349b3" providerId="LiveId" clId="{7CD043B0-6B74-4D9A-84AE-1D8FE229AAC4}" dt="2023-01-25T04:54:36.109" v="8865"/>
          <ac:spMkLst>
            <pc:docMk/>
            <pc:sldMk cId="161867065" sldId="2640"/>
            <ac:spMk id="2" creationId="{7881AF66-2B90-2D06-2ABE-01919BE037E8}"/>
          </ac:spMkLst>
        </pc:spChg>
        <pc:spChg chg="del">
          <ac:chgData name="Aurelien Domont" userId="6da7715ce44349b3" providerId="LiveId" clId="{7CD043B0-6B74-4D9A-84AE-1D8FE229AAC4}" dt="2023-01-25T04:52:43.195" v="8861" actId="478"/>
          <ac:spMkLst>
            <pc:docMk/>
            <pc:sldMk cId="161867065" sldId="2640"/>
            <ac:spMk id="4" creationId="{471FDD12-2524-D2C4-61FC-BBD6D7EE5522}"/>
          </ac:spMkLst>
        </pc:spChg>
        <pc:spChg chg="add del mod">
          <ac:chgData name="Aurelien Domont" userId="6da7715ce44349b3" providerId="LiveId" clId="{7CD043B0-6B74-4D9A-84AE-1D8FE229AAC4}" dt="2023-01-25T04:54:36.109" v="8865"/>
          <ac:spMkLst>
            <pc:docMk/>
            <pc:sldMk cId="161867065" sldId="2640"/>
            <ac:spMk id="5" creationId="{F0F06A63-AC26-F103-0FA6-AEE564621D9A}"/>
          </ac:spMkLst>
        </pc:spChg>
        <pc:spChg chg="add del mod">
          <ac:chgData name="Aurelien Domont" userId="6da7715ce44349b3" providerId="LiveId" clId="{7CD043B0-6B74-4D9A-84AE-1D8FE229AAC4}" dt="2023-01-25T04:54:36.109" v="8865"/>
          <ac:spMkLst>
            <pc:docMk/>
            <pc:sldMk cId="161867065" sldId="2640"/>
            <ac:spMk id="6" creationId="{91284A50-B83F-CABB-33B1-252773C4EA0E}"/>
          </ac:spMkLst>
        </pc:spChg>
        <pc:spChg chg="add del mod">
          <ac:chgData name="Aurelien Domont" userId="6da7715ce44349b3" providerId="LiveId" clId="{7CD043B0-6B74-4D9A-84AE-1D8FE229AAC4}" dt="2023-01-25T04:54:36.109" v="8865"/>
          <ac:spMkLst>
            <pc:docMk/>
            <pc:sldMk cId="161867065" sldId="2640"/>
            <ac:spMk id="7" creationId="{911B37B3-9851-495B-B628-6F20548C1545}"/>
          </ac:spMkLst>
        </pc:spChg>
        <pc:spChg chg="add mod topLvl">
          <ac:chgData name="Aurelien Domont" userId="6da7715ce44349b3" providerId="LiveId" clId="{7CD043B0-6B74-4D9A-84AE-1D8FE229AAC4}" dt="2023-01-25T05:01:04.763" v="9038" actId="14100"/>
          <ac:spMkLst>
            <pc:docMk/>
            <pc:sldMk cId="161867065" sldId="2640"/>
            <ac:spMk id="14" creationId="{F55600FA-38A4-3E21-3758-6C7A50353FB1}"/>
          </ac:spMkLst>
        </pc:spChg>
        <pc:spChg chg="add mod topLvl">
          <ac:chgData name="Aurelien Domont" userId="6da7715ce44349b3" providerId="LiveId" clId="{7CD043B0-6B74-4D9A-84AE-1D8FE229AAC4}" dt="2023-01-25T05:01:04.763" v="9038" actId="14100"/>
          <ac:spMkLst>
            <pc:docMk/>
            <pc:sldMk cId="161867065" sldId="2640"/>
            <ac:spMk id="15" creationId="{9B783B55-1D13-89C8-70F4-DFAF51954B61}"/>
          </ac:spMkLst>
        </pc:spChg>
        <pc:spChg chg="mod">
          <ac:chgData name="Aurelien Domont" userId="6da7715ce44349b3" providerId="LiveId" clId="{7CD043B0-6B74-4D9A-84AE-1D8FE229AAC4}" dt="2023-01-25T05:07:13.118" v="9132" actId="20577"/>
          <ac:spMkLst>
            <pc:docMk/>
            <pc:sldMk cId="161867065" sldId="2640"/>
            <ac:spMk id="16" creationId="{6C2BB713-9637-4B9B-938F-E9768876782A}"/>
          </ac:spMkLst>
        </pc:spChg>
        <pc:spChg chg="add mod topLvl">
          <ac:chgData name="Aurelien Domont" userId="6da7715ce44349b3" providerId="LiveId" clId="{7CD043B0-6B74-4D9A-84AE-1D8FE229AAC4}" dt="2023-01-25T05:01:04.763" v="9038" actId="14100"/>
          <ac:spMkLst>
            <pc:docMk/>
            <pc:sldMk cId="161867065" sldId="2640"/>
            <ac:spMk id="17" creationId="{B3E58FFD-27B7-A556-B631-7CA303F155A6}"/>
          </ac:spMkLst>
        </pc:spChg>
        <pc:spChg chg="add mod topLvl">
          <ac:chgData name="Aurelien Domont" userId="6da7715ce44349b3" providerId="LiveId" clId="{7CD043B0-6B74-4D9A-84AE-1D8FE229AAC4}" dt="2023-01-25T05:01:04.763" v="9038" actId="14100"/>
          <ac:spMkLst>
            <pc:docMk/>
            <pc:sldMk cId="161867065" sldId="2640"/>
            <ac:spMk id="18" creationId="{8D9A8A9B-EEB5-61F0-1B80-5386D4214F44}"/>
          </ac:spMkLst>
        </pc:spChg>
        <pc:grpChg chg="add mod">
          <ac:chgData name="Aurelien Domont" userId="6da7715ce44349b3" providerId="LiveId" clId="{7CD043B0-6B74-4D9A-84AE-1D8FE229AAC4}" dt="2023-01-25T04:54:34.769" v="8864" actId="164"/>
          <ac:grpSpMkLst>
            <pc:docMk/>
            <pc:sldMk cId="161867065" sldId="2640"/>
            <ac:grpSpMk id="12" creationId="{5124F203-2804-F795-6FF3-E4722C7802DF}"/>
          </ac:grpSpMkLst>
        </pc:grpChg>
        <pc:grpChg chg="add del mod">
          <ac:chgData name="Aurelien Domont" userId="6da7715ce44349b3" providerId="LiveId" clId="{7CD043B0-6B74-4D9A-84AE-1D8FE229AAC4}" dt="2023-01-25T04:54:54.393" v="8869" actId="165"/>
          <ac:grpSpMkLst>
            <pc:docMk/>
            <pc:sldMk cId="161867065" sldId="2640"/>
            <ac:grpSpMk id="23" creationId="{63EA0E28-53DA-1510-7AC4-CB2970A4F2D3}"/>
          </ac:grpSpMkLst>
        </pc:grpChg>
        <pc:picChg chg="add del mod">
          <ac:chgData name="Aurelien Domont" userId="6da7715ce44349b3" providerId="LiveId" clId="{7CD043B0-6B74-4D9A-84AE-1D8FE229AAC4}" dt="2023-01-25T04:54:36.109" v="8865"/>
          <ac:picMkLst>
            <pc:docMk/>
            <pc:sldMk cId="161867065" sldId="2640"/>
            <ac:picMk id="8" creationId="{0DE75EC0-714E-BEA1-BD79-509B54B087B0}"/>
          </ac:picMkLst>
        </pc:picChg>
        <pc:picChg chg="add del mod">
          <ac:chgData name="Aurelien Domont" userId="6da7715ce44349b3" providerId="LiveId" clId="{7CD043B0-6B74-4D9A-84AE-1D8FE229AAC4}" dt="2023-01-25T04:54:36.109" v="8865"/>
          <ac:picMkLst>
            <pc:docMk/>
            <pc:sldMk cId="161867065" sldId="2640"/>
            <ac:picMk id="9" creationId="{59148988-1316-46BF-75AA-08949FDCEB08}"/>
          </ac:picMkLst>
        </pc:picChg>
        <pc:picChg chg="add del mod">
          <ac:chgData name="Aurelien Domont" userId="6da7715ce44349b3" providerId="LiveId" clId="{7CD043B0-6B74-4D9A-84AE-1D8FE229AAC4}" dt="2023-01-25T04:54:36.109" v="8865"/>
          <ac:picMkLst>
            <pc:docMk/>
            <pc:sldMk cId="161867065" sldId="2640"/>
            <ac:picMk id="10" creationId="{43ECD7A6-B40F-60FA-2220-7AA2EB9F2AD1}"/>
          </ac:picMkLst>
        </pc:picChg>
        <pc:picChg chg="add del mod">
          <ac:chgData name="Aurelien Domont" userId="6da7715ce44349b3" providerId="LiveId" clId="{7CD043B0-6B74-4D9A-84AE-1D8FE229AAC4}" dt="2023-01-25T04:54:36.109" v="8865"/>
          <ac:picMkLst>
            <pc:docMk/>
            <pc:sldMk cId="161867065" sldId="2640"/>
            <ac:picMk id="11" creationId="{DF0A04FC-AAE5-B891-5631-03026AB5D438}"/>
          </ac:picMkLst>
        </pc:picChg>
        <pc:picChg chg="add del mod topLvl">
          <ac:chgData name="Aurelien Domont" userId="6da7715ce44349b3" providerId="LiveId" clId="{7CD043B0-6B74-4D9A-84AE-1D8FE229AAC4}" dt="2023-01-25T04:55:00.116" v="8873" actId="478"/>
          <ac:picMkLst>
            <pc:docMk/>
            <pc:sldMk cId="161867065" sldId="2640"/>
            <ac:picMk id="19" creationId="{AD5BD6BD-BFF7-1478-6C72-43BD94117FE6}"/>
          </ac:picMkLst>
        </pc:picChg>
        <pc:picChg chg="add del mod topLvl">
          <ac:chgData name="Aurelien Domont" userId="6da7715ce44349b3" providerId="LiveId" clId="{7CD043B0-6B74-4D9A-84AE-1D8FE229AAC4}" dt="2023-01-25T04:54:57.472" v="8870" actId="478"/>
          <ac:picMkLst>
            <pc:docMk/>
            <pc:sldMk cId="161867065" sldId="2640"/>
            <ac:picMk id="20" creationId="{CE5F628E-9FE4-FEC5-C11C-3087E927DE22}"/>
          </ac:picMkLst>
        </pc:picChg>
        <pc:picChg chg="add del mod topLvl">
          <ac:chgData name="Aurelien Domont" userId="6da7715ce44349b3" providerId="LiveId" clId="{7CD043B0-6B74-4D9A-84AE-1D8FE229AAC4}" dt="2023-01-25T04:54:58.993" v="8872" actId="478"/>
          <ac:picMkLst>
            <pc:docMk/>
            <pc:sldMk cId="161867065" sldId="2640"/>
            <ac:picMk id="21" creationId="{1962CD20-36C9-1055-9734-C7109F9F9888}"/>
          </ac:picMkLst>
        </pc:picChg>
        <pc:picChg chg="add del mod topLvl">
          <ac:chgData name="Aurelien Domont" userId="6da7715ce44349b3" providerId="LiveId" clId="{7CD043B0-6B74-4D9A-84AE-1D8FE229AAC4}" dt="2023-01-25T04:54:58.363" v="8871" actId="478"/>
          <ac:picMkLst>
            <pc:docMk/>
            <pc:sldMk cId="161867065" sldId="2640"/>
            <ac:picMk id="22" creationId="{0C6855E0-85BB-BC77-E12D-2198C652944A}"/>
          </ac:picMkLst>
        </pc:picChg>
        <pc:picChg chg="add mod">
          <ac:chgData name="Aurelien Domont" userId="6da7715ce44349b3" providerId="LiveId" clId="{7CD043B0-6B74-4D9A-84AE-1D8FE229AAC4}" dt="2023-01-25T05:00:56.235" v="9037" actId="1076"/>
          <ac:picMkLst>
            <pc:docMk/>
            <pc:sldMk cId="161867065" sldId="2640"/>
            <ac:picMk id="25" creationId="{50634DB4-483D-A910-65F8-9E06F09F2522}"/>
          </ac:picMkLst>
        </pc:picChg>
        <pc:picChg chg="add mod">
          <ac:chgData name="Aurelien Domont" userId="6da7715ce44349b3" providerId="LiveId" clId="{7CD043B0-6B74-4D9A-84AE-1D8FE229AAC4}" dt="2023-01-25T05:00:53.059" v="9036" actId="1036"/>
          <ac:picMkLst>
            <pc:docMk/>
            <pc:sldMk cId="161867065" sldId="2640"/>
            <ac:picMk id="27" creationId="{F84216D0-2606-B66A-002F-E6A3C0B8BA18}"/>
          </ac:picMkLst>
        </pc:picChg>
        <pc:picChg chg="add mod">
          <ac:chgData name="Aurelien Domont" userId="6da7715ce44349b3" providerId="LiveId" clId="{7CD043B0-6B74-4D9A-84AE-1D8FE229AAC4}" dt="2023-01-25T05:01:12.204" v="9053" actId="1035"/>
          <ac:picMkLst>
            <pc:docMk/>
            <pc:sldMk cId="161867065" sldId="2640"/>
            <ac:picMk id="29" creationId="{1A8248D3-241F-17C3-8165-64C2CD9F018F}"/>
          </ac:picMkLst>
        </pc:picChg>
        <pc:picChg chg="add mod">
          <ac:chgData name="Aurelien Domont" userId="6da7715ce44349b3" providerId="LiveId" clId="{7CD043B0-6B74-4D9A-84AE-1D8FE229AAC4}" dt="2023-01-25T05:01:39.349" v="9063" actId="1035"/>
          <ac:picMkLst>
            <pc:docMk/>
            <pc:sldMk cId="161867065" sldId="2640"/>
            <ac:picMk id="30" creationId="{9EE07DE4-EA03-FDEF-5B3C-4F436C5C2FD6}"/>
          </ac:picMkLst>
        </pc:picChg>
      </pc:sldChg>
      <pc:sldChg chg="modSp add mod">
        <pc:chgData name="Aurelien Domont" userId="6da7715ce44349b3" providerId="LiveId" clId="{7CD043B0-6B74-4D9A-84AE-1D8FE229AAC4}" dt="2023-01-25T05:03:06.920" v="9120" actId="14100"/>
        <pc:sldMkLst>
          <pc:docMk/>
          <pc:sldMk cId="568804104" sldId="2641"/>
        </pc:sldMkLst>
        <pc:spChg chg="mod">
          <ac:chgData name="Aurelien Domont" userId="6da7715ce44349b3" providerId="LiveId" clId="{7CD043B0-6B74-4D9A-84AE-1D8FE229AAC4}" dt="2023-01-25T05:03:06.920" v="9120" actId="14100"/>
          <ac:spMkLst>
            <pc:docMk/>
            <pc:sldMk cId="568804104" sldId="2641"/>
            <ac:spMk id="66" creationId="{D2A8DFC7-27D0-2248-2089-0502807F476A}"/>
          </ac:spMkLst>
        </pc:spChg>
      </pc:sldChg>
      <pc:sldChg chg="modSp add mod">
        <pc:chgData name="Aurelien Domont" userId="6da7715ce44349b3" providerId="LiveId" clId="{7CD043B0-6B74-4D9A-84AE-1D8FE229AAC4}" dt="2023-01-25T05:04:54.469" v="9129" actId="20577"/>
        <pc:sldMkLst>
          <pc:docMk/>
          <pc:sldMk cId="768467491" sldId="2642"/>
        </pc:sldMkLst>
        <pc:spChg chg="mod">
          <ac:chgData name="Aurelien Domont" userId="6da7715ce44349b3" providerId="LiveId" clId="{7CD043B0-6B74-4D9A-84AE-1D8FE229AAC4}" dt="2023-01-25T05:04:54.469" v="9129" actId="20577"/>
          <ac:spMkLst>
            <pc:docMk/>
            <pc:sldMk cId="768467491" sldId="2642"/>
            <ac:spMk id="4" creationId="{471FDD12-2524-D2C4-61FC-BBD6D7EE5522}"/>
          </ac:spMkLst>
        </pc:spChg>
        <pc:spChg chg="mod">
          <ac:chgData name="Aurelien Domont" userId="6da7715ce44349b3" providerId="LiveId" clId="{7CD043B0-6B74-4D9A-84AE-1D8FE229AAC4}" dt="2023-01-25T05:04:42.359" v="9125" actId="27636"/>
          <ac:spMkLst>
            <pc:docMk/>
            <pc:sldMk cId="768467491" sldId="2642"/>
            <ac:spMk id="16" creationId="{6C2BB713-9637-4B9B-938F-E9768876782A}"/>
          </ac:spMkLst>
        </pc:spChg>
      </pc:sldChg>
      <pc:sldChg chg="addSp delSp modSp add mod">
        <pc:chgData name="Aurelien Domont" userId="6da7715ce44349b3" providerId="LiveId" clId="{7CD043B0-6B74-4D9A-84AE-1D8FE229AAC4}" dt="2023-01-25T05:14:22.026" v="9229" actId="404"/>
        <pc:sldMkLst>
          <pc:docMk/>
          <pc:sldMk cId="1189212000" sldId="2643"/>
        </pc:sldMkLst>
        <pc:spChg chg="add mod">
          <ac:chgData name="Aurelien Domont" userId="6da7715ce44349b3" providerId="LiveId" clId="{7CD043B0-6B74-4D9A-84AE-1D8FE229AAC4}" dt="2023-01-25T05:14:22.026" v="9229" actId="404"/>
          <ac:spMkLst>
            <pc:docMk/>
            <pc:sldMk cId="1189212000" sldId="2643"/>
            <ac:spMk id="4" creationId="{B1E3EFD9-D1C1-A58A-809C-4B668E1C661E}"/>
          </ac:spMkLst>
        </pc:spChg>
        <pc:spChg chg="del">
          <ac:chgData name="Aurelien Domont" userId="6da7715ce44349b3" providerId="LiveId" clId="{7CD043B0-6B74-4D9A-84AE-1D8FE229AAC4}" dt="2023-01-25T05:07:20.134" v="9136" actId="478"/>
          <ac:spMkLst>
            <pc:docMk/>
            <pc:sldMk cId="1189212000" sldId="2643"/>
            <ac:spMk id="14" creationId="{F55600FA-38A4-3E21-3758-6C7A50353FB1}"/>
          </ac:spMkLst>
        </pc:spChg>
        <pc:spChg chg="del">
          <ac:chgData name="Aurelien Domont" userId="6da7715ce44349b3" providerId="LiveId" clId="{7CD043B0-6B74-4D9A-84AE-1D8FE229AAC4}" dt="2023-01-25T05:07:20.134" v="9136" actId="478"/>
          <ac:spMkLst>
            <pc:docMk/>
            <pc:sldMk cId="1189212000" sldId="2643"/>
            <ac:spMk id="15" creationId="{9B783B55-1D13-89C8-70F4-DFAF51954B61}"/>
          </ac:spMkLst>
        </pc:spChg>
        <pc:spChg chg="mod">
          <ac:chgData name="Aurelien Domont" userId="6da7715ce44349b3" providerId="LiveId" clId="{7CD043B0-6B74-4D9A-84AE-1D8FE229AAC4}" dt="2023-01-25T05:07:17.436" v="9135" actId="20577"/>
          <ac:spMkLst>
            <pc:docMk/>
            <pc:sldMk cId="1189212000" sldId="2643"/>
            <ac:spMk id="16" creationId="{6C2BB713-9637-4B9B-938F-E9768876782A}"/>
          </ac:spMkLst>
        </pc:spChg>
        <pc:spChg chg="del">
          <ac:chgData name="Aurelien Domont" userId="6da7715ce44349b3" providerId="LiveId" clId="{7CD043B0-6B74-4D9A-84AE-1D8FE229AAC4}" dt="2023-01-25T05:07:20.134" v="9136" actId="478"/>
          <ac:spMkLst>
            <pc:docMk/>
            <pc:sldMk cId="1189212000" sldId="2643"/>
            <ac:spMk id="17" creationId="{B3E58FFD-27B7-A556-B631-7CA303F155A6}"/>
          </ac:spMkLst>
        </pc:spChg>
        <pc:spChg chg="del">
          <ac:chgData name="Aurelien Domont" userId="6da7715ce44349b3" providerId="LiveId" clId="{7CD043B0-6B74-4D9A-84AE-1D8FE229AAC4}" dt="2023-01-25T05:07:20.134" v="9136" actId="478"/>
          <ac:spMkLst>
            <pc:docMk/>
            <pc:sldMk cId="1189212000" sldId="2643"/>
            <ac:spMk id="18" creationId="{8D9A8A9B-EEB5-61F0-1B80-5386D4214F44}"/>
          </ac:spMkLst>
        </pc:spChg>
        <pc:graphicFrameChg chg="add mod modGraphic">
          <ac:chgData name="Aurelien Domont" userId="6da7715ce44349b3" providerId="LiveId" clId="{7CD043B0-6B74-4D9A-84AE-1D8FE229AAC4}" dt="2023-01-25T05:14:07.648" v="9226" actId="1076"/>
          <ac:graphicFrameMkLst>
            <pc:docMk/>
            <pc:sldMk cId="1189212000" sldId="2643"/>
            <ac:graphicFrameMk id="2" creationId="{86D6F807-79F5-5605-5913-87E4F3502C72}"/>
          </ac:graphicFrameMkLst>
        </pc:graphicFrameChg>
        <pc:picChg chg="del">
          <ac:chgData name="Aurelien Domont" userId="6da7715ce44349b3" providerId="LiveId" clId="{7CD043B0-6B74-4D9A-84AE-1D8FE229AAC4}" dt="2023-01-25T05:07:20.134" v="9136" actId="478"/>
          <ac:picMkLst>
            <pc:docMk/>
            <pc:sldMk cId="1189212000" sldId="2643"/>
            <ac:picMk id="25" creationId="{50634DB4-483D-A910-65F8-9E06F09F2522}"/>
          </ac:picMkLst>
        </pc:picChg>
        <pc:picChg chg="del">
          <ac:chgData name="Aurelien Domont" userId="6da7715ce44349b3" providerId="LiveId" clId="{7CD043B0-6B74-4D9A-84AE-1D8FE229AAC4}" dt="2023-01-25T05:07:20.134" v="9136" actId="478"/>
          <ac:picMkLst>
            <pc:docMk/>
            <pc:sldMk cId="1189212000" sldId="2643"/>
            <ac:picMk id="27" creationId="{F84216D0-2606-B66A-002F-E6A3C0B8BA18}"/>
          </ac:picMkLst>
        </pc:picChg>
        <pc:picChg chg="del">
          <ac:chgData name="Aurelien Domont" userId="6da7715ce44349b3" providerId="LiveId" clId="{7CD043B0-6B74-4D9A-84AE-1D8FE229AAC4}" dt="2023-01-25T05:07:20.134" v="9136" actId="478"/>
          <ac:picMkLst>
            <pc:docMk/>
            <pc:sldMk cId="1189212000" sldId="2643"/>
            <ac:picMk id="29" creationId="{1A8248D3-241F-17C3-8165-64C2CD9F018F}"/>
          </ac:picMkLst>
        </pc:picChg>
        <pc:picChg chg="del">
          <ac:chgData name="Aurelien Domont" userId="6da7715ce44349b3" providerId="LiveId" clId="{7CD043B0-6B74-4D9A-84AE-1D8FE229AAC4}" dt="2023-01-25T05:07:20.134" v="9136" actId="478"/>
          <ac:picMkLst>
            <pc:docMk/>
            <pc:sldMk cId="1189212000" sldId="2643"/>
            <ac:picMk id="30" creationId="{9EE07DE4-EA03-FDEF-5B3C-4F436C5C2FD6}"/>
          </ac:picMkLst>
        </pc:picChg>
      </pc:sldChg>
      <pc:sldChg chg="modSp add del mod">
        <pc:chgData name="Aurelien Domont" userId="6da7715ce44349b3" providerId="LiveId" clId="{7CD043B0-6B74-4D9A-84AE-1D8FE229AAC4}" dt="2023-01-25T05:12:41.932" v="9225" actId="47"/>
        <pc:sldMkLst>
          <pc:docMk/>
          <pc:sldMk cId="36905750" sldId="2644"/>
        </pc:sldMkLst>
        <pc:spChg chg="mod">
          <ac:chgData name="Aurelien Domont" userId="6da7715ce44349b3" providerId="LiveId" clId="{7CD043B0-6B74-4D9A-84AE-1D8FE229AAC4}" dt="2023-01-25T05:08:39.363" v="9143"/>
          <ac:spMkLst>
            <pc:docMk/>
            <pc:sldMk cId="36905750" sldId="2644"/>
            <ac:spMk id="4" creationId="{471FDD12-2524-D2C4-61FC-BBD6D7EE552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7/2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7/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32025396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26336780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15322137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1304681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19110252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15142080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14970198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12258959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018999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4249039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689657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983640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7674029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764995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26654315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47208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94241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8847966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6733892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97672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841228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41232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915045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9311502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430465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715991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5722589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0412520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750055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91345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664035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58659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1258791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5302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541470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14774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723752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8701623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770591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71465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37071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872758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280009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65983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763550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709760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373965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2855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590499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696374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9468744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6686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001070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644801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736269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32862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12136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637796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2477528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767215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99043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8760259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0729062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152779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45096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731495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28168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7367523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786972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18061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68856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773005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264535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71522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41868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28690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4977800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68593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155331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378849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4851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91963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6290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654267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54598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564385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 3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0515600"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31408"/>
            <a:ext cx="3554463" cy="4684614"/>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4262479" y="1634925"/>
            <a:ext cx="3554463" cy="4684614"/>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8035997" y="1631407"/>
            <a:ext cx="3554463" cy="46846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4466245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 1 Text Box">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0515600"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31404"/>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54152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oleObject" Target="../embeddings/oleObject9.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17.xml"/><Relationship Id="rId5" Type="http://schemas.openxmlformats.org/officeDocument/2006/relationships/slideLayout" Target="../slideLayouts/slideLayout14.xml"/><Relationship Id="rId10" Type="http://schemas.openxmlformats.org/officeDocument/2006/relationships/tags" Target="../tags/tag16.xml"/><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oleObject" Target="../embeddings/oleObject18.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32.xml"/><Relationship Id="rId5" Type="http://schemas.openxmlformats.org/officeDocument/2006/relationships/slideLayout" Target="../slideLayouts/slideLayout22.xml"/><Relationship Id="rId10" Type="http://schemas.openxmlformats.org/officeDocument/2006/relationships/tags" Target="../tags/tag31.xml"/><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oleObject" Target="../embeddings/oleObject27.bin"/><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ags" Target="../tags/tag47.xml"/><Relationship Id="rId5" Type="http://schemas.openxmlformats.org/officeDocument/2006/relationships/slideLayout" Target="../slideLayouts/slideLayout30.xml"/><Relationship Id="rId10" Type="http://schemas.openxmlformats.org/officeDocument/2006/relationships/tags" Target="../tags/tag46.xml"/><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oleObject" Target="../embeddings/oleObject36.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ags" Target="../tags/tag62.xml"/><Relationship Id="rId5" Type="http://schemas.openxmlformats.org/officeDocument/2006/relationships/slideLayout" Target="../slideLayouts/slideLayout38.xml"/><Relationship Id="rId10" Type="http://schemas.openxmlformats.org/officeDocument/2006/relationships/tags" Target="../tags/tag61.xml"/><Relationship Id="rId4" Type="http://schemas.openxmlformats.org/officeDocument/2006/relationships/slideLayout" Target="../slideLayouts/slideLayout3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e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oleObject" Target="../embeddings/oleObject45.bin"/><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77.xml"/><Relationship Id="rId5" Type="http://schemas.openxmlformats.org/officeDocument/2006/relationships/slideLayout" Target="../slideLayouts/slideLayout46.xml"/><Relationship Id="rId10" Type="http://schemas.openxmlformats.org/officeDocument/2006/relationships/tags" Target="../tags/tag76.xml"/><Relationship Id="rId4" Type="http://schemas.openxmlformats.org/officeDocument/2006/relationships/slideLayout" Target="../slideLayouts/slideLayout4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1.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oleObject" Target="../embeddings/oleObject54.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ags" Target="../tags/tag92.xml"/><Relationship Id="rId5" Type="http://schemas.openxmlformats.org/officeDocument/2006/relationships/slideLayout" Target="../slideLayouts/slideLayout54.xml"/><Relationship Id="rId10" Type="http://schemas.openxmlformats.org/officeDocument/2006/relationships/tags" Target="../tags/tag91.xml"/><Relationship Id="rId4" Type="http://schemas.openxmlformats.org/officeDocument/2006/relationships/slideLayout" Target="../slideLayouts/slideLayout53.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image" Target="../media/image1.emf"/><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oleObject" Target="../embeddings/oleObject56.bin"/><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ags" Target="../tags/tag96.xml"/><Relationship Id="rId5" Type="http://schemas.openxmlformats.org/officeDocument/2006/relationships/slideLayout" Target="../slideLayouts/slideLayout62.xml"/><Relationship Id="rId10" Type="http://schemas.openxmlformats.org/officeDocument/2006/relationships/tags" Target="../tags/tag95.xml"/><Relationship Id="rId4" Type="http://schemas.openxmlformats.org/officeDocument/2006/relationships/slideLayout" Target="../slideLayouts/slideLayout61.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image" Target="../media/image1.emf"/><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oleObject" Target="../embeddings/oleObject58.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ags" Target="../tags/tag100.xml"/><Relationship Id="rId5" Type="http://schemas.openxmlformats.org/officeDocument/2006/relationships/slideLayout" Target="../slideLayouts/slideLayout70.xml"/><Relationship Id="rId10" Type="http://schemas.openxmlformats.org/officeDocument/2006/relationships/tags" Target="../tags/tag99.xml"/><Relationship Id="rId4" Type="http://schemas.openxmlformats.org/officeDocument/2006/relationships/slideLayout" Target="../slideLayouts/slideLayout69.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1"/>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179465119"/>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4074" r:id="rId8"/>
    <p:sldLayoutId id="2147484075" r:id="rId9"/>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565845794"/>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2650694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755371940"/>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799331560"/>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781313246"/>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899230155"/>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007903986"/>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879794493"/>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slideLayout" Target="../slideLayouts/slideLayout3.xml"/><Relationship Id="rId7" Type="http://schemas.openxmlformats.org/officeDocument/2006/relationships/hyperlink" Target="https://www.domontconsulting.com/pages/post-your-project" TargetMode="External"/><Relationship Id="rId12" Type="http://schemas.openxmlformats.org/officeDocument/2006/relationships/image" Target="../media/image87.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emf"/><Relationship Id="rId11" Type="http://schemas.openxmlformats.org/officeDocument/2006/relationships/image" Target="../media/image86.png"/><Relationship Id="rId5" Type="http://schemas.openxmlformats.org/officeDocument/2006/relationships/oleObject" Target="../embeddings/oleObject68.bin"/><Relationship Id="rId10" Type="http://schemas.openxmlformats.org/officeDocument/2006/relationships/image" Target="../media/image85.png"/><Relationship Id="rId4" Type="http://schemas.openxmlformats.org/officeDocument/2006/relationships/notesSlide" Target="../notesSlides/notesSlide9.xml"/><Relationship Id="rId9" Type="http://schemas.openxmlformats.org/officeDocument/2006/relationships/image" Target="../media/image84.png"/></Relationships>
</file>

<file path=ppt/slides/_rels/slide1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90.png"/><Relationship Id="rId2" Type="http://schemas.openxmlformats.org/officeDocument/2006/relationships/slideLayout" Target="../slideLayouts/slideLayout3.xml"/><Relationship Id="rId1" Type="http://schemas.openxmlformats.org/officeDocument/2006/relationships/tags" Target="../tags/tag123.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image" Target="../media/image89.png"/></Relationships>
</file>

<file path=ppt/slides/_rels/slide13.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notesSlide" Target="../notesSlides/notesSlide12.xml"/><Relationship Id="rId7" Type="http://schemas.openxmlformats.org/officeDocument/2006/relationships/image" Target="../media/image92.png"/><Relationship Id="rId2" Type="http://schemas.openxmlformats.org/officeDocument/2006/relationships/slideLayout" Target="../slideLayouts/slideLayout3.xml"/><Relationship Id="rId1" Type="http://schemas.openxmlformats.org/officeDocument/2006/relationships/tags" Target="../tags/tag124.xml"/><Relationship Id="rId6" Type="http://schemas.openxmlformats.org/officeDocument/2006/relationships/image" Target="../media/image91.pn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4.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13.xml"/><Relationship Id="rId7" Type="http://schemas.openxmlformats.org/officeDocument/2006/relationships/image" Target="../media/image95.png"/><Relationship Id="rId2" Type="http://schemas.openxmlformats.org/officeDocument/2006/relationships/slideLayout" Target="../slideLayouts/slideLayout3.xml"/><Relationship Id="rId1" Type="http://schemas.openxmlformats.org/officeDocument/2006/relationships/tags" Target="../tags/tag125.xml"/><Relationship Id="rId6" Type="http://schemas.openxmlformats.org/officeDocument/2006/relationships/image" Target="../media/image94.png"/><Relationship Id="rId5" Type="http://schemas.openxmlformats.org/officeDocument/2006/relationships/image" Target="../media/image2.emf"/><Relationship Id="rId4" Type="http://schemas.openxmlformats.org/officeDocument/2006/relationships/oleObject" Target="../embeddings/oleObject70.bin"/></Relationships>
</file>

<file path=ppt/slides/_rels/slide1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hyperlink" Target="https://www.deepl.com/translator" TargetMode="External"/><Relationship Id="rId3" Type="http://schemas.openxmlformats.org/officeDocument/2006/relationships/notesSlide" Target="../notesSlides/notesSlide15.xml"/><Relationship Id="rId7" Type="http://schemas.openxmlformats.org/officeDocument/2006/relationships/image" Target="../media/image98.svg"/><Relationship Id="rId2" Type="http://schemas.openxmlformats.org/officeDocument/2006/relationships/slideLayout" Target="../slideLayouts/slideLayout3.xml"/><Relationship Id="rId1" Type="http://schemas.openxmlformats.org/officeDocument/2006/relationships/tags" Target="../tags/tag128.xml"/><Relationship Id="rId6" Type="http://schemas.openxmlformats.org/officeDocument/2006/relationships/image" Target="../media/image97.png"/><Relationship Id="rId5" Type="http://schemas.openxmlformats.org/officeDocument/2006/relationships/image" Target="../media/image1.emf"/><Relationship Id="rId10" Type="http://schemas.openxmlformats.org/officeDocument/2006/relationships/image" Target="../media/image100.svg"/><Relationship Id="rId4" Type="http://schemas.openxmlformats.org/officeDocument/2006/relationships/oleObject" Target="../embeddings/oleObject64.bin"/><Relationship Id="rId9" Type="http://schemas.openxmlformats.org/officeDocument/2006/relationships/image" Target="../media/image99.png"/></Relationships>
</file>

<file path=ppt/slides/_rels/slide17.xml.rels><?xml version="1.0" encoding="UTF-8" standalone="yes"?>
<Relationships xmlns="http://schemas.openxmlformats.org/package/2006/relationships"><Relationship Id="rId8" Type="http://schemas.openxmlformats.org/officeDocument/2006/relationships/hyperlink" Target="https://www.deepl.com/translator" TargetMode="External"/><Relationship Id="rId3" Type="http://schemas.openxmlformats.org/officeDocument/2006/relationships/notesSlide" Target="../notesSlides/notesSlide16.xml"/><Relationship Id="rId7" Type="http://schemas.openxmlformats.org/officeDocument/2006/relationships/image" Target="../media/image98.svg"/><Relationship Id="rId2" Type="http://schemas.openxmlformats.org/officeDocument/2006/relationships/slideLayout" Target="../slideLayouts/slideLayout3.xml"/><Relationship Id="rId1" Type="http://schemas.openxmlformats.org/officeDocument/2006/relationships/tags" Target="../tags/tag129.xml"/><Relationship Id="rId6" Type="http://schemas.openxmlformats.org/officeDocument/2006/relationships/image" Target="../media/image97.png"/><Relationship Id="rId5" Type="http://schemas.openxmlformats.org/officeDocument/2006/relationships/image" Target="../media/image1.emf"/><Relationship Id="rId10" Type="http://schemas.openxmlformats.org/officeDocument/2006/relationships/image" Target="../media/image100.svg"/><Relationship Id="rId4" Type="http://schemas.openxmlformats.org/officeDocument/2006/relationships/oleObject" Target="../embeddings/oleObject64.bin"/><Relationship Id="rId9" Type="http://schemas.openxmlformats.org/officeDocument/2006/relationships/image" Target="../media/image99.png"/></Relationships>
</file>

<file path=ppt/slides/_rels/slide1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hyperlink" Target="https://www.deepl.com/translator" TargetMode="External"/><Relationship Id="rId3" Type="http://schemas.openxmlformats.org/officeDocument/2006/relationships/notesSlide" Target="../notesSlides/notesSlide17.xml"/><Relationship Id="rId7" Type="http://schemas.openxmlformats.org/officeDocument/2006/relationships/image" Target="../media/image98.svg"/><Relationship Id="rId2" Type="http://schemas.openxmlformats.org/officeDocument/2006/relationships/slideLayout" Target="../slideLayouts/slideLayout3.xml"/><Relationship Id="rId1" Type="http://schemas.openxmlformats.org/officeDocument/2006/relationships/tags" Target="../tags/tag130.xml"/><Relationship Id="rId6" Type="http://schemas.openxmlformats.org/officeDocument/2006/relationships/image" Target="../media/image97.png"/><Relationship Id="rId5" Type="http://schemas.openxmlformats.org/officeDocument/2006/relationships/image" Target="../media/image1.emf"/><Relationship Id="rId10" Type="http://schemas.openxmlformats.org/officeDocument/2006/relationships/image" Target="../media/image100.svg"/><Relationship Id="rId4" Type="http://schemas.openxmlformats.org/officeDocument/2006/relationships/oleObject" Target="../embeddings/oleObject64.bin"/><Relationship Id="rId9" Type="http://schemas.openxmlformats.org/officeDocument/2006/relationships/image" Target="../media/image99.png"/></Relationships>
</file>

<file path=ppt/slides/_rels/slide2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18.xml"/><Relationship Id="rId9" Type="http://schemas.openxmlformats.org/officeDocument/2006/relationships/hyperlink" Target="http://www.domontconsulting.com/"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domontconsulting.com/pages/full-access" TargetMode="External"/><Relationship Id="rId3" Type="http://schemas.openxmlformats.org/officeDocument/2006/relationships/slideLayout" Target="../slideLayouts/slideLayout3.xml"/><Relationship Id="rId7" Type="http://schemas.openxmlformats.org/officeDocument/2006/relationships/hyperlink" Target="http://www.domontconsulting.com/" TargetMode="Externa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62.bin"/><Relationship Id="rId10" Type="http://schemas.openxmlformats.org/officeDocument/2006/relationships/hyperlink" Target="https://www.linkedin.com/in/aurelien-domont" TargetMode="External"/><Relationship Id="rId4" Type="http://schemas.openxmlformats.org/officeDocument/2006/relationships/notesSlide" Target="../notesSlides/notesSlide3.xml"/><Relationship Id="rId9" Type="http://schemas.openxmlformats.org/officeDocument/2006/relationships/image" Target="../media/image7.jpg"/></Relationships>
</file>

<file path=ppt/slides/_rels/slide4.xml.rels><?xml version="1.0" encoding="UTF-8" standalone="yes"?>
<Relationships xmlns="http://schemas.openxmlformats.org/package/2006/relationships"><Relationship Id="rId13" Type="http://schemas.openxmlformats.org/officeDocument/2006/relationships/image" Target="../media/image14.sv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svg"/><Relationship Id="rId21" Type="http://schemas.openxmlformats.org/officeDocument/2006/relationships/image" Target="../media/image22.svg"/><Relationship Id="rId34" Type="http://schemas.openxmlformats.org/officeDocument/2006/relationships/image" Target="../media/image35.png"/><Relationship Id="rId42" Type="http://schemas.openxmlformats.org/officeDocument/2006/relationships/image" Target="../media/image43.png"/><Relationship Id="rId7" Type="http://schemas.openxmlformats.org/officeDocument/2006/relationships/image" Target="../media/image2.emf"/><Relationship Id="rId2" Type="http://schemas.openxmlformats.org/officeDocument/2006/relationships/tags" Target="../tags/tag110.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svg"/><Relationship Id="rId41" Type="http://schemas.openxmlformats.org/officeDocument/2006/relationships/image" Target="../media/image42.svg"/><Relationship Id="rId1" Type="http://schemas.openxmlformats.org/officeDocument/2006/relationships/tags" Target="../tags/tag109.xml"/><Relationship Id="rId6" Type="http://schemas.openxmlformats.org/officeDocument/2006/relationships/oleObject" Target="../embeddings/oleObject63.bin"/><Relationship Id="rId11" Type="http://schemas.openxmlformats.org/officeDocument/2006/relationships/image" Target="../media/image12.sv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svg"/><Relationship Id="rId40" Type="http://schemas.openxmlformats.org/officeDocument/2006/relationships/image" Target="../media/image41.png"/><Relationship Id="rId5" Type="http://schemas.openxmlformats.org/officeDocument/2006/relationships/notesSlide" Target="../notesSlides/notesSlide4.xml"/><Relationship Id="rId15" Type="http://schemas.openxmlformats.org/officeDocument/2006/relationships/image" Target="../media/image16.svg"/><Relationship Id="rId23" Type="http://schemas.openxmlformats.org/officeDocument/2006/relationships/image" Target="../media/image24.svg"/><Relationship Id="rId28" Type="http://schemas.openxmlformats.org/officeDocument/2006/relationships/image" Target="../media/image29.png"/><Relationship Id="rId36" Type="http://schemas.openxmlformats.org/officeDocument/2006/relationships/image" Target="../media/image37.png"/><Relationship Id="rId10" Type="http://schemas.openxmlformats.org/officeDocument/2006/relationships/image" Target="../media/image11.png"/><Relationship Id="rId19" Type="http://schemas.openxmlformats.org/officeDocument/2006/relationships/image" Target="../media/image20.svg"/><Relationship Id="rId31" Type="http://schemas.openxmlformats.org/officeDocument/2006/relationships/image" Target="../media/image32.svg"/><Relationship Id="rId4" Type="http://schemas.openxmlformats.org/officeDocument/2006/relationships/slideLayout" Target="../slideLayouts/slideLayout3.xml"/><Relationship Id="rId9" Type="http://schemas.openxmlformats.org/officeDocument/2006/relationships/image" Target="../media/image10.sv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svg"/><Relationship Id="rId30" Type="http://schemas.openxmlformats.org/officeDocument/2006/relationships/image" Target="../media/image31.png"/><Relationship Id="rId35" Type="http://schemas.openxmlformats.org/officeDocument/2006/relationships/image" Target="../media/image36.svg"/><Relationship Id="rId43" Type="http://schemas.openxmlformats.org/officeDocument/2006/relationships/image" Target="../media/image44.svg"/><Relationship Id="rId8" Type="http://schemas.openxmlformats.org/officeDocument/2006/relationships/image" Target="../media/image9.png"/><Relationship Id="rId3" Type="http://schemas.openxmlformats.org/officeDocument/2006/relationships/tags" Target="../tags/tag111.xml"/><Relationship Id="rId12" Type="http://schemas.openxmlformats.org/officeDocument/2006/relationships/image" Target="../media/image13.png"/><Relationship Id="rId17" Type="http://schemas.openxmlformats.org/officeDocument/2006/relationships/image" Target="../media/image18.svg"/><Relationship Id="rId25" Type="http://schemas.openxmlformats.org/officeDocument/2006/relationships/image" Target="../media/image26.svg"/><Relationship Id="rId33" Type="http://schemas.openxmlformats.org/officeDocument/2006/relationships/image" Target="../media/image34.svg"/><Relationship Id="rId38" Type="http://schemas.openxmlformats.org/officeDocument/2006/relationships/image" Target="../media/image39.png"/></Relationships>
</file>

<file path=ppt/slides/_rels/slide5.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18" Type="http://schemas.openxmlformats.org/officeDocument/2006/relationships/image" Target="../media/image56.svg"/><Relationship Id="rId3" Type="http://schemas.openxmlformats.org/officeDocument/2006/relationships/slideLayout" Target="../slideLayouts/slideLayout3.xml"/><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svg"/><Relationship Id="rId17" Type="http://schemas.openxmlformats.org/officeDocument/2006/relationships/image" Target="../media/image55.png"/><Relationship Id="rId2" Type="http://schemas.openxmlformats.org/officeDocument/2006/relationships/tags" Target="../tags/tag113.xml"/><Relationship Id="rId16" Type="http://schemas.openxmlformats.org/officeDocument/2006/relationships/image" Target="../media/image54.svg"/><Relationship Id="rId20" Type="http://schemas.openxmlformats.org/officeDocument/2006/relationships/image" Target="../media/image58.svg"/><Relationship Id="rId1" Type="http://schemas.openxmlformats.org/officeDocument/2006/relationships/tags" Target="../tags/tag112.xml"/><Relationship Id="rId6" Type="http://schemas.openxmlformats.org/officeDocument/2006/relationships/image" Target="../media/image1.emf"/><Relationship Id="rId11" Type="http://schemas.openxmlformats.org/officeDocument/2006/relationships/image" Target="../media/image49.png"/><Relationship Id="rId5" Type="http://schemas.openxmlformats.org/officeDocument/2006/relationships/oleObject" Target="../embeddings/oleObject64.bin"/><Relationship Id="rId15" Type="http://schemas.openxmlformats.org/officeDocument/2006/relationships/image" Target="../media/image53.png"/><Relationship Id="rId10" Type="http://schemas.openxmlformats.org/officeDocument/2006/relationships/image" Target="../media/image48.svg"/><Relationship Id="rId19" Type="http://schemas.openxmlformats.org/officeDocument/2006/relationships/image" Target="../media/image57.png"/><Relationship Id="rId4" Type="http://schemas.openxmlformats.org/officeDocument/2006/relationships/notesSlide" Target="../notesSlides/notesSlide5.xml"/><Relationship Id="rId9" Type="http://schemas.openxmlformats.org/officeDocument/2006/relationships/image" Target="../media/image47.png"/><Relationship Id="rId14" Type="http://schemas.openxmlformats.org/officeDocument/2006/relationships/image" Target="../media/image52.svg"/><Relationship Id="rId22" Type="http://schemas.openxmlformats.org/officeDocument/2006/relationships/image" Target="../media/image60.svg"/></Relationships>
</file>

<file path=ppt/slides/_rels/slide6.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18" Type="http://schemas.openxmlformats.org/officeDocument/2006/relationships/image" Target="../media/image72.svg"/><Relationship Id="rId3" Type="http://schemas.openxmlformats.org/officeDocument/2006/relationships/slideLayout" Target="../slideLayouts/slideLayout3.xml"/><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svg"/><Relationship Id="rId17" Type="http://schemas.openxmlformats.org/officeDocument/2006/relationships/image" Target="../media/image71.png"/><Relationship Id="rId2" Type="http://schemas.openxmlformats.org/officeDocument/2006/relationships/tags" Target="../tags/tag115.xml"/><Relationship Id="rId16" Type="http://schemas.openxmlformats.org/officeDocument/2006/relationships/image" Target="../media/image70.svg"/><Relationship Id="rId20" Type="http://schemas.openxmlformats.org/officeDocument/2006/relationships/image" Target="../media/image74.svg"/><Relationship Id="rId1" Type="http://schemas.openxmlformats.org/officeDocument/2006/relationships/tags" Target="../tags/tag114.xml"/><Relationship Id="rId6" Type="http://schemas.openxmlformats.org/officeDocument/2006/relationships/image" Target="../media/image1.emf"/><Relationship Id="rId11" Type="http://schemas.openxmlformats.org/officeDocument/2006/relationships/image" Target="../media/image65.png"/><Relationship Id="rId24" Type="http://schemas.openxmlformats.org/officeDocument/2006/relationships/image" Target="../media/image78.svg"/><Relationship Id="rId5" Type="http://schemas.openxmlformats.org/officeDocument/2006/relationships/oleObject" Target="../embeddings/oleObject65.bin"/><Relationship Id="rId15" Type="http://schemas.openxmlformats.org/officeDocument/2006/relationships/image" Target="../media/image69.png"/><Relationship Id="rId23" Type="http://schemas.openxmlformats.org/officeDocument/2006/relationships/image" Target="../media/image77.png"/><Relationship Id="rId10" Type="http://schemas.openxmlformats.org/officeDocument/2006/relationships/image" Target="../media/image64.svg"/><Relationship Id="rId19" Type="http://schemas.openxmlformats.org/officeDocument/2006/relationships/image" Target="../media/image73.png"/><Relationship Id="rId4" Type="http://schemas.openxmlformats.org/officeDocument/2006/relationships/notesSlide" Target="../notesSlides/notesSlide6.xml"/><Relationship Id="rId9" Type="http://schemas.openxmlformats.org/officeDocument/2006/relationships/image" Target="../media/image63.png"/><Relationship Id="rId14" Type="http://schemas.openxmlformats.org/officeDocument/2006/relationships/image" Target="../media/image68.svg"/><Relationship Id="rId22" Type="http://schemas.openxmlformats.org/officeDocument/2006/relationships/image" Target="../media/image76.svg"/></Relationships>
</file>

<file path=ppt/slides/_rels/slide7.xml.rels><?xml version="1.0" encoding="UTF-8" standalone="yes"?>
<Relationships xmlns="http://schemas.openxmlformats.org/package/2006/relationships"><Relationship Id="rId3" Type="http://schemas.openxmlformats.org/officeDocument/2006/relationships/hyperlink" Target="https://www.slidebooks.com/pages/reviews" TargetMode="External"/><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81.png"/><Relationship Id="rId2" Type="http://schemas.openxmlformats.org/officeDocument/2006/relationships/slideLayout" Target="../slideLayouts/slideLayout3.xml"/><Relationship Id="rId1" Type="http://schemas.openxmlformats.org/officeDocument/2006/relationships/tags" Target="../tags/tag116.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notesSlide" Target="../notesSlides/notesSlide8.xml"/><Relationship Id="rId9" Type="http://schemas.openxmlformats.org/officeDocument/2006/relationships/hyperlink" Target="https://www.domontconsulting.com/pages/full-acces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1096707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vert="horz">
            <a:normAutofit/>
          </a:bodyPr>
          <a:lstStyle/>
          <a:p>
            <a:pPr>
              <a:defRPr/>
            </a:pPr>
            <a:r>
              <a:rPr lang="en-GB" sz="5400" dirty="0"/>
              <a:t>Onboarding</a:t>
            </a:r>
            <a:endParaRPr lang="en-US" sz="6000" b="0" dirty="0"/>
          </a:p>
        </p:txBody>
      </p:sp>
      <p:sp>
        <p:nvSpPr>
          <p:cNvPr id="16" name="Text Placeholder 2">
            <a:extLst>
              <a:ext uri="{FF2B5EF4-FFF2-40B4-BE49-F238E27FC236}">
                <a16:creationId xmlns:a16="http://schemas.microsoft.com/office/drawing/2014/main" id="{2436D48A-FAB5-4E4C-AB97-233E7A3795E6}"/>
              </a:ext>
            </a:extLst>
          </p:cNvPr>
          <p:cNvSpPr>
            <a:spLocks noGrp="1"/>
          </p:cNvSpPr>
          <p:nvPr>
            <p:ph type="body" sz="quarter" idx="11"/>
          </p:nvPr>
        </p:nvSpPr>
        <p:spPr>
          <a:xfrm>
            <a:off x="6176763" y="3572436"/>
            <a:ext cx="5316053" cy="553998"/>
          </a:xfrm>
        </p:spPr>
        <p:txBody>
          <a:bodyPr wrap="square" lIns="0" tIns="0" rIns="0" bIns="0">
            <a:spAutoFit/>
          </a:bodyPr>
          <a:lstStyle/>
          <a:p>
            <a:r>
              <a:rPr lang="en-GB" sz="2000" b="1" dirty="0">
                <a:solidFill>
                  <a:schemeClr val="accent1"/>
                </a:solidFill>
              </a:rPr>
              <a:t>Created by ex-McKinsey, Deloitte &amp; BCG Management Consultants</a:t>
            </a:r>
            <a:endParaRPr lang="en-US" sz="2000" dirty="0">
              <a:solidFill>
                <a:schemeClr val="accent1"/>
              </a:solidFill>
            </a:endParaRP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ea typeface="+mn-ea"/>
                  <a:cs typeface="+mn-cs"/>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7" name="Picture 6">
            <a:extLst>
              <a:ext uri="{FF2B5EF4-FFF2-40B4-BE49-F238E27FC236}">
                <a16:creationId xmlns:a16="http://schemas.microsoft.com/office/drawing/2014/main" id="{E9965CB9-8342-68A0-A67D-40729389100D}"/>
              </a:ext>
            </a:extLst>
          </p:cNvPr>
          <p:cNvPicPr>
            <a:picLocks noChangeAspect="1"/>
          </p:cNvPicPr>
          <p:nvPr/>
        </p:nvPicPr>
        <p:blipFill>
          <a:blip r:embed="rId7"/>
          <a:stretch>
            <a:fillRect/>
          </a:stretch>
        </p:blipFill>
        <p:spPr>
          <a:xfrm>
            <a:off x="8161795" y="5611869"/>
            <a:ext cx="3779848" cy="871804"/>
          </a:xfrm>
          <a:prstGeom prst="rect">
            <a:avLst/>
          </a:prstGeom>
        </p:spPr>
      </p:pic>
      <p:pic>
        <p:nvPicPr>
          <p:cNvPr id="13" name="Picture 12" descr="Compass, matches, penknife on wood surface">
            <a:extLst>
              <a:ext uri="{FF2B5EF4-FFF2-40B4-BE49-F238E27FC236}">
                <a16:creationId xmlns:a16="http://schemas.microsoft.com/office/drawing/2014/main" id="{4076F205-A1A5-F467-771D-4A01CA4FD381}"/>
              </a:ext>
            </a:extLst>
          </p:cNvPr>
          <p:cNvPicPr>
            <a:picLocks noChangeAspect="1"/>
          </p:cNvPicPr>
          <p:nvPr/>
        </p:nvPicPr>
        <p:blipFill>
          <a:blip r:embed="rId8"/>
          <a:stretch>
            <a:fillRect/>
          </a:stretch>
        </p:blipFill>
        <p:spPr>
          <a:xfrm>
            <a:off x="250357" y="3043242"/>
            <a:ext cx="5223346" cy="3529007"/>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additional help on top of our Management Consulting Toolkits? </a:t>
            </a:r>
            <a:br>
              <a:rPr lang="en-US" sz="2400" dirty="0">
                <a:latin typeface="+mn-lt"/>
              </a:rPr>
            </a:br>
            <a:r>
              <a:rPr lang="en-US" sz="2000" b="0" dirty="0">
                <a:latin typeface="+mn-lt"/>
              </a:rPr>
              <a:t>Send us a brief and we’ll find you the right talent from our network of 500 tier-1 Management Consultants (the average daily rate is $3k)</a:t>
            </a:r>
            <a:endParaRPr lang="en-US" sz="2400" b="0" dirty="0">
              <a:latin typeface="+mn-lt"/>
            </a:endParaRPr>
          </a:p>
        </p:txBody>
      </p:sp>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a:xfrm>
            <a:off x="9181195" y="6632713"/>
            <a:ext cx="2743200" cy="1800000"/>
          </a:xfrm>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782000" y="618093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Click here to send us a Project Brief</a:t>
            </a:r>
          </a:p>
        </p:txBody>
      </p:sp>
      <p:pic>
        <p:nvPicPr>
          <p:cNvPr id="18" name="Picture 17">
            <a:extLst>
              <a:ext uri="{FF2B5EF4-FFF2-40B4-BE49-F238E27FC236}">
                <a16:creationId xmlns:a16="http://schemas.microsoft.com/office/drawing/2014/main" id="{3A26D682-5264-B706-F6AF-0D72378DBAC9}"/>
              </a:ext>
            </a:extLst>
          </p:cNvPr>
          <p:cNvPicPr>
            <a:picLocks noChangeAspect="1"/>
          </p:cNvPicPr>
          <p:nvPr/>
        </p:nvPicPr>
        <p:blipFill>
          <a:blip r:embed="rId8"/>
          <a:stretch>
            <a:fillRect/>
          </a:stretch>
        </p:blipFill>
        <p:spPr>
          <a:xfrm>
            <a:off x="1015918" y="1696030"/>
            <a:ext cx="3187864" cy="2140060"/>
          </a:xfrm>
          <a:prstGeom prst="rect">
            <a:avLst/>
          </a:prstGeom>
        </p:spPr>
      </p:pic>
      <p:pic>
        <p:nvPicPr>
          <p:cNvPr id="20" name="Picture 19">
            <a:extLst>
              <a:ext uri="{FF2B5EF4-FFF2-40B4-BE49-F238E27FC236}">
                <a16:creationId xmlns:a16="http://schemas.microsoft.com/office/drawing/2014/main" id="{611A84D5-7403-36BA-1766-D2F531D22681}"/>
              </a:ext>
            </a:extLst>
          </p:cNvPr>
          <p:cNvPicPr>
            <a:picLocks noChangeAspect="1"/>
          </p:cNvPicPr>
          <p:nvPr/>
        </p:nvPicPr>
        <p:blipFill>
          <a:blip r:embed="rId9"/>
          <a:stretch>
            <a:fillRect/>
          </a:stretch>
        </p:blipFill>
        <p:spPr>
          <a:xfrm>
            <a:off x="4444918" y="1696030"/>
            <a:ext cx="3187864" cy="2133710"/>
          </a:xfrm>
          <a:prstGeom prst="rect">
            <a:avLst/>
          </a:prstGeom>
        </p:spPr>
      </p:pic>
      <p:pic>
        <p:nvPicPr>
          <p:cNvPr id="22" name="Picture 21">
            <a:extLst>
              <a:ext uri="{FF2B5EF4-FFF2-40B4-BE49-F238E27FC236}">
                <a16:creationId xmlns:a16="http://schemas.microsoft.com/office/drawing/2014/main" id="{72DEE20F-275F-C091-1F85-E12BC455C0BA}"/>
              </a:ext>
            </a:extLst>
          </p:cNvPr>
          <p:cNvPicPr>
            <a:picLocks noChangeAspect="1"/>
          </p:cNvPicPr>
          <p:nvPr/>
        </p:nvPicPr>
        <p:blipFill>
          <a:blip r:embed="rId10"/>
          <a:stretch>
            <a:fillRect/>
          </a:stretch>
        </p:blipFill>
        <p:spPr>
          <a:xfrm>
            <a:off x="7873918" y="1696030"/>
            <a:ext cx="3187864" cy="2152761"/>
          </a:xfrm>
          <a:prstGeom prst="rect">
            <a:avLst/>
          </a:prstGeom>
        </p:spPr>
      </p:pic>
      <p:pic>
        <p:nvPicPr>
          <p:cNvPr id="24" name="Picture 23">
            <a:extLst>
              <a:ext uri="{FF2B5EF4-FFF2-40B4-BE49-F238E27FC236}">
                <a16:creationId xmlns:a16="http://schemas.microsoft.com/office/drawing/2014/main" id="{14A2B9D2-D853-FE69-FBE1-01DA776C2EF9}"/>
              </a:ext>
            </a:extLst>
          </p:cNvPr>
          <p:cNvPicPr>
            <a:picLocks noChangeAspect="1"/>
          </p:cNvPicPr>
          <p:nvPr/>
        </p:nvPicPr>
        <p:blipFill>
          <a:blip r:embed="rId11"/>
          <a:stretch>
            <a:fillRect/>
          </a:stretch>
        </p:blipFill>
        <p:spPr>
          <a:xfrm>
            <a:off x="1015918" y="4012597"/>
            <a:ext cx="3181514" cy="2133710"/>
          </a:xfrm>
          <a:prstGeom prst="rect">
            <a:avLst/>
          </a:prstGeom>
        </p:spPr>
      </p:pic>
      <p:pic>
        <p:nvPicPr>
          <p:cNvPr id="26" name="Picture 25">
            <a:extLst>
              <a:ext uri="{FF2B5EF4-FFF2-40B4-BE49-F238E27FC236}">
                <a16:creationId xmlns:a16="http://schemas.microsoft.com/office/drawing/2014/main" id="{6855FA9D-ABAE-4A3D-DC8B-78877AE4B608}"/>
              </a:ext>
            </a:extLst>
          </p:cNvPr>
          <p:cNvPicPr>
            <a:picLocks noChangeAspect="1"/>
          </p:cNvPicPr>
          <p:nvPr/>
        </p:nvPicPr>
        <p:blipFill>
          <a:blip r:embed="rId12"/>
          <a:stretch>
            <a:fillRect/>
          </a:stretch>
        </p:blipFill>
        <p:spPr>
          <a:xfrm>
            <a:off x="4444918" y="4012597"/>
            <a:ext cx="3168813" cy="2121009"/>
          </a:xfrm>
          <a:prstGeom prst="rect">
            <a:avLst/>
          </a:prstGeom>
        </p:spPr>
      </p:pic>
      <p:pic>
        <p:nvPicPr>
          <p:cNvPr id="28" name="Picture 27">
            <a:extLst>
              <a:ext uri="{FF2B5EF4-FFF2-40B4-BE49-F238E27FC236}">
                <a16:creationId xmlns:a16="http://schemas.microsoft.com/office/drawing/2014/main" id="{6894912F-62D0-D110-AAA1-7996F52565A5}"/>
              </a:ext>
            </a:extLst>
          </p:cNvPr>
          <p:cNvPicPr>
            <a:picLocks noChangeAspect="1"/>
          </p:cNvPicPr>
          <p:nvPr/>
        </p:nvPicPr>
        <p:blipFill>
          <a:blip r:embed="rId13"/>
          <a:stretch>
            <a:fillRect/>
          </a:stretch>
        </p:blipFill>
        <p:spPr>
          <a:xfrm>
            <a:off x="7861217" y="4012597"/>
            <a:ext cx="3181514" cy="2114659"/>
          </a:xfrm>
          <a:prstGeom prst="rect">
            <a:avLst/>
          </a:prstGeom>
        </p:spPr>
      </p:pic>
    </p:spTree>
    <p:extLst>
      <p:ext uri="{BB962C8B-B14F-4D97-AF65-F5344CB8AC3E}">
        <p14:creationId xmlns:p14="http://schemas.microsoft.com/office/powerpoint/2010/main" val="15343998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1A89B61-F9C9-4B44-9B25-CF7D03A78F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1</a:t>
            </a:fld>
            <a:endParaRPr lang="en-US" sz="1000" dirty="0">
              <a:solidFill>
                <a:srgbClr val="ADAFBB"/>
              </a:solidFill>
            </a:endParaRPr>
          </a:p>
        </p:txBody>
      </p:sp>
      <p:grpSp>
        <p:nvGrpSpPr>
          <p:cNvPr id="12" name="Group 11">
            <a:extLst>
              <a:ext uri="{FF2B5EF4-FFF2-40B4-BE49-F238E27FC236}">
                <a16:creationId xmlns:a16="http://schemas.microsoft.com/office/drawing/2014/main" id="{B26ADAC7-85DE-9F04-028E-74A34B53B648}"/>
              </a:ext>
            </a:extLst>
          </p:cNvPr>
          <p:cNvGrpSpPr/>
          <p:nvPr/>
        </p:nvGrpSpPr>
        <p:grpSpPr>
          <a:xfrm>
            <a:off x="601634" y="2386392"/>
            <a:ext cx="10985529" cy="818971"/>
            <a:chOff x="601634" y="1963482"/>
            <a:chExt cx="10985529" cy="818971"/>
          </a:xfrm>
        </p:grpSpPr>
        <p:sp>
          <p:nvSpPr>
            <p:cNvPr id="3" name="Rectangle 2">
              <a:extLst>
                <a:ext uri="{FF2B5EF4-FFF2-40B4-BE49-F238E27FC236}">
                  <a16:creationId xmlns:a16="http://schemas.microsoft.com/office/drawing/2014/main" id="{A3894658-0B2A-4C43-98D7-33AE1B526705}"/>
                </a:ext>
              </a:extLst>
            </p:cNvPr>
            <p:cNvSpPr/>
            <p:nvPr/>
          </p:nvSpPr>
          <p:spPr>
            <a:xfrm>
              <a:off x="601634" y="1963482"/>
              <a:ext cx="10985529" cy="8189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3" name="Rectangle 22">
              <a:extLst>
                <a:ext uri="{FF2B5EF4-FFF2-40B4-BE49-F238E27FC236}">
                  <a16:creationId xmlns:a16="http://schemas.microsoft.com/office/drawing/2014/main" id="{507AE0B2-DC5E-43C0-AD62-50D4C8DC6B2F}"/>
                </a:ext>
              </a:extLst>
            </p:cNvPr>
            <p:cNvSpPr/>
            <p:nvPr/>
          </p:nvSpPr>
          <p:spPr>
            <a:xfrm>
              <a:off x="674371" y="1971374"/>
              <a:ext cx="706582" cy="80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accent1"/>
                  </a:solidFill>
                  <a:effectLst/>
                  <a:uLnTx/>
                  <a:uFillTx/>
                  <a:ea typeface="+mn-ea"/>
                  <a:cs typeface="+mn-cs"/>
                </a:rPr>
                <a:t>1</a:t>
              </a:r>
            </a:p>
          </p:txBody>
        </p:sp>
        <p:sp>
          <p:nvSpPr>
            <p:cNvPr id="24" name="Rectangle 23">
              <a:extLst>
                <a:ext uri="{FF2B5EF4-FFF2-40B4-BE49-F238E27FC236}">
                  <a16:creationId xmlns:a16="http://schemas.microsoft.com/office/drawing/2014/main" id="{0F60E140-553C-42E0-AD0A-AC6C6C13F203}"/>
                </a:ext>
              </a:extLst>
            </p:cNvPr>
            <p:cNvSpPr/>
            <p:nvPr/>
          </p:nvSpPr>
          <p:spPr>
            <a:xfrm>
              <a:off x="1879715" y="2219078"/>
              <a:ext cx="8280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2000" b="1" dirty="0">
                  <a:solidFill>
                    <a:schemeClr val="accent1"/>
                  </a:solidFill>
                </a:rPr>
                <a:t>Content overview</a:t>
              </a:r>
            </a:p>
          </p:txBody>
        </p:sp>
        <p:sp>
          <p:nvSpPr>
            <p:cNvPr id="25" name="Rectangle 24">
              <a:extLst>
                <a:ext uri="{FF2B5EF4-FFF2-40B4-BE49-F238E27FC236}">
                  <a16:creationId xmlns:a16="http://schemas.microsoft.com/office/drawing/2014/main" id="{4626225F-5D11-4E2D-BF7B-CAB633793896}"/>
                </a:ext>
              </a:extLst>
            </p:cNvPr>
            <p:cNvSpPr/>
            <p:nvPr/>
          </p:nvSpPr>
          <p:spPr>
            <a:xfrm>
              <a:off x="1569872" y="2083084"/>
              <a:ext cx="79362" cy="5797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bg1"/>
                </a:solidFill>
              </a:endParaRPr>
            </a:p>
          </p:txBody>
        </p:sp>
      </p:grpSp>
      <p:grpSp>
        <p:nvGrpSpPr>
          <p:cNvPr id="13" name="Group 12">
            <a:extLst>
              <a:ext uri="{FF2B5EF4-FFF2-40B4-BE49-F238E27FC236}">
                <a16:creationId xmlns:a16="http://schemas.microsoft.com/office/drawing/2014/main" id="{034C71AC-AB85-856B-5AE7-59AED81F2D18}"/>
              </a:ext>
            </a:extLst>
          </p:cNvPr>
          <p:cNvGrpSpPr/>
          <p:nvPr/>
        </p:nvGrpSpPr>
        <p:grpSpPr>
          <a:xfrm>
            <a:off x="601634" y="3462968"/>
            <a:ext cx="10985529" cy="818971"/>
            <a:chOff x="601634" y="3019289"/>
            <a:chExt cx="10985529" cy="818971"/>
          </a:xfrm>
        </p:grpSpPr>
        <p:sp>
          <p:nvSpPr>
            <p:cNvPr id="45" name="Rectangle 44">
              <a:extLst>
                <a:ext uri="{FF2B5EF4-FFF2-40B4-BE49-F238E27FC236}">
                  <a16:creationId xmlns:a16="http://schemas.microsoft.com/office/drawing/2014/main" id="{10BD3E93-8E2C-4C1E-9F14-8EA9D1B80F7B}"/>
                </a:ext>
              </a:extLst>
            </p:cNvPr>
            <p:cNvSpPr/>
            <p:nvPr/>
          </p:nvSpPr>
          <p:spPr>
            <a:xfrm>
              <a:off x="601634" y="3019289"/>
              <a:ext cx="10985529" cy="818971"/>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6" name="Rectangle 25">
              <a:extLst>
                <a:ext uri="{FF2B5EF4-FFF2-40B4-BE49-F238E27FC236}">
                  <a16:creationId xmlns:a16="http://schemas.microsoft.com/office/drawing/2014/main" id="{A0729B37-90A2-4A18-A667-E59D9DEF8551}"/>
                </a:ext>
              </a:extLst>
            </p:cNvPr>
            <p:cNvSpPr/>
            <p:nvPr/>
          </p:nvSpPr>
          <p:spPr>
            <a:xfrm>
              <a:off x="674371" y="3027181"/>
              <a:ext cx="706582" cy="80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bg1"/>
                  </a:solidFill>
                  <a:effectLst/>
                  <a:uLnTx/>
                  <a:uFillTx/>
                  <a:ea typeface="+mn-ea"/>
                  <a:cs typeface="+mn-cs"/>
                </a:rPr>
                <a:t>2</a:t>
              </a:r>
            </a:p>
          </p:txBody>
        </p:sp>
        <p:sp>
          <p:nvSpPr>
            <p:cNvPr id="27" name="Rectangle 26">
              <a:extLst>
                <a:ext uri="{FF2B5EF4-FFF2-40B4-BE49-F238E27FC236}">
                  <a16:creationId xmlns:a16="http://schemas.microsoft.com/office/drawing/2014/main" id="{7C1F4CAA-045E-4A7A-969E-9B6A53203C81}"/>
                </a:ext>
              </a:extLst>
            </p:cNvPr>
            <p:cNvSpPr/>
            <p:nvPr/>
          </p:nvSpPr>
          <p:spPr>
            <a:xfrm>
              <a:off x="1879717" y="3274885"/>
              <a:ext cx="9355973"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bg1"/>
                  </a:solidFill>
                  <a:effectLst/>
                  <a:uLnTx/>
                  <a:uFillTx/>
                  <a:ea typeface="+mn-ea"/>
                  <a:cs typeface="+mn-cs"/>
                </a:rPr>
                <a:t>How to easily leverage our Toolkits to create your own deliverables</a:t>
              </a:r>
              <a:endParaRPr kumimoji="0" lang="en-US" sz="2000" b="1" i="0" u="none" strike="noStrike" kern="1200" cap="none" spc="0" normalizeH="0" baseline="0" noProof="0" dirty="0">
                <a:ln>
                  <a:noFill/>
                </a:ln>
                <a:solidFill>
                  <a:schemeClr val="bg1"/>
                </a:solidFill>
                <a:effectLst/>
                <a:uLnTx/>
                <a:uFillTx/>
                <a:ea typeface="+mn-ea"/>
                <a:cs typeface="+mn-cs"/>
              </a:endParaRPr>
            </a:p>
          </p:txBody>
        </p:sp>
        <p:sp>
          <p:nvSpPr>
            <p:cNvPr id="28" name="Rectangle 27">
              <a:extLst>
                <a:ext uri="{FF2B5EF4-FFF2-40B4-BE49-F238E27FC236}">
                  <a16:creationId xmlns:a16="http://schemas.microsoft.com/office/drawing/2014/main" id="{F48E4D39-0250-47E0-9BFB-40635E773D67}"/>
                </a:ext>
              </a:extLst>
            </p:cNvPr>
            <p:cNvSpPr/>
            <p:nvPr/>
          </p:nvSpPr>
          <p:spPr>
            <a:xfrm>
              <a:off x="1569873" y="3138891"/>
              <a:ext cx="79362" cy="5797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14" name="Group 13">
            <a:extLst>
              <a:ext uri="{FF2B5EF4-FFF2-40B4-BE49-F238E27FC236}">
                <a16:creationId xmlns:a16="http://schemas.microsoft.com/office/drawing/2014/main" id="{4363AA9A-4B69-BA45-B871-3C28D706C119}"/>
              </a:ext>
            </a:extLst>
          </p:cNvPr>
          <p:cNvGrpSpPr/>
          <p:nvPr/>
        </p:nvGrpSpPr>
        <p:grpSpPr>
          <a:xfrm>
            <a:off x="601634" y="4539544"/>
            <a:ext cx="10985529" cy="818971"/>
            <a:chOff x="601634" y="4119596"/>
            <a:chExt cx="10985529" cy="818971"/>
          </a:xfrm>
        </p:grpSpPr>
        <p:sp>
          <p:nvSpPr>
            <p:cNvPr id="46" name="Rectangle 45">
              <a:extLst>
                <a:ext uri="{FF2B5EF4-FFF2-40B4-BE49-F238E27FC236}">
                  <a16:creationId xmlns:a16="http://schemas.microsoft.com/office/drawing/2014/main" id="{44056CF2-3AA1-43A1-8DBA-7FD28650266C}"/>
                </a:ext>
              </a:extLst>
            </p:cNvPr>
            <p:cNvSpPr/>
            <p:nvPr/>
          </p:nvSpPr>
          <p:spPr>
            <a:xfrm>
              <a:off x="601634" y="4119596"/>
              <a:ext cx="10985529" cy="8189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42" name="Rectangle 41">
              <a:extLst>
                <a:ext uri="{FF2B5EF4-FFF2-40B4-BE49-F238E27FC236}">
                  <a16:creationId xmlns:a16="http://schemas.microsoft.com/office/drawing/2014/main" id="{88EA3805-A60E-4C8D-88DA-D6A6D2B7DEE6}"/>
                </a:ext>
              </a:extLst>
            </p:cNvPr>
            <p:cNvSpPr/>
            <p:nvPr/>
          </p:nvSpPr>
          <p:spPr>
            <a:xfrm>
              <a:off x="674371" y="4127488"/>
              <a:ext cx="706582" cy="80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1"/>
                  </a:solidFill>
                  <a:effectLst/>
                  <a:uLnTx/>
                  <a:uFillTx/>
                  <a:ea typeface="+mn-ea"/>
                  <a:cs typeface="+mn-cs"/>
                </a:rPr>
                <a:t>3</a:t>
              </a:r>
            </a:p>
          </p:txBody>
        </p:sp>
        <p:sp>
          <p:nvSpPr>
            <p:cNvPr id="43" name="Rectangle 42">
              <a:extLst>
                <a:ext uri="{FF2B5EF4-FFF2-40B4-BE49-F238E27FC236}">
                  <a16:creationId xmlns:a16="http://schemas.microsoft.com/office/drawing/2014/main" id="{8D208B22-9AEE-4BFE-A152-B2636192DAEF}"/>
                </a:ext>
              </a:extLst>
            </p:cNvPr>
            <p:cNvSpPr/>
            <p:nvPr/>
          </p:nvSpPr>
          <p:spPr>
            <a:xfrm>
              <a:off x="1879716" y="4375192"/>
              <a:ext cx="8280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ea typeface="+mn-ea"/>
                  <a:cs typeface="+mn-cs"/>
                </a:rPr>
                <a:t>How to easily translate our Toolkits in all languages</a:t>
              </a:r>
            </a:p>
          </p:txBody>
        </p:sp>
        <p:sp>
          <p:nvSpPr>
            <p:cNvPr id="44" name="Rectangle 43">
              <a:extLst>
                <a:ext uri="{FF2B5EF4-FFF2-40B4-BE49-F238E27FC236}">
                  <a16:creationId xmlns:a16="http://schemas.microsoft.com/office/drawing/2014/main" id="{4963FFC8-BF5D-4917-8690-F629ED5D181B}"/>
                </a:ext>
              </a:extLst>
            </p:cNvPr>
            <p:cNvSpPr/>
            <p:nvPr/>
          </p:nvSpPr>
          <p:spPr>
            <a:xfrm>
              <a:off x="1569873" y="4239198"/>
              <a:ext cx="79362" cy="5797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spTree>
    <p:extLst>
      <p:ext uri="{BB962C8B-B14F-4D97-AF65-F5344CB8AC3E}">
        <p14:creationId xmlns:p14="http://schemas.microsoft.com/office/powerpoint/2010/main" val="20082872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181D12-EE77-370A-B642-195CFA645DB3}"/>
              </a:ext>
            </a:extLst>
          </p:cNvPr>
          <p:cNvSpPr/>
          <p:nvPr/>
        </p:nvSpPr>
        <p:spPr>
          <a:xfrm>
            <a:off x="617219" y="2018612"/>
            <a:ext cx="5184000" cy="4500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buFont typeface="+mj-lt"/>
              <a:buAutoNum type="arabicPeriod"/>
            </a:pPr>
            <a:r>
              <a:rPr lang="en-GB" sz="1200" b="1" dirty="0">
                <a:solidFill>
                  <a:schemeClr val="tx2"/>
                </a:solidFill>
                <a:latin typeface="+mj-lt"/>
                <a:cs typeface="Helvetica"/>
              </a:rPr>
              <a:t>Open a deliverable</a:t>
            </a:r>
          </a:p>
          <a:p>
            <a:pPr marL="228600" indent="-228600">
              <a:buFont typeface="+mj-lt"/>
              <a:buAutoNum type="arabicPeriod"/>
            </a:pPr>
            <a:r>
              <a:rPr lang="en-GB" sz="1200" b="1" dirty="0">
                <a:solidFill>
                  <a:schemeClr val="tx2"/>
                </a:solidFill>
                <a:latin typeface="+mj-lt"/>
                <a:cs typeface="Helvetica"/>
              </a:rPr>
              <a:t>Delete our logo</a:t>
            </a:r>
          </a:p>
          <a:p>
            <a:pPr marL="228600" indent="-228600">
              <a:buFont typeface="+mj-lt"/>
              <a:buAutoNum type="arabicPeriod"/>
            </a:pPr>
            <a:r>
              <a:rPr lang="en-GB" sz="1200" b="1" dirty="0">
                <a:solidFill>
                  <a:schemeClr val="tx2"/>
                </a:solidFill>
                <a:latin typeface="+mj-lt"/>
                <a:cs typeface="Helvetica"/>
              </a:rPr>
              <a:t>Insert your own logo</a:t>
            </a:r>
          </a:p>
        </p:txBody>
      </p:sp>
      <p:pic>
        <p:nvPicPr>
          <p:cNvPr id="24" name="Picture 23">
            <a:extLst>
              <a:ext uri="{FF2B5EF4-FFF2-40B4-BE49-F238E27FC236}">
                <a16:creationId xmlns:a16="http://schemas.microsoft.com/office/drawing/2014/main" id="{12E1674E-C479-979C-78F6-AACB8AC27007}"/>
              </a:ext>
            </a:extLst>
          </p:cNvPr>
          <p:cNvPicPr>
            <a:picLocks noChangeAspect="1"/>
          </p:cNvPicPr>
          <p:nvPr/>
        </p:nvPicPr>
        <p:blipFill>
          <a:blip r:embed="rId4"/>
          <a:stretch>
            <a:fillRect/>
          </a:stretch>
        </p:blipFill>
        <p:spPr>
          <a:xfrm>
            <a:off x="1031601" y="3295531"/>
            <a:ext cx="4355094" cy="244974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pPr>
            <a:r>
              <a:rPr lang="en-GB" sz="2400" dirty="0">
                <a:solidFill>
                  <a:schemeClr val="accent1"/>
                </a:solidFill>
              </a:rPr>
              <a:t>To </a:t>
            </a:r>
            <a:r>
              <a:rPr lang="en-GB" sz="2400" b="1" dirty="0">
                <a:solidFill>
                  <a:schemeClr val="accent1"/>
                </a:solidFill>
              </a:rPr>
              <a:t>create their own deliverables, our clients usually choose one of these 2 options</a:t>
            </a:r>
            <a:endParaRPr lang="en-US" sz="2400" b="1" dirty="0">
              <a:solidFill>
                <a:schemeClr val="accent1"/>
              </a:solidFill>
            </a:endParaRPr>
          </a:p>
        </p:txBody>
      </p:sp>
      <p:sp>
        <p:nvSpPr>
          <p:cNvPr id="60" name="Slide Number Placeholder 2">
            <a:extLst>
              <a:ext uri="{FF2B5EF4-FFF2-40B4-BE49-F238E27FC236}">
                <a16:creationId xmlns:a16="http://schemas.microsoft.com/office/drawing/2014/main" id="{3AF2310B-6B19-D70C-7ABD-78D9F88199B7}"/>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8" name="Rectangle 7">
            <a:extLst>
              <a:ext uri="{FF2B5EF4-FFF2-40B4-BE49-F238E27FC236}">
                <a16:creationId xmlns:a16="http://schemas.microsoft.com/office/drawing/2014/main" id="{148FCC7F-FE0D-9C7A-5F9B-0196D0CBC769}"/>
              </a:ext>
            </a:extLst>
          </p:cNvPr>
          <p:cNvSpPr/>
          <p:nvPr/>
        </p:nvSpPr>
        <p:spPr>
          <a:xfrm>
            <a:off x="617148" y="1607714"/>
            <a:ext cx="5184000" cy="34389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latin typeface="+mj-lt"/>
                <a:cs typeface="Helvetica"/>
              </a:rPr>
              <a:t>1. Directly using our deliverables</a:t>
            </a:r>
          </a:p>
        </p:txBody>
      </p:sp>
      <p:sp>
        <p:nvSpPr>
          <p:cNvPr id="11" name="Rectangle 10">
            <a:extLst>
              <a:ext uri="{FF2B5EF4-FFF2-40B4-BE49-F238E27FC236}">
                <a16:creationId xmlns:a16="http://schemas.microsoft.com/office/drawing/2014/main" id="{EDAF58AE-3825-62BE-64ED-DF2A3D34EDDA}"/>
              </a:ext>
            </a:extLst>
          </p:cNvPr>
          <p:cNvSpPr/>
          <p:nvPr/>
        </p:nvSpPr>
        <p:spPr>
          <a:xfrm>
            <a:off x="6389369" y="2018612"/>
            <a:ext cx="5184000" cy="4500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buFont typeface="+mj-lt"/>
              <a:buAutoNum type="arabicPeriod"/>
            </a:pPr>
            <a:r>
              <a:rPr lang="en-GB" sz="1200" b="1" dirty="0">
                <a:solidFill>
                  <a:schemeClr val="tx2"/>
                </a:solidFill>
                <a:latin typeface="+mj-lt"/>
                <a:cs typeface="Helvetica"/>
              </a:rPr>
              <a:t>Select the slides you want to copy.</a:t>
            </a:r>
          </a:p>
          <a:p>
            <a:pPr marL="228600" indent="-228600">
              <a:buFont typeface="+mj-lt"/>
              <a:buAutoNum type="arabicPeriod"/>
            </a:pPr>
            <a:r>
              <a:rPr lang="en-GB" sz="1200" b="1" dirty="0">
                <a:solidFill>
                  <a:schemeClr val="tx2"/>
                </a:solidFill>
                <a:latin typeface="+mj-lt"/>
                <a:cs typeface="Helvetica"/>
              </a:rPr>
              <a:t>Right-click on your mouse and then select “Copy” (or press CTRL+C if you have a PC). </a:t>
            </a:r>
          </a:p>
          <a:p>
            <a:pPr marL="228600" indent="-228600">
              <a:buFont typeface="+mj-lt"/>
              <a:buAutoNum type="arabicPeriod"/>
            </a:pPr>
            <a:r>
              <a:rPr lang="en-GB" sz="1200" b="1" dirty="0">
                <a:solidFill>
                  <a:schemeClr val="tx2"/>
                </a:solidFill>
                <a:latin typeface="+mj-lt"/>
                <a:cs typeface="Helvetica"/>
              </a:rPr>
              <a:t>Paste the slides into your own presentation.</a:t>
            </a:r>
          </a:p>
          <a:p>
            <a:pPr marL="228600" indent="-228600">
              <a:buFont typeface="+mj-lt"/>
              <a:buAutoNum type="arabicPeriod"/>
            </a:pPr>
            <a:r>
              <a:rPr lang="en-GB" sz="1200" b="1" dirty="0">
                <a:solidFill>
                  <a:schemeClr val="tx2"/>
                </a:solidFill>
                <a:latin typeface="+mj-lt"/>
                <a:cs typeface="Helvetica"/>
              </a:rPr>
              <a:t>Click on the “Paste Options” drop-down list, which will automatically appear at the bottom of the slides, and select either option 1 (“Use destination theme”) if you want to use your own formatting, or option 2 (“Keep source formatting”) if you want to use our formatting:</a:t>
            </a:r>
          </a:p>
        </p:txBody>
      </p:sp>
      <p:sp>
        <p:nvSpPr>
          <p:cNvPr id="12" name="Rectangle 11">
            <a:extLst>
              <a:ext uri="{FF2B5EF4-FFF2-40B4-BE49-F238E27FC236}">
                <a16:creationId xmlns:a16="http://schemas.microsoft.com/office/drawing/2014/main" id="{FD06379C-9DEF-1ED7-3641-6AD0ECC8E382}"/>
              </a:ext>
            </a:extLst>
          </p:cNvPr>
          <p:cNvSpPr/>
          <p:nvPr/>
        </p:nvSpPr>
        <p:spPr>
          <a:xfrm>
            <a:off x="6389298" y="1607714"/>
            <a:ext cx="5184000" cy="34389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bg1"/>
                </a:solidFill>
                <a:latin typeface="+mj-lt"/>
                <a:cs typeface="Helvetica"/>
              </a:rPr>
              <a:t>2. Copy pasting our deliverables</a:t>
            </a:r>
          </a:p>
        </p:txBody>
      </p:sp>
      <p:pic>
        <p:nvPicPr>
          <p:cNvPr id="18" name="Picture 17">
            <a:extLst>
              <a:ext uri="{FF2B5EF4-FFF2-40B4-BE49-F238E27FC236}">
                <a16:creationId xmlns:a16="http://schemas.microsoft.com/office/drawing/2014/main" id="{9C08B6C3-5188-A352-7B13-E07DC65FB20A}"/>
              </a:ext>
            </a:extLst>
          </p:cNvPr>
          <p:cNvPicPr>
            <a:picLocks noChangeAspect="1"/>
          </p:cNvPicPr>
          <p:nvPr/>
        </p:nvPicPr>
        <p:blipFill rotWithShape="1">
          <a:blip r:embed="rId7"/>
          <a:srcRect t="25082" r="30383" b="19950"/>
          <a:stretch/>
        </p:blipFill>
        <p:spPr>
          <a:xfrm>
            <a:off x="6549354" y="3975111"/>
            <a:ext cx="4863887" cy="2160270"/>
          </a:xfrm>
          <a:prstGeom prst="rect">
            <a:avLst/>
          </a:prstGeom>
          <a:ln>
            <a:noFill/>
          </a:ln>
          <a:effectLst>
            <a:outerShdw blurRad="292100" dist="139700" dir="2700000" algn="tl" rotWithShape="0">
              <a:srgbClr val="333333">
                <a:alpha val="65000"/>
              </a:srgbClr>
            </a:outerShdw>
          </a:effectLst>
        </p:spPr>
      </p:pic>
      <p:sp>
        <p:nvSpPr>
          <p:cNvPr id="19" name="Rectangle 18">
            <a:extLst>
              <a:ext uri="{FF2B5EF4-FFF2-40B4-BE49-F238E27FC236}">
                <a16:creationId xmlns:a16="http://schemas.microsoft.com/office/drawing/2014/main" id="{F4DC6C9C-FEC4-A87E-F2C9-60B29EAD92EF}"/>
              </a:ext>
            </a:extLst>
          </p:cNvPr>
          <p:cNvSpPr/>
          <p:nvPr/>
        </p:nvSpPr>
        <p:spPr bwMode="auto">
          <a:xfrm>
            <a:off x="6662946" y="4812758"/>
            <a:ext cx="956310" cy="875055"/>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0" name="Speech Bubble: Rectangle with Corners Rounded 19">
            <a:extLst>
              <a:ext uri="{FF2B5EF4-FFF2-40B4-BE49-F238E27FC236}">
                <a16:creationId xmlns:a16="http://schemas.microsoft.com/office/drawing/2014/main" id="{A0574671-B23B-772F-6693-BCD3981C3677}"/>
              </a:ext>
            </a:extLst>
          </p:cNvPr>
          <p:cNvSpPr/>
          <p:nvPr/>
        </p:nvSpPr>
        <p:spPr>
          <a:xfrm>
            <a:off x="8277860" y="4179098"/>
            <a:ext cx="2476777" cy="682607"/>
          </a:xfrm>
          <a:prstGeom prst="wedgeRoundRectCallout">
            <a:avLst>
              <a:gd name="adj1" fmla="val -74167"/>
              <a:gd name="adj2" fmla="val 10894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solidFill>
                  <a:srgbClr val="0C2870"/>
                </a:solidFill>
                <a:latin typeface="Arial" charset="0"/>
                <a:cs typeface="Times New Roman" pitchFamily="18" charset="0"/>
              </a:rPr>
              <a:t>“Paste Options” dropdown list</a:t>
            </a:r>
          </a:p>
        </p:txBody>
      </p:sp>
      <p:sp>
        <p:nvSpPr>
          <p:cNvPr id="22" name="Rectangle 21">
            <a:extLst>
              <a:ext uri="{FF2B5EF4-FFF2-40B4-BE49-F238E27FC236}">
                <a16:creationId xmlns:a16="http://schemas.microsoft.com/office/drawing/2014/main" id="{314E2654-56C9-9C2D-32F5-A1AEE7D5D979}"/>
              </a:ext>
            </a:extLst>
          </p:cNvPr>
          <p:cNvSpPr/>
          <p:nvPr/>
        </p:nvSpPr>
        <p:spPr bwMode="auto">
          <a:xfrm>
            <a:off x="3965465" y="5250285"/>
            <a:ext cx="1421230" cy="437528"/>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3" name="Speech Bubble: Rectangle with Corners Rounded 22">
            <a:extLst>
              <a:ext uri="{FF2B5EF4-FFF2-40B4-BE49-F238E27FC236}">
                <a16:creationId xmlns:a16="http://schemas.microsoft.com/office/drawing/2014/main" id="{157A999B-74A7-8710-1682-4882DF46A7A9}"/>
              </a:ext>
            </a:extLst>
          </p:cNvPr>
          <p:cNvSpPr/>
          <p:nvPr/>
        </p:nvSpPr>
        <p:spPr>
          <a:xfrm>
            <a:off x="3061410" y="2513772"/>
            <a:ext cx="2476777" cy="682607"/>
          </a:xfrm>
          <a:prstGeom prst="wedgeRoundRectCallout">
            <a:avLst>
              <a:gd name="adj1" fmla="val 20899"/>
              <a:gd name="adj2" fmla="val 35341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solidFill>
                  <a:srgbClr val="0C2870"/>
                </a:solidFill>
                <a:latin typeface="Arial" charset="0"/>
                <a:cs typeface="Times New Roman" pitchFamily="18" charset="0"/>
              </a:rPr>
              <a:t>Delete this logo and insert your own logo</a:t>
            </a:r>
          </a:p>
        </p:txBody>
      </p:sp>
    </p:spTree>
    <p:extLst>
      <p:ext uri="{BB962C8B-B14F-4D97-AF65-F5344CB8AC3E}">
        <p14:creationId xmlns:p14="http://schemas.microsoft.com/office/powerpoint/2010/main" val="623082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AD6344-4174-44FD-BAAC-A0521AE4DC7F}"/>
              </a:ext>
            </a:extLst>
          </p:cNvPr>
          <p:cNvSpPr>
            <a:spLocks noGrp="1"/>
          </p:cNvSpPr>
          <p:nvPr>
            <p:ph type="title"/>
          </p:nvPr>
        </p:nvSpPr>
        <p:spPr/>
        <p:txBody>
          <a:bodyPr vert="horz"/>
          <a:lstStyle/>
          <a:p>
            <a:r>
              <a:rPr lang="en-US" sz="2400" kern="0" dirty="0"/>
              <a:t>You can change the font type in </a:t>
            </a:r>
            <a:r>
              <a:rPr lang="en-US" kern="0" dirty="0"/>
              <a:t>the Slide Master in 3 steps</a:t>
            </a:r>
            <a:endParaRPr lang="en-IN" dirty="0"/>
          </a:p>
        </p:txBody>
      </p:sp>
      <p:sp>
        <p:nvSpPr>
          <p:cNvPr id="9" name="TextBox 8">
            <a:extLst>
              <a:ext uri="{FF2B5EF4-FFF2-40B4-BE49-F238E27FC236}">
                <a16:creationId xmlns:a16="http://schemas.microsoft.com/office/drawing/2014/main" id="{07FA120B-3054-4CD2-9408-2D91C70CB542}"/>
              </a:ext>
            </a:extLst>
          </p:cNvPr>
          <p:cNvSpPr txBox="1"/>
          <p:nvPr/>
        </p:nvSpPr>
        <p:spPr>
          <a:xfrm>
            <a:off x="935180" y="1748043"/>
            <a:ext cx="4907973" cy="369332"/>
          </a:xfrm>
          <a:prstGeom prst="rect">
            <a:avLst/>
          </a:prstGeom>
          <a:noFill/>
        </p:spPr>
        <p:txBody>
          <a:bodyPr wrap="square" rtlCol="0">
            <a:spAutoFit/>
          </a:bodyPr>
          <a:lstStyle/>
          <a:p>
            <a:r>
              <a:rPr lang="en-IN" b="1" dirty="0"/>
              <a:t>View </a:t>
            </a:r>
            <a:r>
              <a:rPr lang="en-IN" b="1" dirty="0">
                <a:sym typeface="Wingdings" panose="05000000000000000000" pitchFamily="2" charset="2"/>
              </a:rPr>
              <a:t> Slide Master</a:t>
            </a:r>
            <a:endParaRPr lang="en-IN" b="1" dirty="0"/>
          </a:p>
        </p:txBody>
      </p:sp>
      <p:pic>
        <p:nvPicPr>
          <p:cNvPr id="11" name="Picture 10">
            <a:extLst>
              <a:ext uri="{FF2B5EF4-FFF2-40B4-BE49-F238E27FC236}">
                <a16:creationId xmlns:a16="http://schemas.microsoft.com/office/drawing/2014/main" id="{4FF5EB54-E6AC-4823-82D5-65C733821915}"/>
              </a:ext>
            </a:extLst>
          </p:cNvPr>
          <p:cNvPicPr>
            <a:picLocks noChangeAspect="1"/>
          </p:cNvPicPr>
          <p:nvPr/>
        </p:nvPicPr>
        <p:blipFill rotWithShape="1">
          <a:blip r:embed="rId6"/>
          <a:srcRect l="30837" r="17834"/>
          <a:stretch/>
        </p:blipFill>
        <p:spPr>
          <a:xfrm>
            <a:off x="1028700" y="2340012"/>
            <a:ext cx="4572000" cy="1533739"/>
          </a:xfrm>
          <a:prstGeom prst="rect">
            <a:avLst/>
          </a:prstGeom>
        </p:spPr>
      </p:pic>
      <p:sp>
        <p:nvSpPr>
          <p:cNvPr id="12" name="Oval 11">
            <a:extLst>
              <a:ext uri="{FF2B5EF4-FFF2-40B4-BE49-F238E27FC236}">
                <a16:creationId xmlns:a16="http://schemas.microsoft.com/office/drawing/2014/main" id="{F49D001E-8C4E-4558-B938-ADC9B4C7EF7A}"/>
              </a:ext>
            </a:extLst>
          </p:cNvPr>
          <p:cNvSpPr/>
          <p:nvPr/>
        </p:nvSpPr>
        <p:spPr>
          <a:xfrm>
            <a:off x="561108" y="1745673"/>
            <a:ext cx="374072" cy="374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rPr>
              <a:t>1</a:t>
            </a:r>
          </a:p>
        </p:txBody>
      </p:sp>
      <p:sp>
        <p:nvSpPr>
          <p:cNvPr id="14" name="Rectangle 13">
            <a:extLst>
              <a:ext uri="{FF2B5EF4-FFF2-40B4-BE49-F238E27FC236}">
                <a16:creationId xmlns:a16="http://schemas.microsoft.com/office/drawing/2014/main" id="{2C07905C-FDDF-44CD-A285-7827E3B90798}"/>
              </a:ext>
            </a:extLst>
          </p:cNvPr>
          <p:cNvSpPr/>
          <p:nvPr/>
        </p:nvSpPr>
        <p:spPr>
          <a:xfrm>
            <a:off x="4977244" y="2408974"/>
            <a:ext cx="623455" cy="292662"/>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Rectangle 24">
            <a:extLst>
              <a:ext uri="{FF2B5EF4-FFF2-40B4-BE49-F238E27FC236}">
                <a16:creationId xmlns:a16="http://schemas.microsoft.com/office/drawing/2014/main" id="{EA3E919F-C807-4E8A-ABEE-89C333E99501}"/>
              </a:ext>
            </a:extLst>
          </p:cNvPr>
          <p:cNvSpPr/>
          <p:nvPr/>
        </p:nvSpPr>
        <p:spPr>
          <a:xfrm>
            <a:off x="1108362" y="2803828"/>
            <a:ext cx="540327" cy="83298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723E2504-4F8C-46E0-A3A7-B64AEE67E207}"/>
              </a:ext>
            </a:extLst>
          </p:cNvPr>
          <p:cNvSpPr txBox="1"/>
          <p:nvPr/>
        </p:nvSpPr>
        <p:spPr>
          <a:xfrm>
            <a:off x="6470072" y="1745673"/>
            <a:ext cx="4907973" cy="369332"/>
          </a:xfrm>
          <a:prstGeom prst="rect">
            <a:avLst/>
          </a:prstGeom>
          <a:noFill/>
        </p:spPr>
        <p:txBody>
          <a:bodyPr wrap="square" rtlCol="0">
            <a:spAutoFit/>
          </a:bodyPr>
          <a:lstStyle/>
          <a:p>
            <a:r>
              <a:rPr lang="en-IN" b="1" dirty="0">
                <a:sym typeface="Wingdings" panose="05000000000000000000" pitchFamily="2" charset="2"/>
              </a:rPr>
              <a:t>Font  Customize Fonts…</a:t>
            </a:r>
            <a:endParaRPr lang="en-IN" b="1" dirty="0"/>
          </a:p>
        </p:txBody>
      </p:sp>
      <p:sp>
        <p:nvSpPr>
          <p:cNvPr id="29" name="Oval 28">
            <a:extLst>
              <a:ext uri="{FF2B5EF4-FFF2-40B4-BE49-F238E27FC236}">
                <a16:creationId xmlns:a16="http://schemas.microsoft.com/office/drawing/2014/main" id="{31F09CDE-0A75-41F5-A950-8F15D3286231}"/>
              </a:ext>
            </a:extLst>
          </p:cNvPr>
          <p:cNvSpPr/>
          <p:nvPr/>
        </p:nvSpPr>
        <p:spPr>
          <a:xfrm>
            <a:off x="6096000" y="1743303"/>
            <a:ext cx="374072" cy="374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rPr>
              <a:t>2</a:t>
            </a:r>
          </a:p>
        </p:txBody>
      </p:sp>
      <p:pic>
        <p:nvPicPr>
          <p:cNvPr id="16" name="Picture 15">
            <a:extLst>
              <a:ext uri="{FF2B5EF4-FFF2-40B4-BE49-F238E27FC236}">
                <a16:creationId xmlns:a16="http://schemas.microsoft.com/office/drawing/2014/main" id="{A48F1322-4E28-4A72-AFEF-82C7FA725788}"/>
              </a:ext>
            </a:extLst>
          </p:cNvPr>
          <p:cNvPicPr>
            <a:picLocks noChangeAspect="1"/>
          </p:cNvPicPr>
          <p:nvPr/>
        </p:nvPicPr>
        <p:blipFill>
          <a:blip r:embed="rId7"/>
          <a:stretch>
            <a:fillRect/>
          </a:stretch>
        </p:blipFill>
        <p:spPr>
          <a:xfrm>
            <a:off x="6591302" y="2340012"/>
            <a:ext cx="4564304" cy="3994402"/>
          </a:xfrm>
          <a:prstGeom prst="rect">
            <a:avLst/>
          </a:prstGeom>
        </p:spPr>
      </p:pic>
      <p:sp>
        <p:nvSpPr>
          <p:cNvPr id="17" name="Rectangle 16">
            <a:extLst>
              <a:ext uri="{FF2B5EF4-FFF2-40B4-BE49-F238E27FC236}">
                <a16:creationId xmlns:a16="http://schemas.microsoft.com/office/drawing/2014/main" id="{5B08105B-7536-4439-ACEB-4EA41B41A7C6}"/>
              </a:ext>
            </a:extLst>
          </p:cNvPr>
          <p:cNvSpPr/>
          <p:nvPr/>
        </p:nvSpPr>
        <p:spPr>
          <a:xfrm>
            <a:off x="9528464" y="2703209"/>
            <a:ext cx="467591" cy="11982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ectangle 29">
            <a:extLst>
              <a:ext uri="{FF2B5EF4-FFF2-40B4-BE49-F238E27FC236}">
                <a16:creationId xmlns:a16="http://schemas.microsoft.com/office/drawing/2014/main" id="{D662D2BF-C83F-4F12-BCD6-49F80D53A17D}"/>
              </a:ext>
            </a:extLst>
          </p:cNvPr>
          <p:cNvSpPr/>
          <p:nvPr/>
        </p:nvSpPr>
        <p:spPr>
          <a:xfrm>
            <a:off x="9528464" y="6106874"/>
            <a:ext cx="1506681" cy="19128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9" name="Picture 18">
            <a:extLst>
              <a:ext uri="{FF2B5EF4-FFF2-40B4-BE49-F238E27FC236}">
                <a16:creationId xmlns:a16="http://schemas.microsoft.com/office/drawing/2014/main" id="{090CF9DF-1D39-4850-845A-FB90445F9FDF}"/>
              </a:ext>
            </a:extLst>
          </p:cNvPr>
          <p:cNvPicPr>
            <a:picLocks noChangeAspect="1"/>
          </p:cNvPicPr>
          <p:nvPr/>
        </p:nvPicPr>
        <p:blipFill>
          <a:blip r:embed="rId8"/>
          <a:stretch>
            <a:fillRect/>
          </a:stretch>
        </p:blipFill>
        <p:spPr>
          <a:xfrm>
            <a:off x="935180" y="4529838"/>
            <a:ext cx="4475992" cy="1908186"/>
          </a:xfrm>
          <a:prstGeom prst="rect">
            <a:avLst/>
          </a:prstGeom>
        </p:spPr>
      </p:pic>
      <p:sp>
        <p:nvSpPr>
          <p:cNvPr id="37" name="TextBox 36">
            <a:extLst>
              <a:ext uri="{FF2B5EF4-FFF2-40B4-BE49-F238E27FC236}">
                <a16:creationId xmlns:a16="http://schemas.microsoft.com/office/drawing/2014/main" id="{088EFE2E-066A-49BD-9D4C-5FC4EB0F2351}"/>
              </a:ext>
            </a:extLst>
          </p:cNvPr>
          <p:cNvSpPr txBox="1"/>
          <p:nvPr/>
        </p:nvSpPr>
        <p:spPr>
          <a:xfrm>
            <a:off x="935180" y="4064917"/>
            <a:ext cx="4907973" cy="369332"/>
          </a:xfrm>
          <a:prstGeom prst="rect">
            <a:avLst/>
          </a:prstGeom>
          <a:noFill/>
        </p:spPr>
        <p:txBody>
          <a:bodyPr wrap="square" rtlCol="0">
            <a:spAutoFit/>
          </a:bodyPr>
          <a:lstStyle/>
          <a:p>
            <a:r>
              <a:rPr lang="en-IN" b="1" dirty="0"/>
              <a:t>Enter the preferred font type and </a:t>
            </a:r>
            <a:r>
              <a:rPr lang="en-IN" b="1" dirty="0">
                <a:solidFill>
                  <a:schemeClr val="accent6"/>
                </a:solidFill>
              </a:rPr>
              <a:t>Save</a:t>
            </a:r>
          </a:p>
        </p:txBody>
      </p:sp>
      <p:sp>
        <p:nvSpPr>
          <p:cNvPr id="38" name="Oval 37">
            <a:extLst>
              <a:ext uri="{FF2B5EF4-FFF2-40B4-BE49-F238E27FC236}">
                <a16:creationId xmlns:a16="http://schemas.microsoft.com/office/drawing/2014/main" id="{47607DF7-B103-4282-8CF7-7C5E0969CB8A}"/>
              </a:ext>
            </a:extLst>
          </p:cNvPr>
          <p:cNvSpPr/>
          <p:nvPr/>
        </p:nvSpPr>
        <p:spPr>
          <a:xfrm>
            <a:off x="561108" y="4062547"/>
            <a:ext cx="374072" cy="374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rPr>
              <a:t>3</a:t>
            </a:r>
          </a:p>
        </p:txBody>
      </p:sp>
      <p:sp>
        <p:nvSpPr>
          <p:cNvPr id="39" name="Rectangle 38">
            <a:extLst>
              <a:ext uri="{FF2B5EF4-FFF2-40B4-BE49-F238E27FC236}">
                <a16:creationId xmlns:a16="http://schemas.microsoft.com/office/drawing/2014/main" id="{E42B83FC-EE1B-48A4-AFC3-727B1A0B971D}"/>
              </a:ext>
            </a:extLst>
          </p:cNvPr>
          <p:cNvSpPr/>
          <p:nvPr/>
        </p:nvSpPr>
        <p:spPr>
          <a:xfrm>
            <a:off x="970521" y="5153891"/>
            <a:ext cx="2115641" cy="22860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Rectangle 39">
            <a:extLst>
              <a:ext uri="{FF2B5EF4-FFF2-40B4-BE49-F238E27FC236}">
                <a16:creationId xmlns:a16="http://schemas.microsoft.com/office/drawing/2014/main" id="{9D5D099C-F8D2-4282-B31C-EC9F858A6545}"/>
              </a:ext>
            </a:extLst>
          </p:cNvPr>
          <p:cNvSpPr/>
          <p:nvPr/>
        </p:nvSpPr>
        <p:spPr>
          <a:xfrm>
            <a:off x="970521" y="5590309"/>
            <a:ext cx="2115641" cy="22860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Trapezoid 19">
            <a:extLst>
              <a:ext uri="{FF2B5EF4-FFF2-40B4-BE49-F238E27FC236}">
                <a16:creationId xmlns:a16="http://schemas.microsoft.com/office/drawing/2014/main" id="{32CD089E-8968-4A43-B419-F4677B67F4E8}"/>
              </a:ext>
            </a:extLst>
          </p:cNvPr>
          <p:cNvSpPr/>
          <p:nvPr/>
        </p:nvSpPr>
        <p:spPr>
          <a:xfrm rot="5400000">
            <a:off x="6599971" y="3405921"/>
            <a:ext cx="1781536" cy="4075450"/>
          </a:xfrm>
          <a:custGeom>
            <a:avLst/>
            <a:gdLst>
              <a:gd name="connsiteX0" fmla="*/ 0 w 1781536"/>
              <a:gd name="connsiteY0" fmla="*/ 4075450 h 4075450"/>
              <a:gd name="connsiteX1" fmla="*/ 767504 w 1781536"/>
              <a:gd name="connsiteY1" fmla="*/ 0 h 4075450"/>
              <a:gd name="connsiteX2" fmla="*/ 1014032 w 1781536"/>
              <a:gd name="connsiteY2" fmla="*/ 0 h 4075450"/>
              <a:gd name="connsiteX3" fmla="*/ 1781536 w 1781536"/>
              <a:gd name="connsiteY3" fmla="*/ 4075450 h 4075450"/>
              <a:gd name="connsiteX4" fmla="*/ 0 w 1781536"/>
              <a:gd name="connsiteY4" fmla="*/ 4075450 h 4075450"/>
              <a:gd name="connsiteX0" fmla="*/ 0 w 1781536"/>
              <a:gd name="connsiteY0" fmla="*/ 4075450 h 4075450"/>
              <a:gd name="connsiteX1" fmla="*/ 767504 w 1781536"/>
              <a:gd name="connsiteY1" fmla="*/ 0 h 4075450"/>
              <a:gd name="connsiteX2" fmla="*/ 1741396 w 1781536"/>
              <a:gd name="connsiteY2" fmla="*/ 0 h 4075450"/>
              <a:gd name="connsiteX3" fmla="*/ 1781536 w 1781536"/>
              <a:gd name="connsiteY3" fmla="*/ 4075450 h 4075450"/>
              <a:gd name="connsiteX4" fmla="*/ 0 w 1781536"/>
              <a:gd name="connsiteY4" fmla="*/ 4075450 h 4075450"/>
              <a:gd name="connsiteX0" fmla="*/ 0 w 1781536"/>
              <a:gd name="connsiteY0" fmla="*/ 4075450 h 4075450"/>
              <a:gd name="connsiteX1" fmla="*/ 1536432 w 1781536"/>
              <a:gd name="connsiteY1" fmla="*/ 0 h 4075450"/>
              <a:gd name="connsiteX2" fmla="*/ 1741396 w 1781536"/>
              <a:gd name="connsiteY2" fmla="*/ 0 h 4075450"/>
              <a:gd name="connsiteX3" fmla="*/ 1781536 w 1781536"/>
              <a:gd name="connsiteY3" fmla="*/ 4075450 h 4075450"/>
              <a:gd name="connsiteX4" fmla="*/ 0 w 1781536"/>
              <a:gd name="connsiteY4" fmla="*/ 4075450 h 4075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536" h="4075450">
                <a:moveTo>
                  <a:pt x="0" y="4075450"/>
                </a:moveTo>
                <a:lnTo>
                  <a:pt x="1536432" y="0"/>
                </a:lnTo>
                <a:lnTo>
                  <a:pt x="1741396" y="0"/>
                </a:lnTo>
                <a:lnTo>
                  <a:pt x="1781536" y="4075450"/>
                </a:lnTo>
                <a:lnTo>
                  <a:pt x="0" y="4075450"/>
                </a:lnTo>
                <a:close/>
              </a:path>
            </a:pathLst>
          </a:custGeom>
          <a:gradFill flip="none" rotWithShape="1">
            <a:gsLst>
              <a:gs pos="0">
                <a:schemeClr val="accent2"/>
              </a:gs>
              <a:gs pos="100000">
                <a:schemeClr val="accent2">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40">
            <a:extLst>
              <a:ext uri="{FF2B5EF4-FFF2-40B4-BE49-F238E27FC236}">
                <a16:creationId xmlns:a16="http://schemas.microsoft.com/office/drawing/2014/main" id="{1175B203-DC74-4B0B-85F2-AAD0D92B45E5}"/>
              </a:ext>
            </a:extLst>
          </p:cNvPr>
          <p:cNvSpPr/>
          <p:nvPr/>
        </p:nvSpPr>
        <p:spPr>
          <a:xfrm>
            <a:off x="3868578" y="6139309"/>
            <a:ext cx="712733" cy="240111"/>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0363444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339B59D-121A-4A44-A5BF-FCF9910C41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339B59D-121A-4A44-A5BF-FCF9910C41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ECB46B-A522-4ECF-AF76-F4D937A8C127}"/>
              </a:ext>
            </a:extLst>
          </p:cNvPr>
          <p:cNvSpPr>
            <a:spLocks noGrp="1"/>
          </p:cNvSpPr>
          <p:nvPr>
            <p:ph type="title"/>
          </p:nvPr>
        </p:nvSpPr>
        <p:spPr/>
        <p:txBody>
          <a:bodyPr vert="horz"/>
          <a:lstStyle/>
          <a:p>
            <a:r>
              <a:rPr lang="en-IN" dirty="0"/>
              <a:t>You can also use the “Replace Fonts” option </a:t>
            </a:r>
          </a:p>
        </p:txBody>
      </p:sp>
      <p:sp>
        <p:nvSpPr>
          <p:cNvPr id="4" name="Slide Number Placeholder 3">
            <a:extLst>
              <a:ext uri="{FF2B5EF4-FFF2-40B4-BE49-F238E27FC236}">
                <a16:creationId xmlns:a16="http://schemas.microsoft.com/office/drawing/2014/main" id="{ED7F6F4C-B1CF-4E1B-95C7-353D94F2A766}"/>
              </a:ext>
            </a:extLst>
          </p:cNvPr>
          <p:cNvSpPr>
            <a:spLocks noGrp="1"/>
          </p:cNvSpPr>
          <p:nvPr>
            <p:ph type="sldNum" sz="quarter" idx="4"/>
          </p:nvPr>
        </p:nvSpPr>
        <p:spPr/>
        <p:txBody>
          <a:bodyPr/>
          <a:lstStyle/>
          <a:p>
            <a:fld id="{37F5C94B-8C55-478B-B509-BAE6A06B2E2A}" type="slidenum">
              <a:rPr lang="en-IN" smtClean="0"/>
              <a:pPr/>
              <a:t>14</a:t>
            </a:fld>
            <a:endParaRPr lang="en-IN" dirty="0"/>
          </a:p>
        </p:txBody>
      </p:sp>
      <p:sp>
        <p:nvSpPr>
          <p:cNvPr id="7" name="TextBox 6">
            <a:extLst>
              <a:ext uri="{FF2B5EF4-FFF2-40B4-BE49-F238E27FC236}">
                <a16:creationId xmlns:a16="http://schemas.microsoft.com/office/drawing/2014/main" id="{67A939EA-D102-4526-BC0A-170947516E22}"/>
              </a:ext>
            </a:extLst>
          </p:cNvPr>
          <p:cNvSpPr txBox="1"/>
          <p:nvPr/>
        </p:nvSpPr>
        <p:spPr>
          <a:xfrm>
            <a:off x="935180" y="1748043"/>
            <a:ext cx="4907973" cy="369332"/>
          </a:xfrm>
          <a:prstGeom prst="rect">
            <a:avLst/>
          </a:prstGeom>
          <a:noFill/>
        </p:spPr>
        <p:txBody>
          <a:bodyPr wrap="square" rtlCol="0">
            <a:spAutoFit/>
          </a:bodyPr>
          <a:lstStyle/>
          <a:p>
            <a:r>
              <a:rPr lang="en-IN" b="1" dirty="0"/>
              <a:t>Home </a:t>
            </a:r>
            <a:r>
              <a:rPr lang="en-IN" b="1" dirty="0">
                <a:sym typeface="Wingdings" panose="05000000000000000000" pitchFamily="2" charset="2"/>
              </a:rPr>
              <a:t> Replace  Replace font</a:t>
            </a:r>
            <a:endParaRPr lang="en-IN" b="1" dirty="0"/>
          </a:p>
        </p:txBody>
      </p:sp>
      <p:sp>
        <p:nvSpPr>
          <p:cNvPr id="8" name="Oval 7">
            <a:extLst>
              <a:ext uri="{FF2B5EF4-FFF2-40B4-BE49-F238E27FC236}">
                <a16:creationId xmlns:a16="http://schemas.microsoft.com/office/drawing/2014/main" id="{E4FBC655-EBE5-4895-BA3D-165CC25AD51A}"/>
              </a:ext>
            </a:extLst>
          </p:cNvPr>
          <p:cNvSpPr/>
          <p:nvPr/>
        </p:nvSpPr>
        <p:spPr>
          <a:xfrm>
            <a:off x="561108" y="1745673"/>
            <a:ext cx="374072" cy="374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rPr>
              <a:t>1</a:t>
            </a:r>
          </a:p>
        </p:txBody>
      </p:sp>
      <p:pic>
        <p:nvPicPr>
          <p:cNvPr id="10" name="Picture 9">
            <a:extLst>
              <a:ext uri="{FF2B5EF4-FFF2-40B4-BE49-F238E27FC236}">
                <a16:creationId xmlns:a16="http://schemas.microsoft.com/office/drawing/2014/main" id="{2DE381FF-0D59-439E-90ED-D238EFE5A1ED}"/>
              </a:ext>
            </a:extLst>
          </p:cNvPr>
          <p:cNvPicPr>
            <a:picLocks noChangeAspect="1"/>
          </p:cNvPicPr>
          <p:nvPr/>
        </p:nvPicPr>
        <p:blipFill>
          <a:blip r:embed="rId6"/>
          <a:stretch>
            <a:fillRect/>
          </a:stretch>
        </p:blipFill>
        <p:spPr>
          <a:xfrm>
            <a:off x="1045683" y="2257864"/>
            <a:ext cx="9947564" cy="991452"/>
          </a:xfrm>
          <a:prstGeom prst="rect">
            <a:avLst/>
          </a:prstGeom>
        </p:spPr>
      </p:pic>
      <p:sp>
        <p:nvSpPr>
          <p:cNvPr id="11" name="Rectangle 10">
            <a:extLst>
              <a:ext uri="{FF2B5EF4-FFF2-40B4-BE49-F238E27FC236}">
                <a16:creationId xmlns:a16="http://schemas.microsoft.com/office/drawing/2014/main" id="{CD60C28B-B3C3-46BE-98F8-B537099DC0FC}"/>
              </a:ext>
            </a:extLst>
          </p:cNvPr>
          <p:cNvSpPr/>
          <p:nvPr/>
        </p:nvSpPr>
        <p:spPr>
          <a:xfrm>
            <a:off x="1433945" y="2257864"/>
            <a:ext cx="415638" cy="28790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11">
            <a:extLst>
              <a:ext uri="{FF2B5EF4-FFF2-40B4-BE49-F238E27FC236}">
                <a16:creationId xmlns:a16="http://schemas.microsoft.com/office/drawing/2014/main" id="{96EF6317-72E3-4168-8AB0-CE298AA069DA}"/>
              </a:ext>
            </a:extLst>
          </p:cNvPr>
          <p:cNvSpPr/>
          <p:nvPr/>
        </p:nvSpPr>
        <p:spPr>
          <a:xfrm>
            <a:off x="9964881" y="2609635"/>
            <a:ext cx="1028366" cy="639681"/>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a:extLst>
              <a:ext uri="{FF2B5EF4-FFF2-40B4-BE49-F238E27FC236}">
                <a16:creationId xmlns:a16="http://schemas.microsoft.com/office/drawing/2014/main" id="{DBA824AC-B7E1-46BE-953A-61A69934C282}"/>
              </a:ext>
            </a:extLst>
          </p:cNvPr>
          <p:cNvSpPr txBox="1"/>
          <p:nvPr/>
        </p:nvSpPr>
        <p:spPr>
          <a:xfrm>
            <a:off x="935180" y="3545670"/>
            <a:ext cx="4907973" cy="646331"/>
          </a:xfrm>
          <a:prstGeom prst="rect">
            <a:avLst/>
          </a:prstGeom>
          <a:noFill/>
        </p:spPr>
        <p:txBody>
          <a:bodyPr wrap="square" rtlCol="0">
            <a:spAutoFit/>
          </a:bodyPr>
          <a:lstStyle/>
          <a:p>
            <a:r>
              <a:rPr lang="en-US" b="1" dirty="0"/>
              <a:t>Enter the font to be replaced in “</a:t>
            </a:r>
            <a:r>
              <a:rPr lang="en-US" b="1" dirty="0">
                <a:solidFill>
                  <a:srgbClr val="FF0000"/>
                </a:solidFill>
              </a:rPr>
              <a:t>Replace</a:t>
            </a:r>
            <a:r>
              <a:rPr lang="en-US" b="1" dirty="0"/>
              <a:t>” and the preferred font type in “</a:t>
            </a:r>
            <a:r>
              <a:rPr lang="en-US" b="1" dirty="0">
                <a:solidFill>
                  <a:srgbClr val="FF0000"/>
                </a:solidFill>
              </a:rPr>
              <a:t>with</a:t>
            </a:r>
            <a:r>
              <a:rPr lang="en-US" b="1" dirty="0"/>
              <a:t>”</a:t>
            </a:r>
          </a:p>
        </p:txBody>
      </p:sp>
      <p:sp>
        <p:nvSpPr>
          <p:cNvPr id="14" name="Oval 13">
            <a:extLst>
              <a:ext uri="{FF2B5EF4-FFF2-40B4-BE49-F238E27FC236}">
                <a16:creationId xmlns:a16="http://schemas.microsoft.com/office/drawing/2014/main" id="{53417640-64BC-4877-9BD8-E046EB110363}"/>
              </a:ext>
            </a:extLst>
          </p:cNvPr>
          <p:cNvSpPr/>
          <p:nvPr/>
        </p:nvSpPr>
        <p:spPr>
          <a:xfrm>
            <a:off x="561108" y="3543300"/>
            <a:ext cx="374072" cy="374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rPr>
              <a:t>2</a:t>
            </a:r>
          </a:p>
        </p:txBody>
      </p:sp>
      <p:pic>
        <p:nvPicPr>
          <p:cNvPr id="16" name="Picture 15">
            <a:extLst>
              <a:ext uri="{FF2B5EF4-FFF2-40B4-BE49-F238E27FC236}">
                <a16:creationId xmlns:a16="http://schemas.microsoft.com/office/drawing/2014/main" id="{2D3A4CF1-1EE1-4768-99DB-050466C4C28A}"/>
              </a:ext>
            </a:extLst>
          </p:cNvPr>
          <p:cNvPicPr>
            <a:picLocks noChangeAspect="1"/>
          </p:cNvPicPr>
          <p:nvPr/>
        </p:nvPicPr>
        <p:blipFill>
          <a:blip r:embed="rId7"/>
          <a:stretch>
            <a:fillRect/>
          </a:stretch>
        </p:blipFill>
        <p:spPr>
          <a:xfrm>
            <a:off x="1045683" y="4312478"/>
            <a:ext cx="4523508" cy="2180396"/>
          </a:xfrm>
          <a:prstGeom prst="rect">
            <a:avLst/>
          </a:prstGeom>
        </p:spPr>
      </p:pic>
      <p:sp>
        <p:nvSpPr>
          <p:cNvPr id="17" name="Rectangle 16">
            <a:extLst>
              <a:ext uri="{FF2B5EF4-FFF2-40B4-BE49-F238E27FC236}">
                <a16:creationId xmlns:a16="http://schemas.microsoft.com/office/drawing/2014/main" id="{5F278963-02D6-404C-B291-C9E81E53F8DE}"/>
              </a:ext>
            </a:extLst>
          </p:cNvPr>
          <p:cNvSpPr/>
          <p:nvPr/>
        </p:nvSpPr>
        <p:spPr>
          <a:xfrm>
            <a:off x="1108029" y="4727196"/>
            <a:ext cx="3453580" cy="624122"/>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3490552D-EC9F-4014-8E32-9C79F0E6F971}"/>
              </a:ext>
            </a:extLst>
          </p:cNvPr>
          <p:cNvSpPr txBox="1"/>
          <p:nvPr/>
        </p:nvSpPr>
        <p:spPr>
          <a:xfrm>
            <a:off x="6608617" y="3545670"/>
            <a:ext cx="5133110" cy="646331"/>
          </a:xfrm>
          <a:prstGeom prst="rect">
            <a:avLst/>
          </a:prstGeom>
          <a:noFill/>
        </p:spPr>
        <p:txBody>
          <a:bodyPr wrap="square" rtlCol="0">
            <a:spAutoFit/>
          </a:bodyPr>
          <a:lstStyle/>
          <a:p>
            <a:r>
              <a:rPr lang="en-US" b="1" dirty="0"/>
              <a:t>Click “</a:t>
            </a:r>
            <a:r>
              <a:rPr lang="en-US" b="1" dirty="0">
                <a:solidFill>
                  <a:srgbClr val="FF0000"/>
                </a:solidFill>
              </a:rPr>
              <a:t>Entire presentation</a:t>
            </a:r>
            <a:r>
              <a:rPr lang="en-US" b="1" dirty="0"/>
              <a:t>” to change the font in the entire document and click </a:t>
            </a:r>
            <a:r>
              <a:rPr lang="en-US" b="1" dirty="0">
                <a:solidFill>
                  <a:srgbClr val="FF0000"/>
                </a:solidFill>
              </a:rPr>
              <a:t>Replace</a:t>
            </a:r>
          </a:p>
        </p:txBody>
      </p:sp>
      <p:sp>
        <p:nvSpPr>
          <p:cNvPr id="19" name="Oval 18">
            <a:extLst>
              <a:ext uri="{FF2B5EF4-FFF2-40B4-BE49-F238E27FC236}">
                <a16:creationId xmlns:a16="http://schemas.microsoft.com/office/drawing/2014/main" id="{A1DC83D0-4766-42A2-99D0-5D0C52736DD3}"/>
              </a:ext>
            </a:extLst>
          </p:cNvPr>
          <p:cNvSpPr/>
          <p:nvPr/>
        </p:nvSpPr>
        <p:spPr>
          <a:xfrm>
            <a:off x="6234545" y="3543300"/>
            <a:ext cx="374072" cy="3740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rPr>
              <a:t>3</a:t>
            </a:r>
          </a:p>
        </p:txBody>
      </p:sp>
      <p:pic>
        <p:nvPicPr>
          <p:cNvPr id="21" name="Picture 20">
            <a:extLst>
              <a:ext uri="{FF2B5EF4-FFF2-40B4-BE49-F238E27FC236}">
                <a16:creationId xmlns:a16="http://schemas.microsoft.com/office/drawing/2014/main" id="{AD0207FE-0BC9-40D3-BC5D-9260493CBAD0}"/>
              </a:ext>
            </a:extLst>
          </p:cNvPr>
          <p:cNvPicPr>
            <a:picLocks noChangeAspect="1"/>
          </p:cNvPicPr>
          <p:nvPr/>
        </p:nvPicPr>
        <p:blipFill>
          <a:blip r:embed="rId8"/>
          <a:stretch>
            <a:fillRect/>
          </a:stretch>
        </p:blipFill>
        <p:spPr>
          <a:xfrm>
            <a:off x="6696159" y="4294296"/>
            <a:ext cx="4569432" cy="2198578"/>
          </a:xfrm>
          <a:prstGeom prst="rect">
            <a:avLst/>
          </a:prstGeom>
        </p:spPr>
      </p:pic>
      <p:sp>
        <p:nvSpPr>
          <p:cNvPr id="22" name="Rectangle 21">
            <a:extLst>
              <a:ext uri="{FF2B5EF4-FFF2-40B4-BE49-F238E27FC236}">
                <a16:creationId xmlns:a16="http://schemas.microsoft.com/office/drawing/2014/main" id="{4D8E020C-222A-455A-93E5-8511CA04394E}"/>
              </a:ext>
            </a:extLst>
          </p:cNvPr>
          <p:cNvSpPr/>
          <p:nvPr/>
        </p:nvSpPr>
        <p:spPr>
          <a:xfrm>
            <a:off x="10338955" y="4736763"/>
            <a:ext cx="807362" cy="311005"/>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Rectangle 22">
            <a:extLst>
              <a:ext uri="{FF2B5EF4-FFF2-40B4-BE49-F238E27FC236}">
                <a16:creationId xmlns:a16="http://schemas.microsoft.com/office/drawing/2014/main" id="{DC0AAEA3-A3D3-4155-8C47-D8E9077BC347}"/>
              </a:ext>
            </a:extLst>
          </p:cNvPr>
          <p:cNvSpPr/>
          <p:nvPr/>
        </p:nvSpPr>
        <p:spPr>
          <a:xfrm>
            <a:off x="8802664" y="5937558"/>
            <a:ext cx="1349254" cy="34366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684442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1A89B61-F9C9-4B44-9B25-CF7D03A78F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5</a:t>
            </a:fld>
            <a:endParaRPr lang="en-US" sz="1000" dirty="0">
              <a:solidFill>
                <a:srgbClr val="ADAFBB"/>
              </a:solidFill>
            </a:endParaRPr>
          </a:p>
        </p:txBody>
      </p:sp>
      <p:grpSp>
        <p:nvGrpSpPr>
          <p:cNvPr id="13" name="Group 12">
            <a:extLst>
              <a:ext uri="{FF2B5EF4-FFF2-40B4-BE49-F238E27FC236}">
                <a16:creationId xmlns:a16="http://schemas.microsoft.com/office/drawing/2014/main" id="{034C71AC-AB85-856B-5AE7-59AED81F2D18}"/>
              </a:ext>
            </a:extLst>
          </p:cNvPr>
          <p:cNvGrpSpPr/>
          <p:nvPr/>
        </p:nvGrpSpPr>
        <p:grpSpPr>
          <a:xfrm>
            <a:off x="601634" y="3462968"/>
            <a:ext cx="10985529" cy="818971"/>
            <a:chOff x="601634" y="3019289"/>
            <a:chExt cx="10985529" cy="818971"/>
          </a:xfrm>
        </p:grpSpPr>
        <p:sp>
          <p:nvSpPr>
            <p:cNvPr id="45" name="Rectangle 44">
              <a:extLst>
                <a:ext uri="{FF2B5EF4-FFF2-40B4-BE49-F238E27FC236}">
                  <a16:creationId xmlns:a16="http://schemas.microsoft.com/office/drawing/2014/main" id="{10BD3E93-8E2C-4C1E-9F14-8EA9D1B80F7B}"/>
                </a:ext>
              </a:extLst>
            </p:cNvPr>
            <p:cNvSpPr/>
            <p:nvPr/>
          </p:nvSpPr>
          <p:spPr>
            <a:xfrm>
              <a:off x="601634" y="3019289"/>
              <a:ext cx="10985529" cy="8189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6" name="Rectangle 25">
              <a:extLst>
                <a:ext uri="{FF2B5EF4-FFF2-40B4-BE49-F238E27FC236}">
                  <a16:creationId xmlns:a16="http://schemas.microsoft.com/office/drawing/2014/main" id="{A0729B37-90A2-4A18-A667-E59D9DEF8551}"/>
                </a:ext>
              </a:extLst>
            </p:cNvPr>
            <p:cNvSpPr/>
            <p:nvPr/>
          </p:nvSpPr>
          <p:spPr>
            <a:xfrm>
              <a:off x="674371" y="3027181"/>
              <a:ext cx="706582" cy="80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1"/>
                  </a:solidFill>
                  <a:effectLst/>
                  <a:uLnTx/>
                  <a:uFillTx/>
                  <a:ea typeface="+mn-ea"/>
                  <a:cs typeface="+mn-cs"/>
                </a:rPr>
                <a:t>2</a:t>
              </a:r>
            </a:p>
          </p:txBody>
        </p:sp>
        <p:sp>
          <p:nvSpPr>
            <p:cNvPr id="27" name="Rectangle 26">
              <a:extLst>
                <a:ext uri="{FF2B5EF4-FFF2-40B4-BE49-F238E27FC236}">
                  <a16:creationId xmlns:a16="http://schemas.microsoft.com/office/drawing/2014/main" id="{7C1F4CAA-045E-4A7A-969E-9B6A53203C81}"/>
                </a:ext>
              </a:extLst>
            </p:cNvPr>
            <p:cNvSpPr/>
            <p:nvPr/>
          </p:nvSpPr>
          <p:spPr>
            <a:xfrm>
              <a:off x="1879717" y="3274885"/>
              <a:ext cx="9355973"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tx1"/>
                  </a:solidFill>
                  <a:effectLst/>
                  <a:uLnTx/>
                  <a:uFillTx/>
                  <a:ea typeface="+mn-ea"/>
                  <a:cs typeface="+mn-cs"/>
                </a:rPr>
                <a:t>How to easily leverage our Toolkits to create your own deliverables</a:t>
              </a:r>
              <a:endParaRPr kumimoji="0" lang="en-US" sz="2000" b="1" i="0" u="none" strike="noStrike" kern="1200" cap="none" spc="0" normalizeH="0" baseline="0" noProof="0" dirty="0">
                <a:ln>
                  <a:noFill/>
                </a:ln>
                <a:solidFill>
                  <a:schemeClr val="tx1"/>
                </a:solidFill>
                <a:effectLst/>
                <a:uLnTx/>
                <a:uFillTx/>
                <a:ea typeface="+mn-ea"/>
                <a:cs typeface="+mn-cs"/>
              </a:endParaRPr>
            </a:p>
          </p:txBody>
        </p:sp>
        <p:sp>
          <p:nvSpPr>
            <p:cNvPr id="28" name="Rectangle 27">
              <a:extLst>
                <a:ext uri="{FF2B5EF4-FFF2-40B4-BE49-F238E27FC236}">
                  <a16:creationId xmlns:a16="http://schemas.microsoft.com/office/drawing/2014/main" id="{F48E4D39-0250-47E0-9BFB-40635E773D67}"/>
                </a:ext>
              </a:extLst>
            </p:cNvPr>
            <p:cNvSpPr/>
            <p:nvPr/>
          </p:nvSpPr>
          <p:spPr>
            <a:xfrm>
              <a:off x="1569873" y="3138891"/>
              <a:ext cx="79362" cy="5797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14" name="Group 13">
            <a:extLst>
              <a:ext uri="{FF2B5EF4-FFF2-40B4-BE49-F238E27FC236}">
                <a16:creationId xmlns:a16="http://schemas.microsoft.com/office/drawing/2014/main" id="{4363AA9A-4B69-BA45-B871-3C28D706C119}"/>
              </a:ext>
            </a:extLst>
          </p:cNvPr>
          <p:cNvGrpSpPr/>
          <p:nvPr/>
        </p:nvGrpSpPr>
        <p:grpSpPr>
          <a:xfrm>
            <a:off x="601634" y="4539544"/>
            <a:ext cx="10985529" cy="818971"/>
            <a:chOff x="601634" y="4119596"/>
            <a:chExt cx="10985529" cy="818971"/>
          </a:xfrm>
        </p:grpSpPr>
        <p:sp>
          <p:nvSpPr>
            <p:cNvPr id="46" name="Rectangle 45">
              <a:extLst>
                <a:ext uri="{FF2B5EF4-FFF2-40B4-BE49-F238E27FC236}">
                  <a16:creationId xmlns:a16="http://schemas.microsoft.com/office/drawing/2014/main" id="{44056CF2-3AA1-43A1-8DBA-7FD28650266C}"/>
                </a:ext>
              </a:extLst>
            </p:cNvPr>
            <p:cNvSpPr/>
            <p:nvPr/>
          </p:nvSpPr>
          <p:spPr>
            <a:xfrm>
              <a:off x="601634" y="4119596"/>
              <a:ext cx="10985529" cy="818971"/>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42" name="Rectangle 41">
              <a:extLst>
                <a:ext uri="{FF2B5EF4-FFF2-40B4-BE49-F238E27FC236}">
                  <a16:creationId xmlns:a16="http://schemas.microsoft.com/office/drawing/2014/main" id="{88EA3805-A60E-4C8D-88DA-D6A6D2B7DEE6}"/>
                </a:ext>
              </a:extLst>
            </p:cNvPr>
            <p:cNvSpPr/>
            <p:nvPr/>
          </p:nvSpPr>
          <p:spPr>
            <a:xfrm>
              <a:off x="674371" y="4127488"/>
              <a:ext cx="706582" cy="80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bg1"/>
                  </a:solidFill>
                  <a:effectLst/>
                  <a:uLnTx/>
                  <a:uFillTx/>
                  <a:ea typeface="+mn-ea"/>
                  <a:cs typeface="+mn-cs"/>
                </a:rPr>
                <a:t>3</a:t>
              </a:r>
            </a:p>
          </p:txBody>
        </p:sp>
        <p:sp>
          <p:nvSpPr>
            <p:cNvPr id="43" name="Rectangle 42">
              <a:extLst>
                <a:ext uri="{FF2B5EF4-FFF2-40B4-BE49-F238E27FC236}">
                  <a16:creationId xmlns:a16="http://schemas.microsoft.com/office/drawing/2014/main" id="{8D208B22-9AEE-4BFE-A152-B2636192DAEF}"/>
                </a:ext>
              </a:extLst>
            </p:cNvPr>
            <p:cNvSpPr/>
            <p:nvPr/>
          </p:nvSpPr>
          <p:spPr>
            <a:xfrm>
              <a:off x="1879716" y="4375192"/>
              <a:ext cx="8280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ea typeface="+mn-ea"/>
                  <a:cs typeface="+mn-cs"/>
                </a:rPr>
                <a:t>How to easily translate our Toolkits in </a:t>
              </a:r>
              <a:r>
                <a:rPr lang="en-US" sz="2000" b="1" dirty="0">
                  <a:solidFill>
                    <a:schemeClr val="bg1"/>
                  </a:solidFill>
                </a:rPr>
                <a:t>all</a:t>
              </a:r>
              <a:r>
                <a:rPr kumimoji="0" lang="en-US" sz="2000" b="1" i="0" u="none" strike="noStrike" kern="1200" cap="none" spc="0" normalizeH="0" baseline="0" noProof="0" dirty="0">
                  <a:ln>
                    <a:noFill/>
                  </a:ln>
                  <a:solidFill>
                    <a:schemeClr val="bg1"/>
                  </a:solidFill>
                  <a:effectLst/>
                  <a:uLnTx/>
                  <a:uFillTx/>
                  <a:ea typeface="+mn-ea"/>
                  <a:cs typeface="+mn-cs"/>
                </a:rPr>
                <a:t> languages</a:t>
              </a:r>
            </a:p>
          </p:txBody>
        </p:sp>
        <p:sp>
          <p:nvSpPr>
            <p:cNvPr id="44" name="Rectangle 43">
              <a:extLst>
                <a:ext uri="{FF2B5EF4-FFF2-40B4-BE49-F238E27FC236}">
                  <a16:creationId xmlns:a16="http://schemas.microsoft.com/office/drawing/2014/main" id="{4963FFC8-BF5D-4917-8690-F629ED5D181B}"/>
                </a:ext>
              </a:extLst>
            </p:cNvPr>
            <p:cNvSpPr/>
            <p:nvPr/>
          </p:nvSpPr>
          <p:spPr>
            <a:xfrm>
              <a:off x="1569873" y="4239198"/>
              <a:ext cx="79362" cy="5797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4" name="Group 3">
            <a:extLst>
              <a:ext uri="{FF2B5EF4-FFF2-40B4-BE49-F238E27FC236}">
                <a16:creationId xmlns:a16="http://schemas.microsoft.com/office/drawing/2014/main" id="{E5D8961B-EC1F-15E4-6BD6-DB3FB0CA0026}"/>
              </a:ext>
            </a:extLst>
          </p:cNvPr>
          <p:cNvGrpSpPr/>
          <p:nvPr/>
        </p:nvGrpSpPr>
        <p:grpSpPr>
          <a:xfrm>
            <a:off x="601634" y="2386392"/>
            <a:ext cx="10985529" cy="818971"/>
            <a:chOff x="601634" y="1963482"/>
            <a:chExt cx="10985529" cy="818971"/>
          </a:xfrm>
        </p:grpSpPr>
        <p:sp>
          <p:nvSpPr>
            <p:cNvPr id="6" name="Rectangle 5">
              <a:extLst>
                <a:ext uri="{FF2B5EF4-FFF2-40B4-BE49-F238E27FC236}">
                  <a16:creationId xmlns:a16="http://schemas.microsoft.com/office/drawing/2014/main" id="{DC73E47F-CEAC-57D0-BF24-F4AF197C39CE}"/>
                </a:ext>
              </a:extLst>
            </p:cNvPr>
            <p:cNvSpPr/>
            <p:nvPr/>
          </p:nvSpPr>
          <p:spPr>
            <a:xfrm>
              <a:off x="601634" y="1963482"/>
              <a:ext cx="10985529" cy="8189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9" name="Rectangle 8">
              <a:extLst>
                <a:ext uri="{FF2B5EF4-FFF2-40B4-BE49-F238E27FC236}">
                  <a16:creationId xmlns:a16="http://schemas.microsoft.com/office/drawing/2014/main" id="{47708972-C28D-A913-E992-20C091E6466F}"/>
                </a:ext>
              </a:extLst>
            </p:cNvPr>
            <p:cNvSpPr/>
            <p:nvPr/>
          </p:nvSpPr>
          <p:spPr>
            <a:xfrm>
              <a:off x="674371" y="1971374"/>
              <a:ext cx="706582" cy="80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accent1"/>
                  </a:solidFill>
                  <a:effectLst/>
                  <a:uLnTx/>
                  <a:uFillTx/>
                  <a:ea typeface="+mn-ea"/>
                  <a:cs typeface="+mn-cs"/>
                </a:rPr>
                <a:t>1</a:t>
              </a:r>
            </a:p>
          </p:txBody>
        </p:sp>
        <p:sp>
          <p:nvSpPr>
            <p:cNvPr id="10" name="Rectangle 9">
              <a:extLst>
                <a:ext uri="{FF2B5EF4-FFF2-40B4-BE49-F238E27FC236}">
                  <a16:creationId xmlns:a16="http://schemas.microsoft.com/office/drawing/2014/main" id="{16831BD1-8072-087F-5EF9-C9D6B2D61BC1}"/>
                </a:ext>
              </a:extLst>
            </p:cNvPr>
            <p:cNvSpPr/>
            <p:nvPr/>
          </p:nvSpPr>
          <p:spPr>
            <a:xfrm>
              <a:off x="1879715" y="2219078"/>
              <a:ext cx="8280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2000" b="1" dirty="0">
                  <a:solidFill>
                    <a:schemeClr val="accent1"/>
                  </a:solidFill>
                </a:rPr>
                <a:t>Content overview</a:t>
              </a:r>
            </a:p>
          </p:txBody>
        </p:sp>
        <p:sp>
          <p:nvSpPr>
            <p:cNvPr id="11" name="Rectangle 10">
              <a:extLst>
                <a:ext uri="{FF2B5EF4-FFF2-40B4-BE49-F238E27FC236}">
                  <a16:creationId xmlns:a16="http://schemas.microsoft.com/office/drawing/2014/main" id="{0AFE4B10-53BC-AD81-B67B-8B6B10C7895F}"/>
                </a:ext>
              </a:extLst>
            </p:cNvPr>
            <p:cNvSpPr/>
            <p:nvPr/>
          </p:nvSpPr>
          <p:spPr>
            <a:xfrm>
              <a:off x="1569872" y="2083084"/>
              <a:ext cx="79362" cy="5797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bg1"/>
                </a:solidFill>
              </a:endParaRPr>
            </a:p>
          </p:txBody>
        </p:sp>
      </p:grpSp>
    </p:spTree>
    <p:extLst>
      <p:ext uri="{BB962C8B-B14F-4D97-AF65-F5344CB8AC3E}">
        <p14:creationId xmlns:p14="http://schemas.microsoft.com/office/powerpoint/2010/main" val="29692006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pPr>
            <a:r>
              <a:rPr lang="en-GB" sz="2400" dirty="0">
                <a:solidFill>
                  <a:schemeClr val="accent1"/>
                </a:solidFill>
              </a:rPr>
              <a:t>To instantly translate our Toolkits, our clients usually choose the world’s best AI translators in the world: Deepl Translator or Microsoft Translator </a:t>
            </a:r>
            <a:endParaRPr lang="en-US" sz="2400" b="1" dirty="0">
              <a:solidFill>
                <a:schemeClr val="accent1"/>
              </a:solidFill>
            </a:endParaRPr>
          </a:p>
        </p:txBody>
      </p:sp>
      <p:sp>
        <p:nvSpPr>
          <p:cNvPr id="60" name="Slide Number Placeholder 2">
            <a:extLst>
              <a:ext uri="{FF2B5EF4-FFF2-40B4-BE49-F238E27FC236}">
                <a16:creationId xmlns:a16="http://schemas.microsoft.com/office/drawing/2014/main" id="{3AF2310B-6B19-D70C-7ABD-78D9F88199B7}"/>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12" name="Rectangle 11">
            <a:extLst>
              <a:ext uri="{FF2B5EF4-FFF2-40B4-BE49-F238E27FC236}">
                <a16:creationId xmlns:a16="http://schemas.microsoft.com/office/drawing/2014/main" id="{FD06379C-9DEF-1ED7-3641-6AD0ECC8E382}"/>
              </a:ext>
            </a:extLst>
          </p:cNvPr>
          <p:cNvSpPr/>
          <p:nvPr/>
        </p:nvSpPr>
        <p:spPr>
          <a:xfrm>
            <a:off x="628578" y="2773574"/>
            <a:ext cx="5184000" cy="513768"/>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latin typeface="+mj-lt"/>
                <a:cs typeface="Helvetica"/>
              </a:rPr>
              <a:t>Deepl Translator</a:t>
            </a:r>
          </a:p>
        </p:txBody>
      </p:sp>
      <p:pic>
        <p:nvPicPr>
          <p:cNvPr id="9" name="Graphic 8">
            <a:extLst>
              <a:ext uri="{FF2B5EF4-FFF2-40B4-BE49-F238E27FC236}">
                <a16:creationId xmlns:a16="http://schemas.microsoft.com/office/drawing/2014/main" id="{EA85ED6F-D741-2EE6-9E1E-79BDB781A6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77439" y="2191278"/>
            <a:ext cx="1503577" cy="515727"/>
          </a:xfrm>
          <a:prstGeom prst="rect">
            <a:avLst/>
          </a:prstGeom>
        </p:spPr>
      </p:pic>
      <p:sp>
        <p:nvSpPr>
          <p:cNvPr id="17" name="Rectangle 16">
            <a:extLst>
              <a:ext uri="{FF2B5EF4-FFF2-40B4-BE49-F238E27FC236}">
                <a16:creationId xmlns:a16="http://schemas.microsoft.com/office/drawing/2014/main" id="{8F32928B-E7F1-394A-A922-14606102FD00}"/>
              </a:ext>
            </a:extLst>
          </p:cNvPr>
          <p:cNvSpPr/>
          <p:nvPr/>
        </p:nvSpPr>
        <p:spPr>
          <a:xfrm>
            <a:off x="628649" y="3367352"/>
            <a:ext cx="5184000" cy="231335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400" dirty="0">
                <a:solidFill>
                  <a:schemeClr val="tx2"/>
                </a:solidFill>
                <a:latin typeface="+mj-lt"/>
                <a:cs typeface="Helvetica"/>
              </a:rPr>
              <a:t>With </a:t>
            </a:r>
            <a:r>
              <a:rPr lang="en-GB" sz="1400" dirty="0" err="1">
                <a:solidFill>
                  <a:schemeClr val="tx2"/>
                </a:solidFill>
                <a:latin typeface="+mj-lt"/>
                <a:cs typeface="Helvetica"/>
              </a:rPr>
              <a:t>Deepl</a:t>
            </a:r>
            <a:r>
              <a:rPr lang="en-GB" sz="1400" dirty="0">
                <a:solidFill>
                  <a:schemeClr val="tx2"/>
                </a:solidFill>
                <a:latin typeface="+mj-lt"/>
                <a:cs typeface="Helvetica"/>
              </a:rPr>
              <a:t> Translator, you can easily and instantly translate an entire document in 30+ languages. All you need to do is go on their website </a:t>
            </a:r>
            <a:r>
              <a:rPr lang="en-GB" sz="1400" dirty="0">
                <a:solidFill>
                  <a:schemeClr val="accent1"/>
                </a:solidFill>
                <a:hlinkClick r:id="rId8"/>
              </a:rPr>
              <a:t>https://www.deepl.com/translator</a:t>
            </a:r>
            <a:r>
              <a:rPr lang="en-GB" sz="1400" dirty="0">
                <a:solidFill>
                  <a:schemeClr val="accent1"/>
                </a:solidFill>
              </a:rPr>
              <a:t>, and </a:t>
            </a:r>
            <a:r>
              <a:rPr lang="en-GB" sz="1400" dirty="0">
                <a:solidFill>
                  <a:schemeClr val="tx2"/>
                </a:solidFill>
                <a:latin typeface="+mj-lt"/>
                <a:cs typeface="Helvetica"/>
              </a:rPr>
              <a:t>drag and drop your </a:t>
            </a:r>
            <a:r>
              <a:rPr lang="en-GB" sz="1400" dirty="0" err="1">
                <a:solidFill>
                  <a:schemeClr val="tx2"/>
                </a:solidFill>
                <a:latin typeface="+mj-lt"/>
                <a:cs typeface="Helvetica"/>
              </a:rPr>
              <a:t>Powerpoint</a:t>
            </a:r>
            <a:r>
              <a:rPr lang="en-GB" sz="1400" dirty="0">
                <a:solidFill>
                  <a:schemeClr val="tx2"/>
                </a:solidFill>
                <a:latin typeface="+mj-lt"/>
                <a:cs typeface="Helvetica"/>
              </a:rPr>
              <a:t> or Word document.</a:t>
            </a:r>
          </a:p>
          <a:p>
            <a:endParaRPr lang="en-GB" sz="1400" dirty="0">
              <a:solidFill>
                <a:schemeClr val="tx2"/>
              </a:solidFill>
              <a:latin typeface="+mj-lt"/>
              <a:cs typeface="Helvetica"/>
            </a:endParaRPr>
          </a:p>
          <a:p>
            <a:r>
              <a:rPr lang="en-GB" sz="1400" dirty="0">
                <a:solidFill>
                  <a:schemeClr val="tx2"/>
                </a:solidFill>
                <a:latin typeface="+mj-lt"/>
                <a:cs typeface="Helvetica"/>
              </a:rPr>
              <a:t>We indirectly pay for Deepl.com by providing you a US $50 discount, which you can use to purchase our Toolkits. This discount will cover the cost of Deepl.com. To get this US $50 discount, enter this discount code at checkout: DEEPL$50DISC</a:t>
            </a:r>
          </a:p>
        </p:txBody>
      </p:sp>
      <p:sp>
        <p:nvSpPr>
          <p:cNvPr id="21" name="Rectangle 20">
            <a:extLst>
              <a:ext uri="{FF2B5EF4-FFF2-40B4-BE49-F238E27FC236}">
                <a16:creationId xmlns:a16="http://schemas.microsoft.com/office/drawing/2014/main" id="{1F06CC97-512B-2D7B-5A66-0C032CAF702D}"/>
              </a:ext>
            </a:extLst>
          </p:cNvPr>
          <p:cNvSpPr/>
          <p:nvPr/>
        </p:nvSpPr>
        <p:spPr>
          <a:xfrm>
            <a:off x="6354937" y="2773574"/>
            <a:ext cx="5184000" cy="513768"/>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latin typeface="+mj-lt"/>
                <a:cs typeface="Helvetica"/>
              </a:rPr>
              <a:t>Microsoft Translator</a:t>
            </a:r>
          </a:p>
        </p:txBody>
      </p:sp>
      <p:pic>
        <p:nvPicPr>
          <p:cNvPr id="25" name="Graphic 24">
            <a:extLst>
              <a:ext uri="{FF2B5EF4-FFF2-40B4-BE49-F238E27FC236}">
                <a16:creationId xmlns:a16="http://schemas.microsoft.com/office/drawing/2014/main" id="{31B108BD-86AD-33F0-0760-42E7A6CD28C6}"/>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25301" b="10915"/>
          <a:stretch/>
        </p:blipFill>
        <p:spPr>
          <a:xfrm>
            <a:off x="8108982" y="2260188"/>
            <a:ext cx="1850287" cy="343891"/>
          </a:xfrm>
          <a:prstGeom prst="rect">
            <a:avLst/>
          </a:prstGeom>
        </p:spPr>
      </p:pic>
      <p:sp>
        <p:nvSpPr>
          <p:cNvPr id="26" name="Rectangle 25">
            <a:extLst>
              <a:ext uri="{FF2B5EF4-FFF2-40B4-BE49-F238E27FC236}">
                <a16:creationId xmlns:a16="http://schemas.microsoft.com/office/drawing/2014/main" id="{EBB92A26-784E-0EE9-CFC8-E79CCC2E991F}"/>
              </a:ext>
            </a:extLst>
          </p:cNvPr>
          <p:cNvSpPr/>
          <p:nvPr/>
        </p:nvSpPr>
        <p:spPr>
          <a:xfrm>
            <a:off x="6355008" y="3367352"/>
            <a:ext cx="5184000" cy="231335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400" dirty="0">
                <a:solidFill>
                  <a:schemeClr val="tx2"/>
                </a:solidFill>
                <a:latin typeface="+mj-lt"/>
                <a:cs typeface="Helvetica"/>
              </a:rPr>
              <a:t>With Microsoft Translator, you can easily and instantly translate our Toolkits in all languages.</a:t>
            </a:r>
          </a:p>
          <a:p>
            <a:endParaRPr lang="en-GB" sz="1400" dirty="0">
              <a:solidFill>
                <a:schemeClr val="tx2"/>
              </a:solidFill>
              <a:latin typeface="+mj-lt"/>
              <a:cs typeface="Helvetica"/>
            </a:endParaRPr>
          </a:p>
          <a:p>
            <a:r>
              <a:rPr lang="en-GB" sz="1400" dirty="0">
                <a:solidFill>
                  <a:schemeClr val="tx2"/>
                </a:solidFill>
                <a:latin typeface="+mj-lt"/>
                <a:cs typeface="Helvetica"/>
              </a:rPr>
              <a:t>Microsoft Translator is free and directly available within Powerpoint and Excel. </a:t>
            </a:r>
          </a:p>
          <a:p>
            <a:endParaRPr lang="en-GB" sz="1400" dirty="0">
              <a:solidFill>
                <a:schemeClr val="tx2"/>
              </a:solidFill>
              <a:latin typeface="+mj-lt"/>
              <a:cs typeface="Helvetica"/>
            </a:endParaRPr>
          </a:p>
          <a:p>
            <a:r>
              <a:rPr lang="en-GB" sz="1400" dirty="0">
                <a:solidFill>
                  <a:schemeClr val="tx2"/>
                </a:solidFill>
                <a:latin typeface="+mj-lt"/>
                <a:cs typeface="Helvetica"/>
              </a:rPr>
              <a:t>It uses Neural Machine Translation (NMT), which is the new standard for high-quality AI-powered machine translations.</a:t>
            </a:r>
          </a:p>
        </p:txBody>
      </p:sp>
    </p:spTree>
    <p:extLst>
      <p:ext uri="{BB962C8B-B14F-4D97-AF65-F5344CB8AC3E}">
        <p14:creationId xmlns:p14="http://schemas.microsoft.com/office/powerpoint/2010/main" val="3851589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pPr>
            <a:r>
              <a:rPr lang="en-GB" sz="2400" dirty="0">
                <a:solidFill>
                  <a:schemeClr val="accent1"/>
                </a:solidFill>
              </a:rPr>
              <a:t>Let’s first zoom on Deepl Translator</a:t>
            </a:r>
            <a:endParaRPr lang="en-US" sz="2400" b="1" dirty="0">
              <a:solidFill>
                <a:schemeClr val="accent1"/>
              </a:solidFill>
            </a:endParaRPr>
          </a:p>
        </p:txBody>
      </p:sp>
      <p:sp>
        <p:nvSpPr>
          <p:cNvPr id="60" name="Slide Number Placeholder 2">
            <a:extLst>
              <a:ext uri="{FF2B5EF4-FFF2-40B4-BE49-F238E27FC236}">
                <a16:creationId xmlns:a16="http://schemas.microsoft.com/office/drawing/2014/main" id="{3AF2310B-6B19-D70C-7ABD-78D9F88199B7}"/>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17" name="Arrow: Down 16">
            <a:extLst>
              <a:ext uri="{FF2B5EF4-FFF2-40B4-BE49-F238E27FC236}">
                <a16:creationId xmlns:a16="http://schemas.microsoft.com/office/drawing/2014/main" id="{1B99D992-7924-DCBD-CC52-F5716748C142}"/>
              </a:ext>
            </a:extLst>
          </p:cNvPr>
          <p:cNvSpPr/>
          <p:nvPr/>
        </p:nvSpPr>
        <p:spPr>
          <a:xfrm>
            <a:off x="3016301" y="1675436"/>
            <a:ext cx="560070" cy="411480"/>
          </a:xfrm>
          <a:prstGeom prst="down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Rectangle 30">
            <a:extLst>
              <a:ext uri="{FF2B5EF4-FFF2-40B4-BE49-F238E27FC236}">
                <a16:creationId xmlns:a16="http://schemas.microsoft.com/office/drawing/2014/main" id="{BC4B5072-13DA-3F96-13AA-A03E288080C4}"/>
              </a:ext>
            </a:extLst>
          </p:cNvPr>
          <p:cNvSpPr/>
          <p:nvPr/>
        </p:nvSpPr>
        <p:spPr>
          <a:xfrm>
            <a:off x="628578" y="2773574"/>
            <a:ext cx="5184000" cy="513768"/>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latin typeface="+mj-lt"/>
                <a:cs typeface="Helvetica"/>
              </a:rPr>
              <a:t>Deepl Translator</a:t>
            </a:r>
          </a:p>
        </p:txBody>
      </p:sp>
      <p:pic>
        <p:nvPicPr>
          <p:cNvPr id="32" name="Graphic 31">
            <a:extLst>
              <a:ext uri="{FF2B5EF4-FFF2-40B4-BE49-F238E27FC236}">
                <a16:creationId xmlns:a16="http://schemas.microsoft.com/office/drawing/2014/main" id="{CA5DF2C3-390B-78C9-9543-8059A1844CB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77439" y="2191278"/>
            <a:ext cx="1503577" cy="515727"/>
          </a:xfrm>
          <a:prstGeom prst="rect">
            <a:avLst/>
          </a:prstGeom>
        </p:spPr>
      </p:pic>
      <p:sp>
        <p:nvSpPr>
          <p:cNvPr id="33" name="Rectangle 32">
            <a:extLst>
              <a:ext uri="{FF2B5EF4-FFF2-40B4-BE49-F238E27FC236}">
                <a16:creationId xmlns:a16="http://schemas.microsoft.com/office/drawing/2014/main" id="{53F625DD-E9B7-2A73-8781-4EA5D49D8174}"/>
              </a:ext>
            </a:extLst>
          </p:cNvPr>
          <p:cNvSpPr/>
          <p:nvPr/>
        </p:nvSpPr>
        <p:spPr>
          <a:xfrm>
            <a:off x="628649" y="3367352"/>
            <a:ext cx="5184000" cy="231335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400" dirty="0">
                <a:solidFill>
                  <a:schemeClr val="tx2"/>
                </a:solidFill>
                <a:latin typeface="+mj-lt"/>
                <a:cs typeface="Helvetica"/>
              </a:rPr>
              <a:t>With </a:t>
            </a:r>
            <a:r>
              <a:rPr lang="en-GB" sz="1400" dirty="0" err="1">
                <a:solidFill>
                  <a:schemeClr val="tx2"/>
                </a:solidFill>
                <a:latin typeface="+mj-lt"/>
                <a:cs typeface="Helvetica"/>
              </a:rPr>
              <a:t>Deepl</a:t>
            </a:r>
            <a:r>
              <a:rPr lang="en-GB" sz="1400" dirty="0">
                <a:solidFill>
                  <a:schemeClr val="tx2"/>
                </a:solidFill>
                <a:latin typeface="+mj-lt"/>
                <a:cs typeface="Helvetica"/>
              </a:rPr>
              <a:t> Translator, you can easily and instantly translate an entire document in 30+ languages. All you need to do is go on their website </a:t>
            </a:r>
            <a:r>
              <a:rPr lang="en-GB" sz="1400" dirty="0">
                <a:solidFill>
                  <a:schemeClr val="accent1"/>
                </a:solidFill>
                <a:hlinkClick r:id="rId8"/>
              </a:rPr>
              <a:t>https://www.deepl.com/translator</a:t>
            </a:r>
            <a:r>
              <a:rPr lang="en-GB" sz="1400" dirty="0">
                <a:solidFill>
                  <a:schemeClr val="accent1"/>
                </a:solidFill>
              </a:rPr>
              <a:t>, and </a:t>
            </a:r>
            <a:r>
              <a:rPr lang="en-GB" sz="1400" dirty="0">
                <a:solidFill>
                  <a:schemeClr val="tx2"/>
                </a:solidFill>
                <a:latin typeface="+mj-lt"/>
                <a:cs typeface="Helvetica"/>
              </a:rPr>
              <a:t>drag and drop your </a:t>
            </a:r>
            <a:r>
              <a:rPr lang="en-GB" sz="1400" dirty="0" err="1">
                <a:solidFill>
                  <a:schemeClr val="tx2"/>
                </a:solidFill>
                <a:latin typeface="+mj-lt"/>
                <a:cs typeface="Helvetica"/>
              </a:rPr>
              <a:t>Powerpoint</a:t>
            </a:r>
            <a:r>
              <a:rPr lang="en-GB" sz="1400" dirty="0">
                <a:solidFill>
                  <a:schemeClr val="tx2"/>
                </a:solidFill>
                <a:latin typeface="+mj-lt"/>
                <a:cs typeface="Helvetica"/>
              </a:rPr>
              <a:t> or Word document.</a:t>
            </a:r>
          </a:p>
          <a:p>
            <a:endParaRPr lang="en-GB" sz="1400" dirty="0">
              <a:solidFill>
                <a:schemeClr val="tx2"/>
              </a:solidFill>
              <a:latin typeface="+mj-lt"/>
              <a:cs typeface="Helvetica"/>
            </a:endParaRPr>
          </a:p>
          <a:p>
            <a:r>
              <a:rPr lang="en-GB" sz="1400" dirty="0">
                <a:solidFill>
                  <a:schemeClr val="tx2"/>
                </a:solidFill>
                <a:latin typeface="+mj-lt"/>
                <a:cs typeface="Helvetica"/>
              </a:rPr>
              <a:t>We indirectly pay for Deepl.com by providing you a US $50 discount, which you can use to purchase our Toolkits. This discount will cover the cost of Deepl.com. To get this US $50 discount, enter this discount code at checkout: DEEPL$50DISC</a:t>
            </a:r>
          </a:p>
        </p:txBody>
      </p:sp>
      <p:sp>
        <p:nvSpPr>
          <p:cNvPr id="34" name="Rectangle 33">
            <a:extLst>
              <a:ext uri="{FF2B5EF4-FFF2-40B4-BE49-F238E27FC236}">
                <a16:creationId xmlns:a16="http://schemas.microsoft.com/office/drawing/2014/main" id="{7133232E-B22B-53CF-B3FB-FDFCFA591D1C}"/>
              </a:ext>
            </a:extLst>
          </p:cNvPr>
          <p:cNvSpPr/>
          <p:nvPr/>
        </p:nvSpPr>
        <p:spPr>
          <a:xfrm>
            <a:off x="6354937" y="2773574"/>
            <a:ext cx="5184000" cy="513768"/>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latin typeface="+mj-lt"/>
                <a:cs typeface="Helvetica"/>
              </a:rPr>
              <a:t>Microsoft Translator</a:t>
            </a:r>
          </a:p>
        </p:txBody>
      </p:sp>
      <p:pic>
        <p:nvPicPr>
          <p:cNvPr id="35" name="Graphic 34">
            <a:extLst>
              <a:ext uri="{FF2B5EF4-FFF2-40B4-BE49-F238E27FC236}">
                <a16:creationId xmlns:a16="http://schemas.microsoft.com/office/drawing/2014/main" id="{42515FC1-DD95-6B38-ABAE-7D16212C0312}"/>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25301" b="10915"/>
          <a:stretch/>
        </p:blipFill>
        <p:spPr>
          <a:xfrm>
            <a:off x="8108982" y="2260188"/>
            <a:ext cx="1850287" cy="343891"/>
          </a:xfrm>
          <a:prstGeom prst="rect">
            <a:avLst/>
          </a:prstGeom>
        </p:spPr>
      </p:pic>
      <p:sp>
        <p:nvSpPr>
          <p:cNvPr id="36" name="Rectangle 35">
            <a:extLst>
              <a:ext uri="{FF2B5EF4-FFF2-40B4-BE49-F238E27FC236}">
                <a16:creationId xmlns:a16="http://schemas.microsoft.com/office/drawing/2014/main" id="{60F0F4A5-4FA7-93B1-BDE0-D99F890D6F63}"/>
              </a:ext>
            </a:extLst>
          </p:cNvPr>
          <p:cNvSpPr/>
          <p:nvPr/>
        </p:nvSpPr>
        <p:spPr>
          <a:xfrm>
            <a:off x="6355008" y="3367352"/>
            <a:ext cx="5184000" cy="231335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400" dirty="0">
                <a:solidFill>
                  <a:schemeClr val="tx2"/>
                </a:solidFill>
                <a:latin typeface="+mj-lt"/>
                <a:cs typeface="Helvetica"/>
              </a:rPr>
              <a:t>With Microsoft Translator, you can easily and instantly translate our Toolkits in all languages.</a:t>
            </a:r>
          </a:p>
          <a:p>
            <a:endParaRPr lang="en-GB" sz="1400" dirty="0">
              <a:solidFill>
                <a:schemeClr val="tx2"/>
              </a:solidFill>
              <a:latin typeface="+mj-lt"/>
              <a:cs typeface="Helvetica"/>
            </a:endParaRPr>
          </a:p>
          <a:p>
            <a:r>
              <a:rPr lang="en-GB" sz="1400" dirty="0">
                <a:solidFill>
                  <a:schemeClr val="tx2"/>
                </a:solidFill>
                <a:latin typeface="+mj-lt"/>
                <a:cs typeface="Helvetica"/>
              </a:rPr>
              <a:t>Microsoft Translator is free and directly available within </a:t>
            </a:r>
            <a:r>
              <a:rPr lang="en-GB" sz="1400" dirty="0" err="1">
                <a:solidFill>
                  <a:schemeClr val="tx2"/>
                </a:solidFill>
                <a:latin typeface="+mj-lt"/>
                <a:cs typeface="Helvetica"/>
              </a:rPr>
              <a:t>Powerpoint</a:t>
            </a:r>
            <a:r>
              <a:rPr lang="en-GB" sz="1400" dirty="0">
                <a:solidFill>
                  <a:schemeClr val="tx2"/>
                </a:solidFill>
                <a:latin typeface="+mj-lt"/>
                <a:cs typeface="Helvetica"/>
              </a:rPr>
              <a:t> and Excel. </a:t>
            </a:r>
          </a:p>
          <a:p>
            <a:endParaRPr lang="en-GB" sz="1400" dirty="0">
              <a:solidFill>
                <a:schemeClr val="tx2"/>
              </a:solidFill>
              <a:latin typeface="+mj-lt"/>
              <a:cs typeface="Helvetica"/>
            </a:endParaRPr>
          </a:p>
          <a:p>
            <a:r>
              <a:rPr lang="en-GB" sz="1400" dirty="0">
                <a:solidFill>
                  <a:schemeClr val="tx2"/>
                </a:solidFill>
                <a:latin typeface="+mj-lt"/>
                <a:cs typeface="Helvetica"/>
              </a:rPr>
              <a:t>It uses Neural Machine Translation (NMT), which is the new standard for high-quality AI-powered machine translations.</a:t>
            </a:r>
          </a:p>
        </p:txBody>
      </p:sp>
    </p:spTree>
    <p:extLst>
      <p:ext uri="{BB962C8B-B14F-4D97-AF65-F5344CB8AC3E}">
        <p14:creationId xmlns:p14="http://schemas.microsoft.com/office/powerpoint/2010/main" val="5705176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D0868-4609-4523-9D64-D782C7DCD514}"/>
              </a:ext>
            </a:extLst>
          </p:cNvPr>
          <p:cNvSpPr>
            <a:spLocks noGrp="1"/>
          </p:cNvSpPr>
          <p:nvPr>
            <p:ph type="title"/>
          </p:nvPr>
        </p:nvSpPr>
        <p:spPr>
          <a:xfrm>
            <a:off x="514115" y="365126"/>
            <a:ext cx="10758488" cy="1091318"/>
          </a:xfrm>
        </p:spPr>
        <p:txBody>
          <a:bodyPr>
            <a:normAutofit/>
          </a:bodyPr>
          <a:lstStyle/>
          <a:p>
            <a:r>
              <a:rPr lang="en-GB" sz="2400" dirty="0"/>
              <a:t>You can translate our Toolkits into 30+ languages using Deepl Translator</a:t>
            </a:r>
            <a:endParaRPr lang="en-US" sz="2400" dirty="0"/>
          </a:p>
        </p:txBody>
      </p:sp>
      <p:pic>
        <p:nvPicPr>
          <p:cNvPr id="9" name="Picture 8">
            <a:extLst>
              <a:ext uri="{FF2B5EF4-FFF2-40B4-BE49-F238E27FC236}">
                <a16:creationId xmlns:a16="http://schemas.microsoft.com/office/drawing/2014/main" id="{0D628873-7B6C-4A68-9667-B86040D79729}"/>
              </a:ext>
            </a:extLst>
          </p:cNvPr>
          <p:cNvPicPr>
            <a:picLocks noChangeAspect="1"/>
          </p:cNvPicPr>
          <p:nvPr/>
        </p:nvPicPr>
        <p:blipFill>
          <a:blip r:embed="rId2"/>
          <a:stretch>
            <a:fillRect/>
          </a:stretch>
        </p:blipFill>
        <p:spPr>
          <a:xfrm>
            <a:off x="642335" y="1676915"/>
            <a:ext cx="10959116" cy="4627878"/>
          </a:xfrm>
          <a:prstGeom prst="rect">
            <a:avLst/>
          </a:prstGeom>
          <a:ln>
            <a:noFill/>
          </a:ln>
          <a:effectLst>
            <a:outerShdw blurRad="292100" dist="139700" dir="2700000" algn="tl" rotWithShape="0">
              <a:srgbClr val="333333">
                <a:alpha val="65000"/>
              </a:srgbClr>
            </a:outerShdw>
          </a:effectLst>
        </p:spPr>
      </p:pic>
      <p:sp>
        <p:nvSpPr>
          <p:cNvPr id="10" name="Rectangle 9">
            <a:extLst>
              <a:ext uri="{FF2B5EF4-FFF2-40B4-BE49-F238E27FC236}">
                <a16:creationId xmlns:a16="http://schemas.microsoft.com/office/drawing/2014/main" id="{DA9C50CF-20AD-CA4B-9A50-5E35EF7FDFFE}"/>
              </a:ext>
            </a:extLst>
          </p:cNvPr>
          <p:cNvSpPr/>
          <p:nvPr/>
        </p:nvSpPr>
        <p:spPr>
          <a:xfrm>
            <a:off x="1680210" y="2537460"/>
            <a:ext cx="4415790" cy="368046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516191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D0868-4609-4523-9D64-D782C7DCD514}"/>
              </a:ext>
            </a:extLst>
          </p:cNvPr>
          <p:cNvSpPr>
            <a:spLocks noGrp="1"/>
          </p:cNvSpPr>
          <p:nvPr>
            <p:ph type="title"/>
          </p:nvPr>
        </p:nvSpPr>
        <p:spPr>
          <a:xfrm>
            <a:off x="514115" y="365126"/>
            <a:ext cx="10758488" cy="1091318"/>
          </a:xfrm>
        </p:spPr>
        <p:txBody>
          <a:bodyPr>
            <a:normAutofit/>
          </a:bodyPr>
          <a:lstStyle/>
          <a:p>
            <a:r>
              <a:rPr lang="en-GB" sz="2400" dirty="0">
                <a:solidFill>
                  <a:schemeClr val="tx2"/>
                </a:solidFill>
                <a:latin typeface="+mj-lt"/>
                <a:cs typeface="Helvetica"/>
              </a:rPr>
              <a:t>All you need to do is drag and drop your Powerpoint, Word or PDF document</a:t>
            </a:r>
          </a:p>
        </p:txBody>
      </p:sp>
      <p:pic>
        <p:nvPicPr>
          <p:cNvPr id="6" name="Picture 5">
            <a:extLst>
              <a:ext uri="{FF2B5EF4-FFF2-40B4-BE49-F238E27FC236}">
                <a16:creationId xmlns:a16="http://schemas.microsoft.com/office/drawing/2014/main" id="{EC7A6D69-C8BC-DACA-0970-78E556C06BA1}"/>
              </a:ext>
            </a:extLst>
          </p:cNvPr>
          <p:cNvPicPr>
            <a:picLocks noChangeAspect="1"/>
          </p:cNvPicPr>
          <p:nvPr/>
        </p:nvPicPr>
        <p:blipFill>
          <a:blip r:embed="rId2"/>
          <a:stretch>
            <a:fillRect/>
          </a:stretch>
        </p:blipFill>
        <p:spPr>
          <a:xfrm>
            <a:off x="634708" y="1743593"/>
            <a:ext cx="10910378" cy="43714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02206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1A89B61-F9C9-4B44-9B25-CF7D03A78F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grpSp>
        <p:nvGrpSpPr>
          <p:cNvPr id="12" name="Group 11">
            <a:extLst>
              <a:ext uri="{FF2B5EF4-FFF2-40B4-BE49-F238E27FC236}">
                <a16:creationId xmlns:a16="http://schemas.microsoft.com/office/drawing/2014/main" id="{B26ADAC7-85DE-9F04-028E-74A34B53B648}"/>
              </a:ext>
            </a:extLst>
          </p:cNvPr>
          <p:cNvGrpSpPr/>
          <p:nvPr/>
        </p:nvGrpSpPr>
        <p:grpSpPr>
          <a:xfrm>
            <a:off x="601634" y="2386392"/>
            <a:ext cx="10985529" cy="818971"/>
            <a:chOff x="601634" y="1963482"/>
            <a:chExt cx="10985529" cy="818971"/>
          </a:xfrm>
        </p:grpSpPr>
        <p:sp>
          <p:nvSpPr>
            <p:cNvPr id="3" name="Rectangle 2">
              <a:extLst>
                <a:ext uri="{FF2B5EF4-FFF2-40B4-BE49-F238E27FC236}">
                  <a16:creationId xmlns:a16="http://schemas.microsoft.com/office/drawing/2014/main" id="{A3894658-0B2A-4C43-98D7-33AE1B526705}"/>
                </a:ext>
              </a:extLst>
            </p:cNvPr>
            <p:cNvSpPr/>
            <p:nvPr/>
          </p:nvSpPr>
          <p:spPr>
            <a:xfrm>
              <a:off x="601634" y="1963482"/>
              <a:ext cx="10985529" cy="81897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3" name="Rectangle 22">
              <a:extLst>
                <a:ext uri="{FF2B5EF4-FFF2-40B4-BE49-F238E27FC236}">
                  <a16:creationId xmlns:a16="http://schemas.microsoft.com/office/drawing/2014/main" id="{507AE0B2-DC5E-43C0-AD62-50D4C8DC6B2F}"/>
                </a:ext>
              </a:extLst>
            </p:cNvPr>
            <p:cNvSpPr/>
            <p:nvPr/>
          </p:nvSpPr>
          <p:spPr>
            <a:xfrm>
              <a:off x="674371" y="1971374"/>
              <a:ext cx="706582" cy="80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bg1"/>
                  </a:solidFill>
                  <a:effectLst/>
                  <a:uLnTx/>
                  <a:uFillTx/>
                  <a:ea typeface="+mn-ea"/>
                  <a:cs typeface="+mn-cs"/>
                </a:rPr>
                <a:t>1</a:t>
              </a:r>
            </a:p>
          </p:txBody>
        </p:sp>
        <p:sp>
          <p:nvSpPr>
            <p:cNvPr id="24" name="Rectangle 23">
              <a:extLst>
                <a:ext uri="{FF2B5EF4-FFF2-40B4-BE49-F238E27FC236}">
                  <a16:creationId xmlns:a16="http://schemas.microsoft.com/office/drawing/2014/main" id="{0F60E140-553C-42E0-AD0A-AC6C6C13F203}"/>
                </a:ext>
              </a:extLst>
            </p:cNvPr>
            <p:cNvSpPr/>
            <p:nvPr/>
          </p:nvSpPr>
          <p:spPr>
            <a:xfrm>
              <a:off x="1879715" y="2219078"/>
              <a:ext cx="8280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2000" b="1" dirty="0">
                  <a:solidFill>
                    <a:schemeClr val="bg1"/>
                  </a:solidFill>
                </a:rPr>
                <a:t>Content overview</a:t>
              </a:r>
            </a:p>
          </p:txBody>
        </p:sp>
        <p:sp>
          <p:nvSpPr>
            <p:cNvPr id="25" name="Rectangle 24">
              <a:extLst>
                <a:ext uri="{FF2B5EF4-FFF2-40B4-BE49-F238E27FC236}">
                  <a16:creationId xmlns:a16="http://schemas.microsoft.com/office/drawing/2014/main" id="{4626225F-5D11-4E2D-BF7B-CAB633793896}"/>
                </a:ext>
              </a:extLst>
            </p:cNvPr>
            <p:cNvSpPr/>
            <p:nvPr/>
          </p:nvSpPr>
          <p:spPr>
            <a:xfrm>
              <a:off x="1569872" y="2083084"/>
              <a:ext cx="79362" cy="5797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bg1"/>
                </a:solidFill>
              </a:endParaRPr>
            </a:p>
          </p:txBody>
        </p:sp>
      </p:grpSp>
      <p:grpSp>
        <p:nvGrpSpPr>
          <p:cNvPr id="13" name="Group 12">
            <a:extLst>
              <a:ext uri="{FF2B5EF4-FFF2-40B4-BE49-F238E27FC236}">
                <a16:creationId xmlns:a16="http://schemas.microsoft.com/office/drawing/2014/main" id="{034C71AC-AB85-856B-5AE7-59AED81F2D18}"/>
              </a:ext>
            </a:extLst>
          </p:cNvPr>
          <p:cNvGrpSpPr/>
          <p:nvPr/>
        </p:nvGrpSpPr>
        <p:grpSpPr>
          <a:xfrm>
            <a:off x="601634" y="3462968"/>
            <a:ext cx="10985529" cy="818971"/>
            <a:chOff x="601634" y="3019289"/>
            <a:chExt cx="10985529" cy="818971"/>
          </a:xfrm>
        </p:grpSpPr>
        <p:sp>
          <p:nvSpPr>
            <p:cNvPr id="45" name="Rectangle 44">
              <a:extLst>
                <a:ext uri="{FF2B5EF4-FFF2-40B4-BE49-F238E27FC236}">
                  <a16:creationId xmlns:a16="http://schemas.microsoft.com/office/drawing/2014/main" id="{10BD3E93-8E2C-4C1E-9F14-8EA9D1B80F7B}"/>
                </a:ext>
              </a:extLst>
            </p:cNvPr>
            <p:cNvSpPr/>
            <p:nvPr/>
          </p:nvSpPr>
          <p:spPr>
            <a:xfrm>
              <a:off x="601634" y="3019289"/>
              <a:ext cx="10985529" cy="8189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6" name="Rectangle 25">
              <a:extLst>
                <a:ext uri="{FF2B5EF4-FFF2-40B4-BE49-F238E27FC236}">
                  <a16:creationId xmlns:a16="http://schemas.microsoft.com/office/drawing/2014/main" id="{A0729B37-90A2-4A18-A667-E59D9DEF8551}"/>
                </a:ext>
              </a:extLst>
            </p:cNvPr>
            <p:cNvSpPr/>
            <p:nvPr/>
          </p:nvSpPr>
          <p:spPr>
            <a:xfrm>
              <a:off x="674371" y="3027181"/>
              <a:ext cx="706582" cy="80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1"/>
                  </a:solidFill>
                  <a:effectLst/>
                  <a:uLnTx/>
                  <a:uFillTx/>
                  <a:ea typeface="+mn-ea"/>
                  <a:cs typeface="+mn-cs"/>
                </a:rPr>
                <a:t>2</a:t>
              </a:r>
            </a:p>
          </p:txBody>
        </p:sp>
        <p:sp>
          <p:nvSpPr>
            <p:cNvPr id="27" name="Rectangle 26">
              <a:extLst>
                <a:ext uri="{FF2B5EF4-FFF2-40B4-BE49-F238E27FC236}">
                  <a16:creationId xmlns:a16="http://schemas.microsoft.com/office/drawing/2014/main" id="{7C1F4CAA-045E-4A7A-969E-9B6A53203C81}"/>
                </a:ext>
              </a:extLst>
            </p:cNvPr>
            <p:cNvSpPr/>
            <p:nvPr/>
          </p:nvSpPr>
          <p:spPr>
            <a:xfrm>
              <a:off x="1879717" y="3274885"/>
              <a:ext cx="9355973"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tx1"/>
                  </a:solidFill>
                  <a:effectLst/>
                  <a:uLnTx/>
                  <a:uFillTx/>
                  <a:ea typeface="+mn-ea"/>
                  <a:cs typeface="+mn-cs"/>
                </a:rPr>
                <a:t>How to easily leverage our Toolkits to create your own deliverables</a:t>
              </a:r>
              <a:endParaRPr kumimoji="0" lang="en-US" sz="2000" b="1" i="0" u="none" strike="noStrike" kern="1200" cap="none" spc="0" normalizeH="0" baseline="0" noProof="0" dirty="0">
                <a:ln>
                  <a:noFill/>
                </a:ln>
                <a:solidFill>
                  <a:schemeClr val="tx1"/>
                </a:solidFill>
                <a:effectLst/>
                <a:uLnTx/>
                <a:uFillTx/>
                <a:ea typeface="+mn-ea"/>
                <a:cs typeface="+mn-cs"/>
              </a:endParaRPr>
            </a:p>
          </p:txBody>
        </p:sp>
        <p:sp>
          <p:nvSpPr>
            <p:cNvPr id="28" name="Rectangle 27">
              <a:extLst>
                <a:ext uri="{FF2B5EF4-FFF2-40B4-BE49-F238E27FC236}">
                  <a16:creationId xmlns:a16="http://schemas.microsoft.com/office/drawing/2014/main" id="{F48E4D39-0250-47E0-9BFB-40635E773D67}"/>
                </a:ext>
              </a:extLst>
            </p:cNvPr>
            <p:cNvSpPr/>
            <p:nvPr/>
          </p:nvSpPr>
          <p:spPr>
            <a:xfrm>
              <a:off x="1569873" y="3138891"/>
              <a:ext cx="79362" cy="5797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14" name="Group 13">
            <a:extLst>
              <a:ext uri="{FF2B5EF4-FFF2-40B4-BE49-F238E27FC236}">
                <a16:creationId xmlns:a16="http://schemas.microsoft.com/office/drawing/2014/main" id="{4363AA9A-4B69-BA45-B871-3C28D706C119}"/>
              </a:ext>
            </a:extLst>
          </p:cNvPr>
          <p:cNvGrpSpPr/>
          <p:nvPr/>
        </p:nvGrpSpPr>
        <p:grpSpPr>
          <a:xfrm>
            <a:off x="601634" y="4539544"/>
            <a:ext cx="10985529" cy="818971"/>
            <a:chOff x="601634" y="4119596"/>
            <a:chExt cx="10985529" cy="818971"/>
          </a:xfrm>
        </p:grpSpPr>
        <p:sp>
          <p:nvSpPr>
            <p:cNvPr id="46" name="Rectangle 45">
              <a:extLst>
                <a:ext uri="{FF2B5EF4-FFF2-40B4-BE49-F238E27FC236}">
                  <a16:creationId xmlns:a16="http://schemas.microsoft.com/office/drawing/2014/main" id="{44056CF2-3AA1-43A1-8DBA-7FD28650266C}"/>
                </a:ext>
              </a:extLst>
            </p:cNvPr>
            <p:cNvSpPr/>
            <p:nvPr/>
          </p:nvSpPr>
          <p:spPr>
            <a:xfrm>
              <a:off x="601634" y="4119596"/>
              <a:ext cx="10985529" cy="8189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42" name="Rectangle 41">
              <a:extLst>
                <a:ext uri="{FF2B5EF4-FFF2-40B4-BE49-F238E27FC236}">
                  <a16:creationId xmlns:a16="http://schemas.microsoft.com/office/drawing/2014/main" id="{88EA3805-A60E-4C8D-88DA-D6A6D2B7DEE6}"/>
                </a:ext>
              </a:extLst>
            </p:cNvPr>
            <p:cNvSpPr/>
            <p:nvPr/>
          </p:nvSpPr>
          <p:spPr>
            <a:xfrm>
              <a:off x="674371" y="4127488"/>
              <a:ext cx="706582" cy="803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1"/>
                  </a:solidFill>
                  <a:effectLst/>
                  <a:uLnTx/>
                  <a:uFillTx/>
                  <a:ea typeface="+mn-ea"/>
                  <a:cs typeface="+mn-cs"/>
                </a:rPr>
                <a:t>3</a:t>
              </a:r>
            </a:p>
          </p:txBody>
        </p:sp>
        <p:sp>
          <p:nvSpPr>
            <p:cNvPr id="43" name="Rectangle 42">
              <a:extLst>
                <a:ext uri="{FF2B5EF4-FFF2-40B4-BE49-F238E27FC236}">
                  <a16:creationId xmlns:a16="http://schemas.microsoft.com/office/drawing/2014/main" id="{8D208B22-9AEE-4BFE-A152-B2636192DAEF}"/>
                </a:ext>
              </a:extLst>
            </p:cNvPr>
            <p:cNvSpPr/>
            <p:nvPr/>
          </p:nvSpPr>
          <p:spPr>
            <a:xfrm>
              <a:off x="1879716" y="4375192"/>
              <a:ext cx="82800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ea typeface="+mn-ea"/>
                  <a:cs typeface="+mn-cs"/>
                </a:rPr>
                <a:t>How to easily translate our Toolkits in all languages</a:t>
              </a:r>
            </a:p>
          </p:txBody>
        </p:sp>
        <p:sp>
          <p:nvSpPr>
            <p:cNvPr id="44" name="Rectangle 43">
              <a:extLst>
                <a:ext uri="{FF2B5EF4-FFF2-40B4-BE49-F238E27FC236}">
                  <a16:creationId xmlns:a16="http://schemas.microsoft.com/office/drawing/2014/main" id="{4963FFC8-BF5D-4917-8690-F629ED5D181B}"/>
                </a:ext>
              </a:extLst>
            </p:cNvPr>
            <p:cNvSpPr/>
            <p:nvPr/>
          </p:nvSpPr>
          <p:spPr>
            <a:xfrm>
              <a:off x="1569873" y="4239198"/>
              <a:ext cx="79362" cy="5797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spTree>
    <p:extLst>
      <p:ext uri="{BB962C8B-B14F-4D97-AF65-F5344CB8AC3E}">
        <p14:creationId xmlns:p14="http://schemas.microsoft.com/office/powerpoint/2010/main" val="646967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pPr>
            <a:r>
              <a:rPr lang="en-GB" sz="2400" dirty="0">
                <a:solidFill>
                  <a:schemeClr val="accent1"/>
                </a:solidFill>
              </a:rPr>
              <a:t>Let’s now zoom on Microsoft Translator</a:t>
            </a:r>
            <a:endParaRPr lang="en-US" sz="2400" b="1" dirty="0">
              <a:solidFill>
                <a:schemeClr val="accent1"/>
              </a:solidFill>
            </a:endParaRPr>
          </a:p>
        </p:txBody>
      </p:sp>
      <p:sp>
        <p:nvSpPr>
          <p:cNvPr id="60" name="Slide Number Placeholder 2">
            <a:extLst>
              <a:ext uri="{FF2B5EF4-FFF2-40B4-BE49-F238E27FC236}">
                <a16:creationId xmlns:a16="http://schemas.microsoft.com/office/drawing/2014/main" id="{3AF2310B-6B19-D70C-7ABD-78D9F88199B7}"/>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2" name="Arrow: Down 1">
            <a:extLst>
              <a:ext uri="{FF2B5EF4-FFF2-40B4-BE49-F238E27FC236}">
                <a16:creationId xmlns:a16="http://schemas.microsoft.com/office/drawing/2014/main" id="{A4C3CC58-8FBB-AAD3-3A76-6489FD3164DD}"/>
              </a:ext>
            </a:extLst>
          </p:cNvPr>
          <p:cNvSpPr/>
          <p:nvPr/>
        </p:nvSpPr>
        <p:spPr>
          <a:xfrm>
            <a:off x="8701263" y="1675436"/>
            <a:ext cx="560070" cy="411480"/>
          </a:xfrm>
          <a:prstGeom prst="down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a:extLst>
              <a:ext uri="{FF2B5EF4-FFF2-40B4-BE49-F238E27FC236}">
                <a16:creationId xmlns:a16="http://schemas.microsoft.com/office/drawing/2014/main" id="{1FDC8A2E-D1E8-24A7-8C43-CEB8EB4B3A52}"/>
              </a:ext>
            </a:extLst>
          </p:cNvPr>
          <p:cNvSpPr/>
          <p:nvPr/>
        </p:nvSpPr>
        <p:spPr>
          <a:xfrm>
            <a:off x="628578" y="2773574"/>
            <a:ext cx="5184000" cy="513768"/>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latin typeface="+mj-lt"/>
                <a:cs typeface="Helvetica"/>
              </a:rPr>
              <a:t>Deepl Translator</a:t>
            </a:r>
          </a:p>
        </p:txBody>
      </p:sp>
      <p:pic>
        <p:nvPicPr>
          <p:cNvPr id="19" name="Graphic 18">
            <a:extLst>
              <a:ext uri="{FF2B5EF4-FFF2-40B4-BE49-F238E27FC236}">
                <a16:creationId xmlns:a16="http://schemas.microsoft.com/office/drawing/2014/main" id="{D412AF7F-091B-7FEF-944F-03FA31E6C6C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77439" y="2191278"/>
            <a:ext cx="1503577" cy="515727"/>
          </a:xfrm>
          <a:prstGeom prst="rect">
            <a:avLst/>
          </a:prstGeom>
        </p:spPr>
      </p:pic>
      <p:sp>
        <p:nvSpPr>
          <p:cNvPr id="20" name="Rectangle 19">
            <a:extLst>
              <a:ext uri="{FF2B5EF4-FFF2-40B4-BE49-F238E27FC236}">
                <a16:creationId xmlns:a16="http://schemas.microsoft.com/office/drawing/2014/main" id="{2F934980-98FC-0759-3129-3D23990BF772}"/>
              </a:ext>
            </a:extLst>
          </p:cNvPr>
          <p:cNvSpPr/>
          <p:nvPr/>
        </p:nvSpPr>
        <p:spPr>
          <a:xfrm>
            <a:off x="628649" y="3367352"/>
            <a:ext cx="5184000" cy="231335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400" dirty="0">
                <a:solidFill>
                  <a:schemeClr val="tx2"/>
                </a:solidFill>
                <a:latin typeface="+mj-lt"/>
                <a:cs typeface="Helvetica"/>
              </a:rPr>
              <a:t>With </a:t>
            </a:r>
            <a:r>
              <a:rPr lang="en-GB" sz="1400" dirty="0" err="1">
                <a:solidFill>
                  <a:schemeClr val="tx2"/>
                </a:solidFill>
                <a:latin typeface="+mj-lt"/>
                <a:cs typeface="Helvetica"/>
              </a:rPr>
              <a:t>Deepl</a:t>
            </a:r>
            <a:r>
              <a:rPr lang="en-GB" sz="1400" dirty="0">
                <a:solidFill>
                  <a:schemeClr val="tx2"/>
                </a:solidFill>
                <a:latin typeface="+mj-lt"/>
                <a:cs typeface="Helvetica"/>
              </a:rPr>
              <a:t> Translator, you can easily and instantly translate an entire document in 30+ languages. All you need to do is go on their website </a:t>
            </a:r>
            <a:r>
              <a:rPr lang="en-GB" sz="1400" dirty="0">
                <a:solidFill>
                  <a:schemeClr val="accent1"/>
                </a:solidFill>
                <a:hlinkClick r:id="rId8"/>
              </a:rPr>
              <a:t>https://www.deepl.com/translator</a:t>
            </a:r>
            <a:r>
              <a:rPr lang="en-GB" sz="1400" dirty="0">
                <a:solidFill>
                  <a:schemeClr val="accent1"/>
                </a:solidFill>
              </a:rPr>
              <a:t>, and </a:t>
            </a:r>
            <a:r>
              <a:rPr lang="en-GB" sz="1400" dirty="0">
                <a:solidFill>
                  <a:schemeClr val="tx2"/>
                </a:solidFill>
                <a:latin typeface="+mj-lt"/>
                <a:cs typeface="Helvetica"/>
              </a:rPr>
              <a:t>drag and drop your </a:t>
            </a:r>
            <a:r>
              <a:rPr lang="en-GB" sz="1400" dirty="0" err="1">
                <a:solidFill>
                  <a:schemeClr val="tx2"/>
                </a:solidFill>
                <a:latin typeface="+mj-lt"/>
                <a:cs typeface="Helvetica"/>
              </a:rPr>
              <a:t>Powerpoint</a:t>
            </a:r>
            <a:r>
              <a:rPr lang="en-GB" sz="1400" dirty="0">
                <a:solidFill>
                  <a:schemeClr val="tx2"/>
                </a:solidFill>
                <a:latin typeface="+mj-lt"/>
                <a:cs typeface="Helvetica"/>
              </a:rPr>
              <a:t> or Word document.</a:t>
            </a:r>
          </a:p>
          <a:p>
            <a:endParaRPr lang="en-GB" sz="1400" dirty="0">
              <a:solidFill>
                <a:schemeClr val="tx2"/>
              </a:solidFill>
              <a:latin typeface="+mj-lt"/>
              <a:cs typeface="Helvetica"/>
            </a:endParaRPr>
          </a:p>
          <a:p>
            <a:r>
              <a:rPr lang="en-GB" sz="1400" dirty="0">
                <a:solidFill>
                  <a:schemeClr val="tx2"/>
                </a:solidFill>
                <a:latin typeface="+mj-lt"/>
                <a:cs typeface="Helvetica"/>
              </a:rPr>
              <a:t>We indirectly pay for Deepl.com by providing you a US $50 discount, which you can use to purchase our Toolkits. This discount will cover the cost of Deepl.com. To get this US $50 discount, enter this discount code at checkout: DEEPL$50DISC</a:t>
            </a:r>
          </a:p>
        </p:txBody>
      </p:sp>
      <p:sp>
        <p:nvSpPr>
          <p:cNvPr id="21" name="Rectangle 20">
            <a:extLst>
              <a:ext uri="{FF2B5EF4-FFF2-40B4-BE49-F238E27FC236}">
                <a16:creationId xmlns:a16="http://schemas.microsoft.com/office/drawing/2014/main" id="{2296E191-AF6F-B7FA-9167-E02D3AE37DE3}"/>
              </a:ext>
            </a:extLst>
          </p:cNvPr>
          <p:cNvSpPr/>
          <p:nvPr/>
        </p:nvSpPr>
        <p:spPr>
          <a:xfrm>
            <a:off x="6354937" y="2773574"/>
            <a:ext cx="5184000" cy="513768"/>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latin typeface="+mj-lt"/>
                <a:cs typeface="Helvetica"/>
              </a:rPr>
              <a:t>Microsoft Translator</a:t>
            </a:r>
          </a:p>
        </p:txBody>
      </p:sp>
      <p:pic>
        <p:nvPicPr>
          <p:cNvPr id="22" name="Graphic 21">
            <a:extLst>
              <a:ext uri="{FF2B5EF4-FFF2-40B4-BE49-F238E27FC236}">
                <a16:creationId xmlns:a16="http://schemas.microsoft.com/office/drawing/2014/main" id="{584519FD-0F2C-95D7-A61C-3D8BD28A207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25301" b="10915"/>
          <a:stretch/>
        </p:blipFill>
        <p:spPr>
          <a:xfrm>
            <a:off x="8108982" y="2260188"/>
            <a:ext cx="1850287" cy="343891"/>
          </a:xfrm>
          <a:prstGeom prst="rect">
            <a:avLst/>
          </a:prstGeom>
        </p:spPr>
      </p:pic>
      <p:sp>
        <p:nvSpPr>
          <p:cNvPr id="23" name="Rectangle 22">
            <a:extLst>
              <a:ext uri="{FF2B5EF4-FFF2-40B4-BE49-F238E27FC236}">
                <a16:creationId xmlns:a16="http://schemas.microsoft.com/office/drawing/2014/main" id="{6ED26E69-DA2C-D3B7-5891-3E3C5A5D4372}"/>
              </a:ext>
            </a:extLst>
          </p:cNvPr>
          <p:cNvSpPr/>
          <p:nvPr/>
        </p:nvSpPr>
        <p:spPr>
          <a:xfrm>
            <a:off x="6355008" y="3367352"/>
            <a:ext cx="5184000" cy="231335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400" dirty="0">
                <a:solidFill>
                  <a:schemeClr val="tx2"/>
                </a:solidFill>
                <a:latin typeface="+mj-lt"/>
                <a:cs typeface="Helvetica"/>
              </a:rPr>
              <a:t>With Microsoft Translator, you can easily and instantly translate our Toolkits in all languages.</a:t>
            </a:r>
          </a:p>
          <a:p>
            <a:endParaRPr lang="en-GB" sz="1400" dirty="0">
              <a:solidFill>
                <a:schemeClr val="tx2"/>
              </a:solidFill>
              <a:latin typeface="+mj-lt"/>
              <a:cs typeface="Helvetica"/>
            </a:endParaRPr>
          </a:p>
          <a:p>
            <a:r>
              <a:rPr lang="en-GB" sz="1400" dirty="0">
                <a:solidFill>
                  <a:schemeClr val="tx2"/>
                </a:solidFill>
                <a:latin typeface="+mj-lt"/>
                <a:cs typeface="Helvetica"/>
              </a:rPr>
              <a:t>Microsoft Translator is free and directly available within </a:t>
            </a:r>
            <a:r>
              <a:rPr lang="en-GB" sz="1400" dirty="0" err="1">
                <a:solidFill>
                  <a:schemeClr val="tx2"/>
                </a:solidFill>
                <a:latin typeface="+mj-lt"/>
                <a:cs typeface="Helvetica"/>
              </a:rPr>
              <a:t>Powerpoint</a:t>
            </a:r>
            <a:r>
              <a:rPr lang="en-GB" sz="1400" dirty="0">
                <a:solidFill>
                  <a:schemeClr val="tx2"/>
                </a:solidFill>
                <a:latin typeface="+mj-lt"/>
                <a:cs typeface="Helvetica"/>
              </a:rPr>
              <a:t> and Excel. </a:t>
            </a:r>
          </a:p>
          <a:p>
            <a:endParaRPr lang="en-GB" sz="1400" dirty="0">
              <a:solidFill>
                <a:schemeClr val="tx2"/>
              </a:solidFill>
              <a:latin typeface="+mj-lt"/>
              <a:cs typeface="Helvetica"/>
            </a:endParaRPr>
          </a:p>
          <a:p>
            <a:r>
              <a:rPr lang="en-GB" sz="1400" dirty="0">
                <a:solidFill>
                  <a:schemeClr val="tx2"/>
                </a:solidFill>
                <a:latin typeface="+mj-lt"/>
                <a:cs typeface="Helvetica"/>
              </a:rPr>
              <a:t>It uses Neural Machine Translation (NMT), which is the new standard for high-quality AI-powered machine translations.</a:t>
            </a:r>
          </a:p>
        </p:txBody>
      </p:sp>
    </p:spTree>
    <p:extLst>
      <p:ext uri="{BB962C8B-B14F-4D97-AF65-F5344CB8AC3E}">
        <p14:creationId xmlns:p14="http://schemas.microsoft.com/office/powerpoint/2010/main" val="5913721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EA912-5794-4374-ADB3-D69109D062BF}"/>
              </a:ext>
            </a:extLst>
          </p:cNvPr>
          <p:cNvSpPr>
            <a:spLocks noGrp="1"/>
          </p:cNvSpPr>
          <p:nvPr>
            <p:ph type="title"/>
          </p:nvPr>
        </p:nvSpPr>
        <p:spPr/>
        <p:txBody>
          <a:bodyPr>
            <a:normAutofit/>
          </a:bodyPr>
          <a:lstStyle/>
          <a:p>
            <a:r>
              <a:rPr lang="en-US" sz="2400" dirty="0"/>
              <a:t>How to translate the Powerpoint version of our Toolkit</a:t>
            </a:r>
            <a:br>
              <a:rPr lang="en-US" sz="2400" dirty="0"/>
            </a:br>
            <a:r>
              <a:rPr lang="en-US" sz="2400" b="0" dirty="0"/>
              <a:t>Step 1</a:t>
            </a:r>
          </a:p>
        </p:txBody>
      </p:sp>
      <p:sp>
        <p:nvSpPr>
          <p:cNvPr id="16" name="Oval 15">
            <a:extLst>
              <a:ext uri="{FF2B5EF4-FFF2-40B4-BE49-F238E27FC236}">
                <a16:creationId xmlns:a16="http://schemas.microsoft.com/office/drawing/2014/main" id="{0EBAB4F3-DDCF-4CB3-8262-4A3A9D8DB291}"/>
              </a:ext>
            </a:extLst>
          </p:cNvPr>
          <p:cNvSpPr/>
          <p:nvPr/>
        </p:nvSpPr>
        <p:spPr>
          <a:xfrm>
            <a:off x="615108" y="1909302"/>
            <a:ext cx="365760" cy="36576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bg1"/>
                </a:solidFill>
              </a:rPr>
              <a:t>1</a:t>
            </a:r>
          </a:p>
        </p:txBody>
      </p:sp>
      <p:pic>
        <p:nvPicPr>
          <p:cNvPr id="25" name="Picture 24">
            <a:extLst>
              <a:ext uri="{FF2B5EF4-FFF2-40B4-BE49-F238E27FC236}">
                <a16:creationId xmlns:a16="http://schemas.microsoft.com/office/drawing/2014/main" id="{E057AD2E-6752-498C-BE44-2F541AB4BF4D}"/>
              </a:ext>
            </a:extLst>
          </p:cNvPr>
          <p:cNvPicPr>
            <a:picLocks noChangeAspect="1"/>
          </p:cNvPicPr>
          <p:nvPr/>
        </p:nvPicPr>
        <p:blipFill>
          <a:blip r:embed="rId2"/>
          <a:stretch>
            <a:fillRect/>
          </a:stretch>
        </p:blipFill>
        <p:spPr>
          <a:xfrm>
            <a:off x="1301261" y="2580138"/>
            <a:ext cx="7877908" cy="3912736"/>
          </a:xfrm>
          <a:prstGeom prst="rect">
            <a:avLst/>
          </a:prstGeom>
          <a:ln>
            <a:noFill/>
          </a:ln>
          <a:effectLst>
            <a:outerShdw blurRad="292100" dist="139700" dir="2700000" algn="tl" rotWithShape="0">
              <a:srgbClr val="333333">
                <a:alpha val="65000"/>
              </a:srgbClr>
            </a:outerShdw>
          </a:effectLst>
        </p:spPr>
      </p:pic>
      <p:sp>
        <p:nvSpPr>
          <p:cNvPr id="23" name="Speech Bubble: Rectangle with Corners Rounded 22">
            <a:extLst>
              <a:ext uri="{FF2B5EF4-FFF2-40B4-BE49-F238E27FC236}">
                <a16:creationId xmlns:a16="http://schemas.microsoft.com/office/drawing/2014/main" id="{2198A473-3C98-4985-AF25-5E2DA842409E}"/>
              </a:ext>
            </a:extLst>
          </p:cNvPr>
          <p:cNvSpPr/>
          <p:nvPr/>
        </p:nvSpPr>
        <p:spPr>
          <a:xfrm>
            <a:off x="1190065" y="1786261"/>
            <a:ext cx="8907477" cy="611841"/>
          </a:xfrm>
          <a:prstGeom prst="wedgeRoundRectCallout">
            <a:avLst>
              <a:gd name="adj1" fmla="val -7755"/>
              <a:gd name="adj2" fmla="val 88497"/>
              <a:gd name="adj3" fmla="val 16667"/>
            </a:avLst>
          </a:prstGeom>
          <a:solidFill>
            <a:schemeClr val="accent1">
              <a:lumMod val="10000"/>
              <a:lumOff val="90000"/>
              <a:alpha val="4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Open your Powerpoint document, select the text you want to translate and click on the “Review” tab</a:t>
            </a:r>
          </a:p>
        </p:txBody>
      </p:sp>
    </p:spTree>
    <p:extLst>
      <p:ext uri="{BB962C8B-B14F-4D97-AF65-F5344CB8AC3E}">
        <p14:creationId xmlns:p14="http://schemas.microsoft.com/office/powerpoint/2010/main" val="102604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EA912-5794-4374-ADB3-D69109D062BF}"/>
              </a:ext>
            </a:extLst>
          </p:cNvPr>
          <p:cNvSpPr>
            <a:spLocks noGrp="1"/>
          </p:cNvSpPr>
          <p:nvPr>
            <p:ph type="title"/>
          </p:nvPr>
        </p:nvSpPr>
        <p:spPr/>
        <p:txBody>
          <a:bodyPr>
            <a:normAutofit/>
          </a:bodyPr>
          <a:lstStyle/>
          <a:p>
            <a:r>
              <a:rPr lang="en-US" sz="2400" dirty="0"/>
              <a:t>How to translate the Powerpoint version of our Toolkit</a:t>
            </a:r>
            <a:br>
              <a:rPr lang="en-US" sz="2400" dirty="0"/>
            </a:br>
            <a:r>
              <a:rPr lang="en-US" sz="2400" b="0" dirty="0"/>
              <a:t>Step 2</a:t>
            </a:r>
            <a:endParaRPr lang="en-US" sz="2400" dirty="0"/>
          </a:p>
        </p:txBody>
      </p:sp>
      <p:sp>
        <p:nvSpPr>
          <p:cNvPr id="16" name="Oval 15">
            <a:extLst>
              <a:ext uri="{FF2B5EF4-FFF2-40B4-BE49-F238E27FC236}">
                <a16:creationId xmlns:a16="http://schemas.microsoft.com/office/drawing/2014/main" id="{0EBAB4F3-DDCF-4CB3-8262-4A3A9D8DB291}"/>
              </a:ext>
            </a:extLst>
          </p:cNvPr>
          <p:cNvSpPr/>
          <p:nvPr/>
        </p:nvSpPr>
        <p:spPr>
          <a:xfrm>
            <a:off x="615108" y="1909302"/>
            <a:ext cx="365760" cy="36576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bg1"/>
                </a:solidFill>
              </a:rPr>
              <a:t>2</a:t>
            </a:r>
          </a:p>
        </p:txBody>
      </p:sp>
      <p:pic>
        <p:nvPicPr>
          <p:cNvPr id="3" name="Picture 2">
            <a:extLst>
              <a:ext uri="{FF2B5EF4-FFF2-40B4-BE49-F238E27FC236}">
                <a16:creationId xmlns:a16="http://schemas.microsoft.com/office/drawing/2014/main" id="{CFC63423-1B2E-4E25-91F6-B9F5E7BB7971}"/>
              </a:ext>
            </a:extLst>
          </p:cNvPr>
          <p:cNvPicPr>
            <a:picLocks noChangeAspect="1"/>
          </p:cNvPicPr>
          <p:nvPr/>
        </p:nvPicPr>
        <p:blipFill>
          <a:blip r:embed="rId2"/>
          <a:stretch>
            <a:fillRect/>
          </a:stretch>
        </p:blipFill>
        <p:spPr>
          <a:xfrm>
            <a:off x="1805353" y="2716248"/>
            <a:ext cx="7661844" cy="3776626"/>
          </a:xfrm>
          <a:prstGeom prst="rect">
            <a:avLst/>
          </a:prstGeom>
          <a:ln>
            <a:noFill/>
          </a:ln>
          <a:effectLst>
            <a:outerShdw blurRad="292100" dist="139700" dir="2700000" algn="tl" rotWithShape="0">
              <a:srgbClr val="333333">
                <a:alpha val="65000"/>
              </a:srgbClr>
            </a:outerShdw>
          </a:effectLst>
        </p:spPr>
      </p:pic>
      <p:sp>
        <p:nvSpPr>
          <p:cNvPr id="23" name="Speech Bubble: Rectangle with Corners Rounded 22">
            <a:extLst>
              <a:ext uri="{FF2B5EF4-FFF2-40B4-BE49-F238E27FC236}">
                <a16:creationId xmlns:a16="http://schemas.microsoft.com/office/drawing/2014/main" id="{2198A473-3C98-4985-AF25-5E2DA842409E}"/>
              </a:ext>
            </a:extLst>
          </p:cNvPr>
          <p:cNvSpPr/>
          <p:nvPr/>
        </p:nvSpPr>
        <p:spPr>
          <a:xfrm>
            <a:off x="1190065" y="1786261"/>
            <a:ext cx="8907477" cy="611841"/>
          </a:xfrm>
          <a:prstGeom prst="wedgeRoundRectCallout">
            <a:avLst>
              <a:gd name="adj1" fmla="val -22627"/>
              <a:gd name="adj2" fmla="val 144062"/>
              <a:gd name="adj3" fmla="val 16667"/>
            </a:avLst>
          </a:prstGeom>
          <a:solidFill>
            <a:schemeClr val="accent1">
              <a:lumMod val="10000"/>
              <a:lumOff val="90000"/>
              <a:alpha val="4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lick on “Translate”</a:t>
            </a:r>
          </a:p>
        </p:txBody>
      </p:sp>
    </p:spTree>
    <p:extLst>
      <p:ext uri="{BB962C8B-B14F-4D97-AF65-F5344CB8AC3E}">
        <p14:creationId xmlns:p14="http://schemas.microsoft.com/office/powerpoint/2010/main" val="2604668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EA912-5794-4374-ADB3-D69109D062BF}"/>
              </a:ext>
            </a:extLst>
          </p:cNvPr>
          <p:cNvSpPr>
            <a:spLocks noGrp="1"/>
          </p:cNvSpPr>
          <p:nvPr>
            <p:ph type="title"/>
          </p:nvPr>
        </p:nvSpPr>
        <p:spPr/>
        <p:txBody>
          <a:bodyPr>
            <a:normAutofit/>
          </a:bodyPr>
          <a:lstStyle/>
          <a:p>
            <a:r>
              <a:rPr lang="en-US" sz="2400" dirty="0"/>
              <a:t>How to translate the Powerpoint version of our Toolkit</a:t>
            </a:r>
            <a:br>
              <a:rPr lang="en-US" sz="2400" dirty="0"/>
            </a:br>
            <a:r>
              <a:rPr lang="en-US" sz="2400" b="0" dirty="0"/>
              <a:t>Step 3</a:t>
            </a:r>
            <a:endParaRPr lang="en-US" sz="2400" dirty="0"/>
          </a:p>
        </p:txBody>
      </p:sp>
      <p:sp>
        <p:nvSpPr>
          <p:cNvPr id="16" name="Oval 15">
            <a:extLst>
              <a:ext uri="{FF2B5EF4-FFF2-40B4-BE49-F238E27FC236}">
                <a16:creationId xmlns:a16="http://schemas.microsoft.com/office/drawing/2014/main" id="{0EBAB4F3-DDCF-4CB3-8262-4A3A9D8DB291}"/>
              </a:ext>
            </a:extLst>
          </p:cNvPr>
          <p:cNvSpPr/>
          <p:nvPr/>
        </p:nvSpPr>
        <p:spPr>
          <a:xfrm>
            <a:off x="615108" y="1909302"/>
            <a:ext cx="365760" cy="36576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bg1"/>
                </a:solidFill>
              </a:rPr>
              <a:t>3</a:t>
            </a:r>
          </a:p>
        </p:txBody>
      </p:sp>
      <p:pic>
        <p:nvPicPr>
          <p:cNvPr id="3" name="Picture 2">
            <a:extLst>
              <a:ext uri="{FF2B5EF4-FFF2-40B4-BE49-F238E27FC236}">
                <a16:creationId xmlns:a16="http://schemas.microsoft.com/office/drawing/2014/main" id="{CFC63423-1B2E-4E25-91F6-B9F5E7BB7971}"/>
              </a:ext>
            </a:extLst>
          </p:cNvPr>
          <p:cNvPicPr>
            <a:picLocks noChangeAspect="1"/>
          </p:cNvPicPr>
          <p:nvPr/>
        </p:nvPicPr>
        <p:blipFill>
          <a:blip r:embed="rId2"/>
          <a:stretch>
            <a:fillRect/>
          </a:stretch>
        </p:blipFill>
        <p:spPr>
          <a:xfrm>
            <a:off x="1805353" y="2716248"/>
            <a:ext cx="7661844" cy="3776626"/>
          </a:xfrm>
          <a:prstGeom prst="rect">
            <a:avLst/>
          </a:prstGeom>
          <a:ln>
            <a:noFill/>
          </a:ln>
          <a:effectLst>
            <a:outerShdw blurRad="292100" dist="139700" dir="2700000" algn="tl" rotWithShape="0">
              <a:srgbClr val="333333">
                <a:alpha val="65000"/>
              </a:srgbClr>
            </a:outerShdw>
          </a:effectLst>
        </p:spPr>
      </p:pic>
      <p:sp>
        <p:nvSpPr>
          <p:cNvPr id="23" name="Speech Bubble: Rectangle with Corners Rounded 22">
            <a:extLst>
              <a:ext uri="{FF2B5EF4-FFF2-40B4-BE49-F238E27FC236}">
                <a16:creationId xmlns:a16="http://schemas.microsoft.com/office/drawing/2014/main" id="{2198A473-3C98-4985-AF25-5E2DA842409E}"/>
              </a:ext>
            </a:extLst>
          </p:cNvPr>
          <p:cNvSpPr/>
          <p:nvPr/>
        </p:nvSpPr>
        <p:spPr>
          <a:xfrm>
            <a:off x="1190065" y="1786261"/>
            <a:ext cx="8907477" cy="611841"/>
          </a:xfrm>
          <a:prstGeom prst="wedgeRoundRectCallout">
            <a:avLst>
              <a:gd name="adj1" fmla="val 22647"/>
              <a:gd name="adj2" fmla="val 348120"/>
              <a:gd name="adj3" fmla="val 16667"/>
            </a:avLst>
          </a:prstGeom>
          <a:solidFill>
            <a:schemeClr val="accent1">
              <a:lumMod val="10000"/>
              <a:lumOff val="90000"/>
              <a:alpha val="4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elect the language you want the text to be translated into</a:t>
            </a:r>
          </a:p>
        </p:txBody>
      </p:sp>
    </p:spTree>
    <p:extLst>
      <p:ext uri="{BB962C8B-B14F-4D97-AF65-F5344CB8AC3E}">
        <p14:creationId xmlns:p14="http://schemas.microsoft.com/office/powerpoint/2010/main" val="36730504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EA912-5794-4374-ADB3-D69109D062BF}"/>
              </a:ext>
            </a:extLst>
          </p:cNvPr>
          <p:cNvSpPr>
            <a:spLocks noGrp="1"/>
          </p:cNvSpPr>
          <p:nvPr>
            <p:ph type="title"/>
          </p:nvPr>
        </p:nvSpPr>
        <p:spPr/>
        <p:txBody>
          <a:bodyPr>
            <a:normAutofit/>
          </a:bodyPr>
          <a:lstStyle/>
          <a:p>
            <a:r>
              <a:rPr lang="en-US" sz="2400" dirty="0"/>
              <a:t>How to translate the Powerpoint version of our Toolkit</a:t>
            </a:r>
            <a:br>
              <a:rPr lang="en-US" sz="2400" dirty="0"/>
            </a:br>
            <a:r>
              <a:rPr lang="en-US" sz="2400" b="0" dirty="0"/>
              <a:t>Step 1</a:t>
            </a:r>
            <a:endParaRPr lang="en-US" sz="2400" dirty="0"/>
          </a:p>
        </p:txBody>
      </p:sp>
      <p:sp>
        <p:nvSpPr>
          <p:cNvPr id="16" name="Oval 15">
            <a:extLst>
              <a:ext uri="{FF2B5EF4-FFF2-40B4-BE49-F238E27FC236}">
                <a16:creationId xmlns:a16="http://schemas.microsoft.com/office/drawing/2014/main" id="{0EBAB4F3-DDCF-4CB3-8262-4A3A9D8DB291}"/>
              </a:ext>
            </a:extLst>
          </p:cNvPr>
          <p:cNvSpPr/>
          <p:nvPr/>
        </p:nvSpPr>
        <p:spPr>
          <a:xfrm>
            <a:off x="615108" y="1909302"/>
            <a:ext cx="365760" cy="36576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bg1"/>
                </a:solidFill>
              </a:rPr>
              <a:t>4</a:t>
            </a:r>
          </a:p>
        </p:txBody>
      </p:sp>
      <p:pic>
        <p:nvPicPr>
          <p:cNvPr id="3" name="Picture 2">
            <a:extLst>
              <a:ext uri="{FF2B5EF4-FFF2-40B4-BE49-F238E27FC236}">
                <a16:creationId xmlns:a16="http://schemas.microsoft.com/office/drawing/2014/main" id="{CFC63423-1B2E-4E25-91F6-B9F5E7BB7971}"/>
              </a:ext>
            </a:extLst>
          </p:cNvPr>
          <p:cNvPicPr>
            <a:picLocks noChangeAspect="1"/>
          </p:cNvPicPr>
          <p:nvPr/>
        </p:nvPicPr>
        <p:blipFill>
          <a:blip r:embed="rId2"/>
          <a:stretch>
            <a:fillRect/>
          </a:stretch>
        </p:blipFill>
        <p:spPr>
          <a:xfrm>
            <a:off x="1805353" y="2716248"/>
            <a:ext cx="7661844" cy="3776626"/>
          </a:xfrm>
          <a:prstGeom prst="rect">
            <a:avLst/>
          </a:prstGeom>
          <a:ln>
            <a:noFill/>
          </a:ln>
          <a:effectLst>
            <a:outerShdw blurRad="292100" dist="139700" dir="2700000" algn="tl" rotWithShape="0">
              <a:srgbClr val="333333">
                <a:alpha val="65000"/>
              </a:srgbClr>
            </a:outerShdw>
          </a:effectLst>
        </p:spPr>
      </p:pic>
      <p:sp>
        <p:nvSpPr>
          <p:cNvPr id="23" name="Speech Bubble: Rectangle with Corners Rounded 22">
            <a:extLst>
              <a:ext uri="{FF2B5EF4-FFF2-40B4-BE49-F238E27FC236}">
                <a16:creationId xmlns:a16="http://schemas.microsoft.com/office/drawing/2014/main" id="{2198A473-3C98-4985-AF25-5E2DA842409E}"/>
              </a:ext>
            </a:extLst>
          </p:cNvPr>
          <p:cNvSpPr/>
          <p:nvPr/>
        </p:nvSpPr>
        <p:spPr>
          <a:xfrm>
            <a:off x="1190065" y="1786261"/>
            <a:ext cx="8907477" cy="611841"/>
          </a:xfrm>
          <a:prstGeom prst="wedgeRoundRectCallout">
            <a:avLst>
              <a:gd name="adj1" fmla="val 40151"/>
              <a:gd name="adj2" fmla="val 394105"/>
              <a:gd name="adj3" fmla="val 16667"/>
            </a:avLst>
          </a:prstGeom>
          <a:solidFill>
            <a:schemeClr val="accent1">
              <a:lumMod val="10000"/>
              <a:lumOff val="90000"/>
              <a:alpha val="4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lick “Insert” to replace the initial text with the translated text.</a:t>
            </a:r>
          </a:p>
        </p:txBody>
      </p:sp>
    </p:spTree>
    <p:extLst>
      <p:ext uri="{BB962C8B-B14F-4D97-AF65-F5344CB8AC3E}">
        <p14:creationId xmlns:p14="http://schemas.microsoft.com/office/powerpoint/2010/main" val="36261223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EA912-5794-4374-ADB3-D69109D062BF}"/>
              </a:ext>
            </a:extLst>
          </p:cNvPr>
          <p:cNvSpPr>
            <a:spLocks noGrp="1"/>
          </p:cNvSpPr>
          <p:nvPr>
            <p:ph type="title"/>
          </p:nvPr>
        </p:nvSpPr>
        <p:spPr/>
        <p:txBody>
          <a:bodyPr>
            <a:normAutofit/>
          </a:bodyPr>
          <a:lstStyle/>
          <a:p>
            <a:r>
              <a:rPr lang="en-US" sz="2400" dirty="0"/>
              <a:t>How to translate the Excel version of our Toolkit</a:t>
            </a:r>
            <a:br>
              <a:rPr lang="en-US" sz="2400" dirty="0"/>
            </a:br>
            <a:r>
              <a:rPr lang="en-US" sz="2400" b="0" dirty="0"/>
              <a:t>Step 1</a:t>
            </a:r>
            <a:endParaRPr lang="en-US" sz="2400" dirty="0"/>
          </a:p>
        </p:txBody>
      </p:sp>
      <p:sp>
        <p:nvSpPr>
          <p:cNvPr id="6" name="Oval 5">
            <a:extLst>
              <a:ext uri="{FF2B5EF4-FFF2-40B4-BE49-F238E27FC236}">
                <a16:creationId xmlns:a16="http://schemas.microsoft.com/office/drawing/2014/main" id="{5FECC6B4-E969-4DB6-9711-7AA1E2330030}"/>
              </a:ext>
            </a:extLst>
          </p:cNvPr>
          <p:cNvSpPr/>
          <p:nvPr/>
        </p:nvSpPr>
        <p:spPr>
          <a:xfrm>
            <a:off x="615108" y="1909302"/>
            <a:ext cx="365760" cy="36576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bg1"/>
                </a:solidFill>
              </a:rPr>
              <a:t>1</a:t>
            </a:r>
          </a:p>
        </p:txBody>
      </p:sp>
      <p:pic>
        <p:nvPicPr>
          <p:cNvPr id="21" name="Picture 20">
            <a:extLst>
              <a:ext uri="{FF2B5EF4-FFF2-40B4-BE49-F238E27FC236}">
                <a16:creationId xmlns:a16="http://schemas.microsoft.com/office/drawing/2014/main" id="{A4F20060-8158-43A7-94A6-8E7B9BF86835}"/>
              </a:ext>
            </a:extLst>
          </p:cNvPr>
          <p:cNvPicPr>
            <a:picLocks noChangeAspect="1"/>
          </p:cNvPicPr>
          <p:nvPr/>
        </p:nvPicPr>
        <p:blipFill>
          <a:blip r:embed="rId2"/>
          <a:stretch>
            <a:fillRect/>
          </a:stretch>
        </p:blipFill>
        <p:spPr>
          <a:xfrm>
            <a:off x="833718" y="2972472"/>
            <a:ext cx="10044953" cy="1656765"/>
          </a:xfrm>
          <a:prstGeom prst="rect">
            <a:avLst/>
          </a:prstGeom>
          <a:ln>
            <a:noFill/>
          </a:ln>
          <a:effectLst>
            <a:outerShdw blurRad="292100" dist="139700" dir="2700000" algn="tl" rotWithShape="0">
              <a:srgbClr val="333333">
                <a:alpha val="65000"/>
              </a:srgbClr>
            </a:outerShdw>
          </a:effectLst>
        </p:spPr>
      </p:pic>
      <p:sp>
        <p:nvSpPr>
          <p:cNvPr id="23" name="Speech Bubble: Rectangle with Corners Rounded 22">
            <a:extLst>
              <a:ext uri="{FF2B5EF4-FFF2-40B4-BE49-F238E27FC236}">
                <a16:creationId xmlns:a16="http://schemas.microsoft.com/office/drawing/2014/main" id="{10EFE820-1529-41E9-881D-48B266EA4EAF}"/>
              </a:ext>
            </a:extLst>
          </p:cNvPr>
          <p:cNvSpPr/>
          <p:nvPr/>
        </p:nvSpPr>
        <p:spPr>
          <a:xfrm>
            <a:off x="1190065" y="1786261"/>
            <a:ext cx="8907477" cy="611841"/>
          </a:xfrm>
          <a:prstGeom prst="wedgeRoundRectCallout">
            <a:avLst>
              <a:gd name="adj1" fmla="val -37499"/>
              <a:gd name="adj2" fmla="val 255192"/>
              <a:gd name="adj3" fmla="val 16667"/>
            </a:avLst>
          </a:prstGeom>
          <a:solidFill>
            <a:schemeClr val="accent1">
              <a:lumMod val="10000"/>
              <a:lumOff val="90000"/>
              <a:alpha val="4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Open your Excel document and select 1 cell or multiple cells in the same column</a:t>
            </a:r>
          </a:p>
        </p:txBody>
      </p:sp>
    </p:spTree>
    <p:extLst>
      <p:ext uri="{BB962C8B-B14F-4D97-AF65-F5344CB8AC3E}">
        <p14:creationId xmlns:p14="http://schemas.microsoft.com/office/powerpoint/2010/main" val="2503632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EA912-5794-4374-ADB3-D69109D062BF}"/>
              </a:ext>
            </a:extLst>
          </p:cNvPr>
          <p:cNvSpPr>
            <a:spLocks noGrp="1"/>
          </p:cNvSpPr>
          <p:nvPr>
            <p:ph type="title"/>
          </p:nvPr>
        </p:nvSpPr>
        <p:spPr/>
        <p:txBody>
          <a:bodyPr>
            <a:normAutofit/>
          </a:bodyPr>
          <a:lstStyle/>
          <a:p>
            <a:r>
              <a:rPr lang="en-US" sz="2400" dirty="0"/>
              <a:t>How to translate the Excel version of our Toolkit</a:t>
            </a:r>
            <a:br>
              <a:rPr lang="en-US" sz="2400" dirty="0"/>
            </a:br>
            <a:r>
              <a:rPr lang="en-US" sz="2400" b="0" dirty="0"/>
              <a:t>Step 2</a:t>
            </a:r>
            <a:endParaRPr lang="en-US" sz="2400" dirty="0"/>
          </a:p>
        </p:txBody>
      </p:sp>
      <p:sp>
        <p:nvSpPr>
          <p:cNvPr id="6" name="Oval 5">
            <a:extLst>
              <a:ext uri="{FF2B5EF4-FFF2-40B4-BE49-F238E27FC236}">
                <a16:creationId xmlns:a16="http://schemas.microsoft.com/office/drawing/2014/main" id="{5FECC6B4-E969-4DB6-9711-7AA1E2330030}"/>
              </a:ext>
            </a:extLst>
          </p:cNvPr>
          <p:cNvSpPr/>
          <p:nvPr/>
        </p:nvSpPr>
        <p:spPr>
          <a:xfrm>
            <a:off x="615108" y="1909302"/>
            <a:ext cx="365760" cy="36576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bg1"/>
                </a:solidFill>
              </a:rPr>
              <a:t>2</a:t>
            </a:r>
          </a:p>
        </p:txBody>
      </p:sp>
      <p:pic>
        <p:nvPicPr>
          <p:cNvPr id="3" name="Picture 2">
            <a:extLst>
              <a:ext uri="{FF2B5EF4-FFF2-40B4-BE49-F238E27FC236}">
                <a16:creationId xmlns:a16="http://schemas.microsoft.com/office/drawing/2014/main" id="{0C9DA3D9-6C79-4C5E-8C9E-7AFE055A5B3D}"/>
              </a:ext>
            </a:extLst>
          </p:cNvPr>
          <p:cNvPicPr>
            <a:picLocks noChangeAspect="1"/>
          </p:cNvPicPr>
          <p:nvPr/>
        </p:nvPicPr>
        <p:blipFill>
          <a:blip r:embed="rId2"/>
          <a:stretch>
            <a:fillRect/>
          </a:stretch>
        </p:blipFill>
        <p:spPr>
          <a:xfrm>
            <a:off x="1055594" y="2727919"/>
            <a:ext cx="8189259" cy="3619348"/>
          </a:xfrm>
          <a:prstGeom prst="rect">
            <a:avLst/>
          </a:prstGeom>
          <a:ln>
            <a:noFill/>
          </a:ln>
          <a:effectLst>
            <a:outerShdw blurRad="292100" dist="139700" dir="2700000" algn="tl" rotWithShape="0">
              <a:srgbClr val="333333">
                <a:alpha val="65000"/>
              </a:srgbClr>
            </a:outerShdw>
          </a:effectLst>
        </p:spPr>
      </p:pic>
      <p:sp>
        <p:nvSpPr>
          <p:cNvPr id="23" name="Speech Bubble: Rectangle with Corners Rounded 22">
            <a:extLst>
              <a:ext uri="{FF2B5EF4-FFF2-40B4-BE49-F238E27FC236}">
                <a16:creationId xmlns:a16="http://schemas.microsoft.com/office/drawing/2014/main" id="{10EFE820-1529-41E9-881D-48B266EA4EAF}"/>
              </a:ext>
            </a:extLst>
          </p:cNvPr>
          <p:cNvSpPr/>
          <p:nvPr/>
        </p:nvSpPr>
        <p:spPr>
          <a:xfrm>
            <a:off x="1190065" y="1786261"/>
            <a:ext cx="8907477" cy="611841"/>
          </a:xfrm>
          <a:prstGeom prst="wedgeRoundRectCallout">
            <a:avLst>
              <a:gd name="adj1" fmla="val -26252"/>
              <a:gd name="adj2" fmla="val 123324"/>
              <a:gd name="adj3" fmla="val 16667"/>
            </a:avLst>
          </a:prstGeom>
          <a:solidFill>
            <a:schemeClr val="accent1">
              <a:lumMod val="10000"/>
              <a:lumOff val="90000"/>
              <a:alpha val="4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lick on the “Review” tab and then “Translate”. </a:t>
            </a:r>
          </a:p>
        </p:txBody>
      </p:sp>
      <p:sp>
        <p:nvSpPr>
          <p:cNvPr id="4" name="Rectangle 3">
            <a:extLst>
              <a:ext uri="{FF2B5EF4-FFF2-40B4-BE49-F238E27FC236}">
                <a16:creationId xmlns:a16="http://schemas.microsoft.com/office/drawing/2014/main" id="{CB2B4B06-1D28-4889-B659-9907E86B6B19}"/>
              </a:ext>
            </a:extLst>
          </p:cNvPr>
          <p:cNvSpPr/>
          <p:nvPr/>
        </p:nvSpPr>
        <p:spPr>
          <a:xfrm>
            <a:off x="3144374" y="2888883"/>
            <a:ext cx="437029" cy="53115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05666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EA912-5794-4374-ADB3-D69109D062BF}"/>
              </a:ext>
            </a:extLst>
          </p:cNvPr>
          <p:cNvSpPr>
            <a:spLocks noGrp="1"/>
          </p:cNvSpPr>
          <p:nvPr>
            <p:ph type="title"/>
          </p:nvPr>
        </p:nvSpPr>
        <p:spPr/>
        <p:txBody>
          <a:bodyPr>
            <a:normAutofit/>
          </a:bodyPr>
          <a:lstStyle/>
          <a:p>
            <a:r>
              <a:rPr lang="en-US" sz="2400" dirty="0"/>
              <a:t>How to translate the Excel version of our Toolkit</a:t>
            </a:r>
            <a:br>
              <a:rPr lang="en-US" sz="2400" dirty="0"/>
            </a:br>
            <a:r>
              <a:rPr lang="en-US" sz="2400" b="0" dirty="0"/>
              <a:t>Step 3</a:t>
            </a:r>
            <a:endParaRPr lang="en-US" sz="2400" dirty="0"/>
          </a:p>
        </p:txBody>
      </p:sp>
      <p:sp>
        <p:nvSpPr>
          <p:cNvPr id="6" name="Oval 5">
            <a:extLst>
              <a:ext uri="{FF2B5EF4-FFF2-40B4-BE49-F238E27FC236}">
                <a16:creationId xmlns:a16="http://schemas.microsoft.com/office/drawing/2014/main" id="{5FECC6B4-E969-4DB6-9711-7AA1E2330030}"/>
              </a:ext>
            </a:extLst>
          </p:cNvPr>
          <p:cNvSpPr/>
          <p:nvPr/>
        </p:nvSpPr>
        <p:spPr>
          <a:xfrm>
            <a:off x="615108" y="1909302"/>
            <a:ext cx="365760" cy="36576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bg1"/>
                </a:solidFill>
              </a:rPr>
              <a:t>3</a:t>
            </a:r>
          </a:p>
        </p:txBody>
      </p:sp>
      <p:pic>
        <p:nvPicPr>
          <p:cNvPr id="7" name="Picture 6">
            <a:extLst>
              <a:ext uri="{FF2B5EF4-FFF2-40B4-BE49-F238E27FC236}">
                <a16:creationId xmlns:a16="http://schemas.microsoft.com/office/drawing/2014/main" id="{B1B87818-4312-41EA-994B-5D137EA2B9A7}"/>
              </a:ext>
            </a:extLst>
          </p:cNvPr>
          <p:cNvPicPr>
            <a:picLocks noChangeAspect="1"/>
          </p:cNvPicPr>
          <p:nvPr/>
        </p:nvPicPr>
        <p:blipFill rotWithShape="1">
          <a:blip r:embed="rId2"/>
          <a:srcRect b="29498"/>
          <a:stretch/>
        </p:blipFill>
        <p:spPr>
          <a:xfrm>
            <a:off x="1420385" y="2727919"/>
            <a:ext cx="9351230" cy="3754757"/>
          </a:xfrm>
          <a:prstGeom prst="rect">
            <a:avLst/>
          </a:prstGeom>
          <a:ln>
            <a:noFill/>
          </a:ln>
          <a:effectLst>
            <a:outerShdw blurRad="292100" dist="139700" dir="2700000" algn="tl" rotWithShape="0">
              <a:srgbClr val="333333">
                <a:alpha val="65000"/>
              </a:srgbClr>
            </a:outerShdw>
          </a:effectLst>
        </p:spPr>
      </p:pic>
      <p:sp>
        <p:nvSpPr>
          <p:cNvPr id="23" name="Speech Bubble: Rectangle with Corners Rounded 22">
            <a:extLst>
              <a:ext uri="{FF2B5EF4-FFF2-40B4-BE49-F238E27FC236}">
                <a16:creationId xmlns:a16="http://schemas.microsoft.com/office/drawing/2014/main" id="{10EFE820-1529-41E9-881D-48B266EA4EAF}"/>
              </a:ext>
            </a:extLst>
          </p:cNvPr>
          <p:cNvSpPr/>
          <p:nvPr/>
        </p:nvSpPr>
        <p:spPr>
          <a:xfrm>
            <a:off x="1190065" y="1786261"/>
            <a:ext cx="8907477" cy="611841"/>
          </a:xfrm>
          <a:prstGeom prst="wedgeRoundRectCallout">
            <a:avLst>
              <a:gd name="adj1" fmla="val 17150"/>
              <a:gd name="adj2" fmla="val 460687"/>
              <a:gd name="adj3" fmla="val 16667"/>
            </a:avLst>
          </a:prstGeom>
          <a:solidFill>
            <a:schemeClr val="accent1">
              <a:lumMod val="10000"/>
              <a:lumOff val="90000"/>
              <a:alpha val="4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lick inside the translated box and then select CTRL+A to select the entire translation, and CTRL+C to copy it</a:t>
            </a:r>
          </a:p>
        </p:txBody>
      </p:sp>
    </p:spTree>
    <p:extLst>
      <p:ext uri="{BB962C8B-B14F-4D97-AF65-F5344CB8AC3E}">
        <p14:creationId xmlns:p14="http://schemas.microsoft.com/office/powerpoint/2010/main" val="3423054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EA912-5794-4374-ADB3-D69109D062BF}"/>
              </a:ext>
            </a:extLst>
          </p:cNvPr>
          <p:cNvSpPr>
            <a:spLocks noGrp="1"/>
          </p:cNvSpPr>
          <p:nvPr>
            <p:ph type="title"/>
          </p:nvPr>
        </p:nvSpPr>
        <p:spPr/>
        <p:txBody>
          <a:bodyPr>
            <a:normAutofit/>
          </a:bodyPr>
          <a:lstStyle/>
          <a:p>
            <a:r>
              <a:rPr lang="en-US" sz="2400" dirty="0"/>
              <a:t>How to translate the Excel version of our Toolkit</a:t>
            </a:r>
            <a:br>
              <a:rPr lang="en-US" sz="2400" dirty="0"/>
            </a:br>
            <a:r>
              <a:rPr lang="en-US" sz="2400" b="0" dirty="0"/>
              <a:t>Step 4</a:t>
            </a:r>
            <a:endParaRPr lang="en-US" sz="2400" dirty="0"/>
          </a:p>
        </p:txBody>
      </p:sp>
      <p:sp>
        <p:nvSpPr>
          <p:cNvPr id="6" name="Oval 5">
            <a:extLst>
              <a:ext uri="{FF2B5EF4-FFF2-40B4-BE49-F238E27FC236}">
                <a16:creationId xmlns:a16="http://schemas.microsoft.com/office/drawing/2014/main" id="{5FECC6B4-E969-4DB6-9711-7AA1E2330030}"/>
              </a:ext>
            </a:extLst>
          </p:cNvPr>
          <p:cNvSpPr/>
          <p:nvPr/>
        </p:nvSpPr>
        <p:spPr>
          <a:xfrm>
            <a:off x="615108" y="1909302"/>
            <a:ext cx="365760" cy="365760"/>
          </a:xfrm>
          <a:prstGeom prst="ellipse">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bg1"/>
                </a:solidFill>
              </a:rPr>
              <a:t>4</a:t>
            </a:r>
          </a:p>
        </p:txBody>
      </p:sp>
      <p:pic>
        <p:nvPicPr>
          <p:cNvPr id="3" name="Picture 2">
            <a:extLst>
              <a:ext uri="{FF2B5EF4-FFF2-40B4-BE49-F238E27FC236}">
                <a16:creationId xmlns:a16="http://schemas.microsoft.com/office/drawing/2014/main" id="{E2A8B63A-1E49-4E2F-B703-85801F416690}"/>
              </a:ext>
            </a:extLst>
          </p:cNvPr>
          <p:cNvPicPr>
            <a:picLocks noChangeAspect="1"/>
          </p:cNvPicPr>
          <p:nvPr/>
        </p:nvPicPr>
        <p:blipFill>
          <a:blip r:embed="rId2"/>
          <a:stretch>
            <a:fillRect/>
          </a:stretch>
        </p:blipFill>
        <p:spPr>
          <a:xfrm>
            <a:off x="980868" y="2727919"/>
            <a:ext cx="9675159" cy="3560764"/>
          </a:xfrm>
          <a:prstGeom prst="rect">
            <a:avLst/>
          </a:prstGeom>
          <a:ln>
            <a:noFill/>
          </a:ln>
          <a:effectLst>
            <a:outerShdw blurRad="292100" dist="139700" dir="2700000" algn="tl" rotWithShape="0">
              <a:srgbClr val="333333">
                <a:alpha val="65000"/>
              </a:srgbClr>
            </a:outerShdw>
          </a:effectLst>
        </p:spPr>
      </p:pic>
      <p:sp>
        <p:nvSpPr>
          <p:cNvPr id="23" name="Speech Bubble: Rectangle with Corners Rounded 22">
            <a:extLst>
              <a:ext uri="{FF2B5EF4-FFF2-40B4-BE49-F238E27FC236}">
                <a16:creationId xmlns:a16="http://schemas.microsoft.com/office/drawing/2014/main" id="{10EFE820-1529-41E9-881D-48B266EA4EAF}"/>
              </a:ext>
            </a:extLst>
          </p:cNvPr>
          <p:cNvSpPr/>
          <p:nvPr/>
        </p:nvSpPr>
        <p:spPr>
          <a:xfrm>
            <a:off x="1190065" y="1786261"/>
            <a:ext cx="10455088" cy="611841"/>
          </a:xfrm>
          <a:prstGeom prst="wedgeRoundRectCallout">
            <a:avLst>
              <a:gd name="adj1" fmla="val -24855"/>
              <a:gd name="adj2" fmla="val 258489"/>
              <a:gd name="adj3" fmla="val 16667"/>
            </a:avLst>
          </a:prstGeom>
          <a:solidFill>
            <a:schemeClr val="accent1">
              <a:lumMod val="10000"/>
              <a:lumOff val="90000"/>
              <a:alpha val="4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Select where you want to paste your translation (in the example below, we decided to paste it exactly where the initial English text was). Then click on “Paste”, “Paste special” and “Text”. The 1 cell or multiple cells from the same column will be pasted using the same initial formatting</a:t>
            </a:r>
          </a:p>
        </p:txBody>
      </p:sp>
    </p:spTree>
    <p:extLst>
      <p:ext uri="{BB962C8B-B14F-4D97-AF65-F5344CB8AC3E}">
        <p14:creationId xmlns:p14="http://schemas.microsoft.com/office/powerpoint/2010/main" val="33144358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sz="3600" dirty="0">
                <a:latin typeface="+mn-lt"/>
              </a:rPr>
              <a:t>Thank you for your attention.</a:t>
            </a:r>
            <a:endParaRPr lang="en-US" sz="3600" dirty="0">
              <a:latin typeface="+mn-lt"/>
            </a:endParaRP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6D80435-6127-8B5A-A042-7E4F9ED8123A}"/>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11" name="TextBox 10">
            <a:extLst>
              <a:ext uri="{FF2B5EF4-FFF2-40B4-BE49-F238E27FC236}">
                <a16:creationId xmlns:a16="http://schemas.microsoft.com/office/drawing/2014/main" id="{6F4EE5F8-9590-D51A-8C97-146730CFCC30}"/>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28538064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67" name="Rectangle 66">
            <a:extLst>
              <a:ext uri="{FF2B5EF4-FFF2-40B4-BE49-F238E27FC236}">
                <a16:creationId xmlns:a16="http://schemas.microsoft.com/office/drawing/2014/main" id="{6E38DF4B-D4AC-4F34-BF30-D63750E49344}"/>
              </a:ext>
            </a:extLst>
          </p:cNvPr>
          <p:cNvSpPr/>
          <p:nvPr/>
        </p:nvSpPr>
        <p:spPr>
          <a:xfrm>
            <a:off x="509155" y="1381991"/>
            <a:ext cx="11222181" cy="18756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 name="TextBox 63">
            <a:extLst>
              <a:ext uri="{FF2B5EF4-FFF2-40B4-BE49-F238E27FC236}">
                <a16:creationId xmlns:a16="http://schemas.microsoft.com/office/drawing/2014/main" id="{88765AA1-B1B3-4C44-A48A-142FEA113606}"/>
              </a:ext>
            </a:extLst>
          </p:cNvPr>
          <p:cNvSpPr txBox="1"/>
          <p:nvPr/>
        </p:nvSpPr>
        <p:spPr>
          <a:xfrm>
            <a:off x="445000" y="1811315"/>
            <a:ext cx="11302000" cy="4411464"/>
          </a:xfrm>
          <a:prstGeom prst="rect">
            <a:avLst/>
          </a:prstGeom>
          <a:noFill/>
        </p:spPr>
        <p:txBody>
          <a:bodyPr wrap="square" anchor="ctr">
            <a:spAutoFit/>
          </a:bodyPr>
          <a:lstStyle/>
          <a:p>
            <a:pPr algn="l">
              <a:spcBef>
                <a:spcPts val="400"/>
              </a:spcBef>
              <a:spcAft>
                <a:spcPts val="400"/>
              </a:spcAft>
            </a:pPr>
            <a:r>
              <a:rPr lang="en-GB" sz="1300" b="1" i="0" dirty="0">
                <a:effectLst/>
              </a:rPr>
              <a:t>Improve the growth and efficiency of your organization by leveraging the know-how of ex-McKinsey, Deloitte &amp; BCG Management Consultants without </a:t>
            </a:r>
            <a:r>
              <a:rPr lang="en-GB" sz="1300" b="1" dirty="0"/>
              <a:t>breaking </a:t>
            </a:r>
            <a:r>
              <a:rPr lang="en-GB" sz="1300" b="1" i="0" dirty="0">
                <a:effectLst/>
              </a:rPr>
              <a:t>your budget.</a:t>
            </a:r>
          </a:p>
          <a:p>
            <a:pPr algn="l">
              <a:spcBef>
                <a:spcPts val="400"/>
              </a:spcBef>
              <a:spcAft>
                <a:spcPts val="400"/>
              </a:spcAft>
            </a:pPr>
            <a:r>
              <a:rPr lang="en-GB" sz="1300" i="0" dirty="0">
                <a:effectLst/>
              </a:rPr>
              <a:t>Imagine having a team of ex-McKinsey, Deloitte and BCG Management Consultants at your disposal at any time of </a:t>
            </a:r>
            <a:r>
              <a:rPr lang="en-GB" sz="1300" dirty="0"/>
              <a:t>the </a:t>
            </a:r>
            <a:r>
              <a:rPr lang="en-GB" sz="1300" i="0" dirty="0">
                <a:effectLst/>
              </a:rPr>
              <a:t>day to help you solve your business problems and improve the growth and efficiency of your organization. How much more confident would you be about the future performance of your organization and </a:t>
            </a:r>
            <a:r>
              <a:rPr lang="en-GB" sz="1300" dirty="0"/>
              <a:t>your own career? </a:t>
            </a:r>
            <a:r>
              <a:rPr lang="en-GB" sz="1300" i="0" dirty="0">
                <a:effectLst/>
              </a:rPr>
              <a:t>How much more time could you save? </a:t>
            </a:r>
          </a:p>
          <a:p>
            <a:pPr algn="l">
              <a:spcBef>
                <a:spcPts val="400"/>
              </a:spcBef>
              <a:spcAft>
                <a:spcPts val="400"/>
              </a:spcAft>
            </a:pPr>
            <a:r>
              <a:rPr lang="en-GB" sz="1300" i="0" dirty="0">
                <a:effectLst/>
              </a:rPr>
              <a:t>If </a:t>
            </a:r>
            <a:r>
              <a:rPr lang="en-GB" sz="1300" dirty="0"/>
              <a:t>you’ve </a:t>
            </a:r>
            <a:r>
              <a:rPr lang="en-GB" sz="1300" i="0" dirty="0">
                <a:effectLst/>
              </a:rPr>
              <a:t>ever tried solving business problems that you haven’t encountered before, </a:t>
            </a:r>
            <a:r>
              <a:rPr lang="en-GB" sz="1300" dirty="0"/>
              <a:t>you </a:t>
            </a:r>
            <a:r>
              <a:rPr lang="en-GB" sz="1300" i="0" dirty="0">
                <a:effectLst/>
              </a:rPr>
              <a:t>know how frustrating it can be to start from scratch. And even then, you still </a:t>
            </a:r>
            <a:r>
              <a:rPr lang="en-GB" sz="1300" dirty="0"/>
              <a:t>aren’t </a:t>
            </a:r>
            <a:r>
              <a:rPr lang="en-GB" sz="1300" i="0" dirty="0">
                <a:effectLst/>
              </a:rPr>
              <a:t>sure if what you’re doing is going to end up wasting your time and money. Having someone by your side who has already solved these business problems would be a huge help. That’s why businesses hire management consultants for support in the first place.</a:t>
            </a:r>
          </a:p>
          <a:p>
            <a:pPr algn="l">
              <a:spcBef>
                <a:spcPts val="400"/>
              </a:spcBef>
              <a:spcAft>
                <a:spcPts val="400"/>
              </a:spcAft>
            </a:pPr>
            <a:r>
              <a:rPr lang="en-GB" sz="1300" i="0" dirty="0">
                <a:effectLst/>
              </a:rPr>
              <a:t>The only problem is that hiring a couple of </a:t>
            </a:r>
            <a:r>
              <a:rPr lang="en-GB" sz="1300" dirty="0"/>
              <a:t>tier-1 Consultants </a:t>
            </a:r>
            <a:r>
              <a:rPr lang="en-GB" sz="1300" i="0" dirty="0">
                <a:effectLst/>
              </a:rPr>
              <a:t>for a management consulting project would cost you at least $300,000! Not every business or team can afford this.</a:t>
            </a:r>
          </a:p>
          <a:p>
            <a:pPr algn="l">
              <a:spcBef>
                <a:spcPts val="400"/>
              </a:spcBef>
              <a:spcAft>
                <a:spcPts val="400"/>
              </a:spcAft>
            </a:pPr>
            <a:r>
              <a:rPr lang="en-GB" sz="1300" i="0" dirty="0">
                <a:effectLst/>
              </a:rPr>
              <a:t>I wanted to do something about this because I believe everyone deserves to receive </a:t>
            </a:r>
            <a:r>
              <a:rPr lang="en-GB" sz="1300" dirty="0"/>
              <a:t>high-value </a:t>
            </a:r>
            <a:r>
              <a:rPr lang="en-GB" sz="1300" i="0" dirty="0">
                <a:effectLst/>
              </a:rPr>
              <a:t>business guidance, regardless of their budget!</a:t>
            </a:r>
          </a:p>
          <a:p>
            <a:pPr algn="l">
              <a:spcBef>
                <a:spcPts val="400"/>
              </a:spcBef>
              <a:spcAft>
                <a:spcPts val="400"/>
              </a:spcAft>
            </a:pPr>
            <a:r>
              <a:rPr lang="en-GB" sz="1300" i="0" dirty="0">
                <a:effectLst/>
              </a:rPr>
              <a:t>That’s why I’ve teamed up with other ex-McKinsey, Deloitte and BCG Consultants to create all the Business &amp; Consulting Toolkits required to solve your business problems and improve the growth and efficiency of your organization! And it's all </a:t>
            </a:r>
            <a:r>
              <a:rPr lang="en-GB" sz="1300" dirty="0"/>
              <a:t>on </a:t>
            </a:r>
            <a:r>
              <a:rPr lang="en-GB" sz="1300" i="0" dirty="0">
                <a:effectLst/>
              </a:rPr>
              <a:t>our website </a:t>
            </a:r>
            <a:r>
              <a:rPr lang="en-GB" sz="1300" i="0" dirty="0">
                <a:effectLst/>
                <a:hlinkClick r:id="rId7"/>
              </a:rPr>
              <a:t>www.domontconsulting.com </a:t>
            </a:r>
            <a:r>
              <a:rPr lang="en-GB" sz="1300" i="0" dirty="0">
                <a:effectLst/>
              </a:rPr>
              <a:t>and </a:t>
            </a:r>
            <a:r>
              <a:rPr lang="en-GB" sz="1300" dirty="0"/>
              <a:t>in </a:t>
            </a:r>
            <a:r>
              <a:rPr lang="en-GB" sz="1300" i="0" dirty="0">
                <a:effectLst/>
              </a:rPr>
              <a:t>the </a:t>
            </a:r>
            <a:r>
              <a:rPr lang="en-GB" sz="1300" i="0" dirty="0">
                <a:effectLst/>
                <a:hlinkClick r:id="rId8"/>
              </a:rPr>
              <a:t>Gold Access</a:t>
            </a:r>
            <a:r>
              <a:rPr lang="en-GB" sz="1300" i="0" dirty="0">
                <a:effectLst/>
              </a:rPr>
              <a:t>.</a:t>
            </a:r>
          </a:p>
          <a:p>
            <a:pPr algn="l">
              <a:spcBef>
                <a:spcPts val="400"/>
              </a:spcBef>
              <a:spcAft>
                <a:spcPts val="400"/>
              </a:spcAft>
            </a:pPr>
            <a:r>
              <a:rPr lang="en-GB" sz="1300" dirty="0"/>
              <a:t>Whether </a:t>
            </a:r>
            <a:r>
              <a:rPr lang="en-GB" sz="1300" i="0" dirty="0">
                <a:effectLst/>
              </a:rPr>
              <a:t>you're an executive, entrepreneur or consultant from a small or large organization, you can now leverage the know-how and best practices of our ex-McKinsey, Deloitte &amp; BCG Management Consultants without </a:t>
            </a:r>
            <a:r>
              <a:rPr lang="en-GB" sz="1300" dirty="0"/>
              <a:t>breaking </a:t>
            </a:r>
            <a:r>
              <a:rPr lang="en-GB" sz="1300" i="0" dirty="0">
                <a:effectLst/>
              </a:rPr>
              <a:t>your budget.</a:t>
            </a:r>
          </a:p>
          <a:p>
            <a:pPr algn="l">
              <a:spcBef>
                <a:spcPts val="400"/>
              </a:spcBef>
              <a:spcAft>
                <a:spcPts val="400"/>
              </a:spcAft>
            </a:pPr>
            <a:r>
              <a:rPr lang="en-GB" sz="1300" b="1" i="0" dirty="0">
                <a:effectLst/>
              </a:rPr>
              <a:t>Join the 200,000+ Executives, Consultants &amp; Entrepreneurs </a:t>
            </a:r>
            <a:r>
              <a:rPr lang="en-GB" sz="1300" b="1" dirty="0"/>
              <a:t>already </a:t>
            </a:r>
            <a:r>
              <a:rPr lang="en-GB" sz="1300" b="1" i="0" dirty="0">
                <a:effectLst/>
              </a:rPr>
              <a:t>leveraging our Management Consulting Toolkits to improve the performance of their organization and boost their own career.</a:t>
            </a:r>
            <a:endParaRPr lang="en-US" sz="1300" b="0" i="0" dirty="0">
              <a:effectLst/>
            </a:endParaRPr>
          </a:p>
        </p:txBody>
      </p:sp>
      <p:pic>
        <p:nvPicPr>
          <p:cNvPr id="5" name="Picture 4">
            <a:extLst>
              <a:ext uri="{FF2B5EF4-FFF2-40B4-BE49-F238E27FC236}">
                <a16:creationId xmlns:a16="http://schemas.microsoft.com/office/drawing/2014/main" id="{2CAF8B53-0C9C-43F6-9FD0-EFBA71B25A55}"/>
              </a:ext>
            </a:extLst>
          </p:cNvPr>
          <p:cNvPicPr preferRelativeResize="0">
            <a:picLocks/>
          </p:cNvPicPr>
          <p:nvPr/>
        </p:nvPicPr>
        <p:blipFill rotWithShape="1">
          <a:blip r:embed="rId9"/>
          <a:srcRect t="2044" b="2044"/>
          <a:stretch/>
        </p:blipFill>
        <p:spPr>
          <a:xfrm>
            <a:off x="445000" y="387989"/>
            <a:ext cx="1089890" cy="1089890"/>
          </a:xfrm>
          <a:prstGeom prst="ellipse">
            <a:avLst/>
          </a:prstGeom>
        </p:spPr>
      </p:pic>
      <p:sp>
        <p:nvSpPr>
          <p:cNvPr id="12" name="TextBox 11">
            <a:extLst>
              <a:ext uri="{FF2B5EF4-FFF2-40B4-BE49-F238E27FC236}">
                <a16:creationId xmlns:a16="http://schemas.microsoft.com/office/drawing/2014/main" id="{F93E8EB1-B9BE-4407-A3E4-8149F9C9F1FF}"/>
              </a:ext>
            </a:extLst>
          </p:cNvPr>
          <p:cNvSpPr txBox="1"/>
          <p:nvPr/>
        </p:nvSpPr>
        <p:spPr>
          <a:xfrm>
            <a:off x="1680948" y="535390"/>
            <a:ext cx="3383422" cy="795089"/>
          </a:xfrm>
          <a:prstGeom prst="rect">
            <a:avLst/>
          </a:prstGeom>
          <a:noFill/>
        </p:spPr>
        <p:txBody>
          <a:bodyPr wrap="square" anchor="ctr">
            <a:spAutoFit/>
          </a:bodyPr>
          <a:lstStyle/>
          <a:p>
            <a:pPr algn="l">
              <a:spcBef>
                <a:spcPts val="200"/>
              </a:spcBef>
              <a:spcAft>
                <a:spcPts val="200"/>
              </a:spcAft>
            </a:pPr>
            <a:r>
              <a:rPr lang="en-US" sz="1300" b="1" i="0" dirty="0">
                <a:solidFill>
                  <a:srgbClr val="2869B6"/>
                </a:solidFill>
                <a:effectLst/>
              </a:rPr>
              <a:t>Aurelien Domont</a:t>
            </a:r>
          </a:p>
          <a:p>
            <a:pPr algn="l">
              <a:spcBef>
                <a:spcPts val="200"/>
              </a:spcBef>
              <a:spcAft>
                <a:spcPts val="200"/>
              </a:spcAft>
            </a:pPr>
            <a:r>
              <a:rPr lang="en-US" sz="1300" b="1" dirty="0">
                <a:solidFill>
                  <a:srgbClr val="2869B6"/>
                </a:solidFill>
              </a:rPr>
              <a:t>Domont Consulting CEO</a:t>
            </a:r>
          </a:p>
          <a:p>
            <a:pPr algn="l">
              <a:spcBef>
                <a:spcPts val="200"/>
              </a:spcBef>
              <a:spcAft>
                <a:spcPts val="200"/>
              </a:spcAft>
            </a:pPr>
            <a:r>
              <a:rPr lang="en-US" sz="1300" b="1" i="0" dirty="0">
                <a:solidFill>
                  <a:srgbClr val="2869B6"/>
                </a:solidFill>
                <a:effectLst/>
              </a:rPr>
              <a:t>Ex-Deloitte Management Consultant</a:t>
            </a:r>
            <a:endParaRPr lang="en-US" sz="1300" i="0" dirty="0">
              <a:solidFill>
                <a:srgbClr val="2869B6"/>
              </a:solidFill>
              <a:effectLst/>
            </a:endParaRPr>
          </a:p>
        </p:txBody>
      </p:sp>
      <p:pic>
        <p:nvPicPr>
          <p:cNvPr id="6148" name="Picture 4" descr="How to Use LinkedIn for Business: A Step-by-Step Guide for Marketers">
            <a:hlinkClick r:id="rId10"/>
            <a:extLst>
              <a:ext uri="{FF2B5EF4-FFF2-40B4-BE49-F238E27FC236}">
                <a16:creationId xmlns:a16="http://schemas.microsoft.com/office/drawing/2014/main" id="{E5A569A1-FABD-4C11-A07E-27FD8DF3C3FF}"/>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15036"/>
          <a:stretch/>
        </p:blipFill>
        <p:spPr bwMode="auto">
          <a:xfrm>
            <a:off x="3205317" y="539803"/>
            <a:ext cx="232902" cy="233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807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C99EFF-354A-44CF-90A6-A74D5DB7C3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AAC99EFF-354A-44CF-90A6-A74D5DB7C3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4ADBF-C6BF-47E5-A610-498F4D8C2A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sz="2400" kern="0" dirty="0"/>
              <a:t>Our ex-McKinsey, Deloitte &amp; BCG Consultants </a:t>
            </a:r>
            <a:r>
              <a:rPr lang="en-GB" kern="0" dirty="0"/>
              <a:t>have </a:t>
            </a:r>
            <a:r>
              <a:rPr lang="en-GB" sz="2400" kern="0"/>
              <a:t>created 19 </a:t>
            </a:r>
            <a:r>
              <a:rPr lang="en-GB" sz="2400" kern="0" dirty="0"/>
              <a:t>Management Consulting Toolkits</a:t>
            </a:r>
            <a:endParaRPr lang="en-US" sz="2400" b="0" kern="0" dirty="0"/>
          </a:p>
        </p:txBody>
      </p:sp>
      <p:sp>
        <p:nvSpPr>
          <p:cNvPr id="47" name="Slide Number Placeholder 3">
            <a:extLst>
              <a:ext uri="{FF2B5EF4-FFF2-40B4-BE49-F238E27FC236}">
                <a16:creationId xmlns:a16="http://schemas.microsoft.com/office/drawing/2014/main" id="{D47DA033-2956-40C4-8B88-587134132EC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7" name="Rectangle 6">
            <a:extLst>
              <a:ext uri="{FF2B5EF4-FFF2-40B4-BE49-F238E27FC236}">
                <a16:creationId xmlns:a16="http://schemas.microsoft.com/office/drawing/2014/main" id="{558C421E-7E39-A570-32F6-06E68C1EEE4C}"/>
              </a:ext>
            </a:extLst>
          </p:cNvPr>
          <p:cNvSpPr>
            <a:spLocks noChangeArrowheads="1"/>
          </p:cNvSpPr>
          <p:nvPr/>
        </p:nvSpPr>
        <p:spPr bwMode="auto">
          <a:xfrm>
            <a:off x="620478"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 Corporate &amp; Business Strategy Toolkit</a:t>
            </a:r>
          </a:p>
        </p:txBody>
      </p:sp>
      <p:pic>
        <p:nvPicPr>
          <p:cNvPr id="19" name="Graphic 18" descr="Lightbulb and gear">
            <a:extLst>
              <a:ext uri="{FF2B5EF4-FFF2-40B4-BE49-F238E27FC236}">
                <a16:creationId xmlns:a16="http://schemas.microsoft.com/office/drawing/2014/main" id="{E0ED72F6-3654-63CA-213F-0B584F34285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2874" y="2015649"/>
            <a:ext cx="640779" cy="640778"/>
          </a:xfrm>
          <a:prstGeom prst="rect">
            <a:avLst/>
          </a:prstGeom>
        </p:spPr>
      </p:pic>
      <p:sp>
        <p:nvSpPr>
          <p:cNvPr id="13" name="Rectangle 12">
            <a:extLst>
              <a:ext uri="{FF2B5EF4-FFF2-40B4-BE49-F238E27FC236}">
                <a16:creationId xmlns:a16="http://schemas.microsoft.com/office/drawing/2014/main" id="{0E23EC02-6B77-6CEF-E611-0B3B5F316F80}"/>
              </a:ext>
            </a:extLst>
          </p:cNvPr>
          <p:cNvSpPr>
            <a:spLocks noChangeArrowheads="1"/>
          </p:cNvSpPr>
          <p:nvPr/>
        </p:nvSpPr>
        <p:spPr bwMode="auto">
          <a:xfrm>
            <a:off x="620478" y="280728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6. Strategic Planning Toolkit</a:t>
            </a:r>
          </a:p>
        </p:txBody>
      </p:sp>
      <p:sp>
        <p:nvSpPr>
          <p:cNvPr id="14" name="Rectangle 13">
            <a:extLst>
              <a:ext uri="{FF2B5EF4-FFF2-40B4-BE49-F238E27FC236}">
                <a16:creationId xmlns:a16="http://schemas.microsoft.com/office/drawing/2014/main" id="{226D134D-00A2-6215-0DE7-20ED9C1FAE02}"/>
              </a:ext>
            </a:extLst>
          </p:cNvPr>
          <p:cNvSpPr>
            <a:spLocks noChangeArrowheads="1"/>
          </p:cNvSpPr>
          <p:nvPr/>
        </p:nvSpPr>
        <p:spPr bwMode="auto">
          <a:xfrm>
            <a:off x="620478"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1. Business Plan &amp; Entrepreneurship Toolkit</a:t>
            </a:r>
          </a:p>
        </p:txBody>
      </p:sp>
      <p:sp>
        <p:nvSpPr>
          <p:cNvPr id="15" name="Rectangle 14">
            <a:extLst>
              <a:ext uri="{FF2B5EF4-FFF2-40B4-BE49-F238E27FC236}">
                <a16:creationId xmlns:a16="http://schemas.microsoft.com/office/drawing/2014/main" id="{5F375674-5BD0-C95E-E34C-189DC46EB9EF}"/>
              </a:ext>
            </a:extLst>
          </p:cNvPr>
          <p:cNvSpPr>
            <a:spLocks noChangeArrowheads="1"/>
          </p:cNvSpPr>
          <p:nvPr/>
        </p:nvSpPr>
        <p:spPr bwMode="auto">
          <a:xfrm>
            <a:off x="620478"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GB" sz="1050" b="1" dirty="0">
                <a:solidFill>
                  <a:schemeClr val="tx2"/>
                </a:solidFill>
              </a:rPr>
              <a:t>16. </a:t>
            </a:r>
            <a:r>
              <a:rPr lang="en-US" sz="1050" b="1" dirty="0">
                <a:solidFill>
                  <a:schemeClr val="tx2"/>
                </a:solidFill>
              </a:rPr>
              <a:t>Financial Modeling, Planning &amp; Analysis Toolkit</a:t>
            </a:r>
          </a:p>
        </p:txBody>
      </p:sp>
      <p:sp>
        <p:nvSpPr>
          <p:cNvPr id="71" name="Rectangle 70">
            <a:extLst>
              <a:ext uri="{FF2B5EF4-FFF2-40B4-BE49-F238E27FC236}">
                <a16:creationId xmlns:a16="http://schemas.microsoft.com/office/drawing/2014/main" id="{0B25308B-BA59-713F-CA3D-FA80A61921D5}"/>
              </a:ext>
            </a:extLst>
          </p:cNvPr>
          <p:cNvSpPr>
            <a:spLocks noChangeArrowheads="1"/>
          </p:cNvSpPr>
          <p:nvPr/>
        </p:nvSpPr>
        <p:spPr bwMode="auto">
          <a:xfrm>
            <a:off x="2810349"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2. Management Consulting Toolkit</a:t>
            </a:r>
            <a:endParaRPr lang="en-GB" altLang="ja-JP" sz="1050" b="1" dirty="0">
              <a:solidFill>
                <a:schemeClr val="tx2"/>
              </a:solidFill>
            </a:endParaRPr>
          </a:p>
        </p:txBody>
      </p:sp>
      <p:sp>
        <p:nvSpPr>
          <p:cNvPr id="84" name="Rectangle 83">
            <a:extLst>
              <a:ext uri="{FF2B5EF4-FFF2-40B4-BE49-F238E27FC236}">
                <a16:creationId xmlns:a16="http://schemas.microsoft.com/office/drawing/2014/main" id="{931A116A-B170-8576-3191-4E44AFFC3690}"/>
              </a:ext>
            </a:extLst>
          </p:cNvPr>
          <p:cNvSpPr>
            <a:spLocks noChangeArrowheads="1"/>
          </p:cNvSpPr>
          <p:nvPr/>
        </p:nvSpPr>
        <p:spPr bwMode="auto">
          <a:xfrm>
            <a:off x="5011650"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3. </a:t>
            </a:r>
            <a:r>
              <a:rPr lang="en-GB" sz="1050" b="1" dirty="0">
                <a:solidFill>
                  <a:schemeClr val="tx2"/>
                </a:solidFill>
              </a:rPr>
              <a:t>Operating Model &amp; </a:t>
            </a:r>
            <a:r>
              <a:rPr lang="en-US" sz="1050" b="1" dirty="0">
                <a:solidFill>
                  <a:schemeClr val="tx2"/>
                </a:solidFill>
              </a:rPr>
              <a:t>Organization Design Toolkit</a:t>
            </a:r>
          </a:p>
        </p:txBody>
      </p:sp>
      <p:sp>
        <p:nvSpPr>
          <p:cNvPr id="89" name="Rectangle 88">
            <a:extLst>
              <a:ext uri="{FF2B5EF4-FFF2-40B4-BE49-F238E27FC236}">
                <a16:creationId xmlns:a16="http://schemas.microsoft.com/office/drawing/2014/main" id="{C95656C4-FDF4-F11B-2233-D90FF6F01C33}"/>
              </a:ext>
            </a:extLst>
          </p:cNvPr>
          <p:cNvSpPr>
            <a:spLocks noChangeArrowheads="1"/>
          </p:cNvSpPr>
          <p:nvPr/>
        </p:nvSpPr>
        <p:spPr bwMode="auto">
          <a:xfrm>
            <a:off x="7212951"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4. Digital Transformation Toolkit</a:t>
            </a:r>
          </a:p>
        </p:txBody>
      </p:sp>
      <p:sp>
        <p:nvSpPr>
          <p:cNvPr id="94" name="Rectangle 93">
            <a:extLst>
              <a:ext uri="{FF2B5EF4-FFF2-40B4-BE49-F238E27FC236}">
                <a16:creationId xmlns:a16="http://schemas.microsoft.com/office/drawing/2014/main" id="{289EAC2A-EC1E-0B00-D53D-0E1A9715FF82}"/>
              </a:ext>
            </a:extLst>
          </p:cNvPr>
          <p:cNvSpPr>
            <a:spLocks noChangeArrowheads="1"/>
          </p:cNvSpPr>
          <p:nvPr/>
        </p:nvSpPr>
        <p:spPr bwMode="auto">
          <a:xfrm>
            <a:off x="9414251"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5. Change &amp; Project Management Toolkit</a:t>
            </a:r>
          </a:p>
        </p:txBody>
      </p:sp>
      <p:sp>
        <p:nvSpPr>
          <p:cNvPr id="117" name="Rectangle 116">
            <a:extLst>
              <a:ext uri="{FF2B5EF4-FFF2-40B4-BE49-F238E27FC236}">
                <a16:creationId xmlns:a16="http://schemas.microsoft.com/office/drawing/2014/main" id="{9BE8DF50-1016-DA34-1E4C-0DD9311F792A}"/>
              </a:ext>
            </a:extLst>
          </p:cNvPr>
          <p:cNvSpPr>
            <a:spLocks noChangeArrowheads="1"/>
          </p:cNvSpPr>
          <p:nvPr/>
        </p:nvSpPr>
        <p:spPr bwMode="auto">
          <a:xfrm>
            <a:off x="2810349"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rgbClr val="002060"/>
                </a:solidFill>
              </a:rPr>
              <a:t>7. </a:t>
            </a:r>
            <a:r>
              <a:rPr lang="en-GB" sz="1050" b="1" dirty="0">
                <a:solidFill>
                  <a:schemeClr val="tx2"/>
                </a:solidFill>
              </a:rPr>
              <a:t>Human Resources &amp; Talent Management Toolkit</a:t>
            </a:r>
            <a:endParaRPr lang="en-US" sz="1050" b="1" dirty="0">
              <a:solidFill>
                <a:schemeClr val="tx2"/>
              </a:solidFill>
            </a:endParaRPr>
          </a:p>
        </p:txBody>
      </p:sp>
      <p:sp>
        <p:nvSpPr>
          <p:cNvPr id="118" name="Rectangle 117">
            <a:extLst>
              <a:ext uri="{FF2B5EF4-FFF2-40B4-BE49-F238E27FC236}">
                <a16:creationId xmlns:a16="http://schemas.microsoft.com/office/drawing/2014/main" id="{E62805BF-A250-5D41-EA3C-FA0A06FD0099}"/>
              </a:ext>
            </a:extLst>
          </p:cNvPr>
          <p:cNvSpPr>
            <a:spLocks noChangeArrowheads="1"/>
          </p:cNvSpPr>
          <p:nvPr/>
        </p:nvSpPr>
        <p:spPr bwMode="auto">
          <a:xfrm>
            <a:off x="5011650"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8. Mergers &amp; Acquisitions Toolkit</a:t>
            </a:r>
            <a:endParaRPr lang="en-US" sz="1050" b="1" dirty="0">
              <a:solidFill>
                <a:srgbClr val="002060"/>
              </a:solidFill>
            </a:endParaRPr>
          </a:p>
        </p:txBody>
      </p:sp>
      <p:sp>
        <p:nvSpPr>
          <p:cNvPr id="119" name="Rectangle 118">
            <a:extLst>
              <a:ext uri="{FF2B5EF4-FFF2-40B4-BE49-F238E27FC236}">
                <a16:creationId xmlns:a16="http://schemas.microsoft.com/office/drawing/2014/main" id="{7FB344A7-AF23-1466-E4A7-7D4A798C3535}"/>
              </a:ext>
            </a:extLst>
          </p:cNvPr>
          <p:cNvSpPr>
            <a:spLocks noChangeArrowheads="1"/>
          </p:cNvSpPr>
          <p:nvPr/>
        </p:nvSpPr>
        <p:spPr bwMode="auto">
          <a:xfrm>
            <a:off x="7212951"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9. Post Merger Integration Toolkit</a:t>
            </a:r>
          </a:p>
        </p:txBody>
      </p:sp>
      <p:sp>
        <p:nvSpPr>
          <p:cNvPr id="120" name="Rectangle 119">
            <a:extLst>
              <a:ext uri="{FF2B5EF4-FFF2-40B4-BE49-F238E27FC236}">
                <a16:creationId xmlns:a16="http://schemas.microsoft.com/office/drawing/2014/main" id="{22E395D8-1FE6-5ECF-3FF8-4A223673D9C7}"/>
              </a:ext>
            </a:extLst>
          </p:cNvPr>
          <p:cNvSpPr>
            <a:spLocks noChangeArrowheads="1"/>
          </p:cNvSpPr>
          <p:nvPr/>
        </p:nvSpPr>
        <p:spPr bwMode="auto">
          <a:xfrm>
            <a:off x="9414251"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0" tIns="91440" rIns="0" bIns="91440" anchor="t">
            <a:normAutofit/>
          </a:bodyPr>
          <a:lstStyle/>
          <a:p>
            <a:pPr algn="ctr"/>
            <a:r>
              <a:rPr lang="en-US" sz="1050" b="1" dirty="0">
                <a:solidFill>
                  <a:schemeClr val="tx2"/>
                </a:solidFill>
              </a:rPr>
              <a:t>10. Sales, Marketing &amp; Communication Strategy Toolkit</a:t>
            </a:r>
            <a:endParaRPr lang="en-US" sz="1050" b="1" dirty="0">
              <a:solidFill>
                <a:srgbClr val="002060"/>
              </a:solidFill>
            </a:endParaRPr>
          </a:p>
        </p:txBody>
      </p:sp>
      <p:sp>
        <p:nvSpPr>
          <p:cNvPr id="121" name="Rectangle 120">
            <a:extLst>
              <a:ext uri="{FF2B5EF4-FFF2-40B4-BE49-F238E27FC236}">
                <a16:creationId xmlns:a16="http://schemas.microsoft.com/office/drawing/2014/main" id="{8E8208E4-CB0D-6EF1-2429-8C15E934AE8D}"/>
              </a:ext>
            </a:extLst>
          </p:cNvPr>
          <p:cNvSpPr>
            <a:spLocks noChangeArrowheads="1"/>
          </p:cNvSpPr>
          <p:nvPr/>
        </p:nvSpPr>
        <p:spPr bwMode="auto">
          <a:xfrm>
            <a:off x="2810349"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2. </a:t>
            </a:r>
            <a:r>
              <a:rPr lang="en-US" sz="1050" b="1" dirty="0">
                <a:solidFill>
                  <a:srgbClr val="002060"/>
                </a:solidFill>
              </a:rPr>
              <a:t>Supply Chain Strategy Toolkit</a:t>
            </a:r>
            <a:endParaRPr lang="en-US" sz="1050" b="1" dirty="0">
              <a:solidFill>
                <a:schemeClr val="tx2"/>
              </a:solidFill>
            </a:endParaRPr>
          </a:p>
        </p:txBody>
      </p:sp>
      <p:sp>
        <p:nvSpPr>
          <p:cNvPr id="122" name="Rectangle 121">
            <a:extLst>
              <a:ext uri="{FF2B5EF4-FFF2-40B4-BE49-F238E27FC236}">
                <a16:creationId xmlns:a16="http://schemas.microsoft.com/office/drawing/2014/main" id="{46586B85-E52C-2304-9CD4-976D9E4E39F4}"/>
              </a:ext>
            </a:extLst>
          </p:cNvPr>
          <p:cNvSpPr>
            <a:spLocks noChangeArrowheads="1"/>
          </p:cNvSpPr>
          <p:nvPr/>
        </p:nvSpPr>
        <p:spPr bwMode="auto">
          <a:xfrm>
            <a:off x="5011650"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3. Lean 6 Sigma Toolkit</a:t>
            </a:r>
          </a:p>
        </p:txBody>
      </p:sp>
      <p:sp>
        <p:nvSpPr>
          <p:cNvPr id="123" name="Rectangle 122">
            <a:extLst>
              <a:ext uri="{FF2B5EF4-FFF2-40B4-BE49-F238E27FC236}">
                <a16:creationId xmlns:a16="http://schemas.microsoft.com/office/drawing/2014/main" id="{7D90D3F8-D499-B2F3-DF04-A850A95591F9}"/>
              </a:ext>
            </a:extLst>
          </p:cNvPr>
          <p:cNvSpPr>
            <a:spLocks noChangeArrowheads="1"/>
          </p:cNvSpPr>
          <p:nvPr/>
        </p:nvSpPr>
        <p:spPr bwMode="auto">
          <a:xfrm>
            <a:off x="7212951"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4. Risk Management Toolkit </a:t>
            </a:r>
          </a:p>
        </p:txBody>
      </p:sp>
      <p:sp>
        <p:nvSpPr>
          <p:cNvPr id="124" name="Rectangle 123">
            <a:extLst>
              <a:ext uri="{FF2B5EF4-FFF2-40B4-BE49-F238E27FC236}">
                <a16:creationId xmlns:a16="http://schemas.microsoft.com/office/drawing/2014/main" id="{5930397F-943F-658A-4AAD-01CA87EAC506}"/>
              </a:ext>
            </a:extLst>
          </p:cNvPr>
          <p:cNvSpPr>
            <a:spLocks noChangeArrowheads="1"/>
          </p:cNvSpPr>
          <p:nvPr/>
        </p:nvSpPr>
        <p:spPr bwMode="auto">
          <a:xfrm>
            <a:off x="9414251"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GB" sz="1050" b="1" dirty="0">
                <a:solidFill>
                  <a:schemeClr val="tx2"/>
                </a:solidFill>
              </a:rPr>
              <a:t>15. Leadership Development Toolkit</a:t>
            </a:r>
            <a:endParaRPr lang="en-US" sz="1050" b="1" dirty="0">
              <a:solidFill>
                <a:schemeClr val="tx2"/>
              </a:solidFill>
            </a:endParaRPr>
          </a:p>
        </p:txBody>
      </p:sp>
      <p:sp>
        <p:nvSpPr>
          <p:cNvPr id="125" name="Rectangle 124">
            <a:extLst>
              <a:ext uri="{FF2B5EF4-FFF2-40B4-BE49-F238E27FC236}">
                <a16:creationId xmlns:a16="http://schemas.microsoft.com/office/drawing/2014/main" id="{6B74E3D5-B63B-6A46-F024-0449A85EA0A4}"/>
              </a:ext>
            </a:extLst>
          </p:cNvPr>
          <p:cNvSpPr>
            <a:spLocks noChangeArrowheads="1"/>
          </p:cNvSpPr>
          <p:nvPr/>
        </p:nvSpPr>
        <p:spPr bwMode="auto">
          <a:xfrm>
            <a:off x="2810349"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0" tIns="91440" rIns="0" bIns="91440" anchor="t">
            <a:normAutofit/>
          </a:bodyPr>
          <a:lstStyle/>
          <a:p>
            <a:pPr algn="ctr"/>
            <a:r>
              <a:rPr lang="en-US" sz="1050" b="1" dirty="0">
                <a:solidFill>
                  <a:schemeClr val="tx2"/>
                </a:solidFill>
              </a:rPr>
              <a:t>17. Customer Experience Strategy &amp; Design Thinking Toolkit</a:t>
            </a:r>
          </a:p>
        </p:txBody>
      </p:sp>
      <p:sp>
        <p:nvSpPr>
          <p:cNvPr id="126" name="Rectangle 125">
            <a:extLst>
              <a:ext uri="{FF2B5EF4-FFF2-40B4-BE49-F238E27FC236}">
                <a16:creationId xmlns:a16="http://schemas.microsoft.com/office/drawing/2014/main" id="{8D04E3C5-6CEE-C8B9-B7E0-3A047CB47462}"/>
              </a:ext>
            </a:extLst>
          </p:cNvPr>
          <p:cNvSpPr>
            <a:spLocks noChangeArrowheads="1"/>
          </p:cNvSpPr>
          <p:nvPr/>
        </p:nvSpPr>
        <p:spPr bwMode="auto">
          <a:xfrm>
            <a:off x="5011650"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8. Data Analytics Strategy Toolkit</a:t>
            </a:r>
          </a:p>
        </p:txBody>
      </p:sp>
      <p:sp>
        <p:nvSpPr>
          <p:cNvPr id="127" name="Rectangle 126">
            <a:extLst>
              <a:ext uri="{FF2B5EF4-FFF2-40B4-BE49-F238E27FC236}">
                <a16:creationId xmlns:a16="http://schemas.microsoft.com/office/drawing/2014/main" id="{1607D25E-5270-E306-C1C5-51F3F2E5145F}"/>
              </a:ext>
            </a:extLst>
          </p:cNvPr>
          <p:cNvSpPr>
            <a:spLocks noChangeArrowheads="1"/>
          </p:cNvSpPr>
          <p:nvPr/>
        </p:nvSpPr>
        <p:spPr bwMode="auto">
          <a:xfrm>
            <a:off x="7212951"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9. </a:t>
            </a:r>
            <a:r>
              <a:rPr lang="en-GB" sz="1050" b="1" dirty="0">
                <a:solidFill>
                  <a:schemeClr val="tx2"/>
                </a:solidFill>
              </a:rPr>
              <a:t>Warren Buffet Value Investing Strategy Toolkit</a:t>
            </a:r>
            <a:endParaRPr lang="en-US" sz="1050" b="1" dirty="0">
              <a:solidFill>
                <a:schemeClr val="tx2"/>
              </a:solidFill>
            </a:endParaRPr>
          </a:p>
        </p:txBody>
      </p:sp>
      <p:sp>
        <p:nvSpPr>
          <p:cNvPr id="128" name="Rectangle 127">
            <a:extLst>
              <a:ext uri="{FF2B5EF4-FFF2-40B4-BE49-F238E27FC236}">
                <a16:creationId xmlns:a16="http://schemas.microsoft.com/office/drawing/2014/main" id="{EC934F31-E734-A9EA-03A7-5D28FC71A303}"/>
              </a:ext>
            </a:extLst>
          </p:cNvPr>
          <p:cNvSpPr>
            <a:spLocks noChangeArrowheads="1"/>
          </p:cNvSpPr>
          <p:nvPr/>
        </p:nvSpPr>
        <p:spPr bwMode="auto">
          <a:xfrm>
            <a:off x="9414251"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36000" tIns="91440" rIns="36000" bIns="91440" anchor="t">
            <a:normAutofit/>
          </a:bodyPr>
          <a:lstStyle/>
          <a:p>
            <a:pPr algn="ctr"/>
            <a:r>
              <a:rPr lang="en-US" sz="1050" b="1" dirty="0"/>
              <a:t>Need another Toolkit?</a:t>
            </a:r>
          </a:p>
          <a:p>
            <a:pPr algn="ctr"/>
            <a:endParaRPr lang="en-US" sz="1050" b="1" dirty="0">
              <a:solidFill>
                <a:schemeClr val="tx2"/>
              </a:solidFill>
            </a:endParaRPr>
          </a:p>
          <a:p>
            <a:pPr algn="ctr"/>
            <a:r>
              <a:rPr lang="en-US" sz="1050" dirty="0">
                <a:solidFill>
                  <a:schemeClr val="tx2"/>
                </a:solidFill>
              </a:rPr>
              <a:t>Let us know by sending an email at support@domontconsulting.com</a:t>
            </a:r>
            <a:endParaRPr lang="en-US" sz="1050" b="1" dirty="0">
              <a:solidFill>
                <a:schemeClr val="tx2"/>
              </a:solidFill>
            </a:endParaRPr>
          </a:p>
        </p:txBody>
      </p:sp>
      <p:pic>
        <p:nvPicPr>
          <p:cNvPr id="129" name="Graphic 128" descr="Playbook">
            <a:extLst>
              <a:ext uri="{FF2B5EF4-FFF2-40B4-BE49-F238E27FC236}">
                <a16:creationId xmlns:a16="http://schemas.microsoft.com/office/drawing/2014/main" id="{46BE37AD-D108-0BEF-8826-BDFADC9D8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75674" y="2040852"/>
            <a:ext cx="603938" cy="603938"/>
          </a:xfrm>
          <a:prstGeom prst="rect">
            <a:avLst/>
          </a:prstGeom>
        </p:spPr>
      </p:pic>
      <p:pic>
        <p:nvPicPr>
          <p:cNvPr id="130" name="Graphic 129" descr="Stream">
            <a:extLst>
              <a:ext uri="{FF2B5EF4-FFF2-40B4-BE49-F238E27FC236}">
                <a16:creationId xmlns:a16="http://schemas.microsoft.com/office/drawing/2014/main" id="{6D054838-488C-423E-FBE2-DB9B3C91403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965787" y="2023694"/>
            <a:ext cx="654151" cy="654151"/>
          </a:xfrm>
          <a:prstGeom prst="rect">
            <a:avLst/>
          </a:prstGeom>
        </p:spPr>
      </p:pic>
      <p:pic>
        <p:nvPicPr>
          <p:cNvPr id="131" name="Graphic 130" descr="Network diagram with solid fill">
            <a:extLst>
              <a:ext uri="{FF2B5EF4-FFF2-40B4-BE49-F238E27FC236}">
                <a16:creationId xmlns:a16="http://schemas.microsoft.com/office/drawing/2014/main" id="{48EA1DD4-0F8E-1FCB-FCB0-0211E9C6EB9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6200000">
            <a:off x="5740049" y="2023695"/>
            <a:ext cx="617089" cy="617089"/>
          </a:xfrm>
          <a:prstGeom prst="rect">
            <a:avLst/>
          </a:prstGeom>
        </p:spPr>
      </p:pic>
      <p:pic>
        <p:nvPicPr>
          <p:cNvPr id="132" name="Graphic 131" descr="Meeting with solid fill">
            <a:extLst>
              <a:ext uri="{FF2B5EF4-FFF2-40B4-BE49-F238E27FC236}">
                <a16:creationId xmlns:a16="http://schemas.microsoft.com/office/drawing/2014/main" id="{02E0CDC8-EE83-DCBB-4225-B2D1D90811C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188172" y="2028281"/>
            <a:ext cx="592085" cy="592085"/>
          </a:xfrm>
          <a:prstGeom prst="rect">
            <a:avLst/>
          </a:prstGeom>
        </p:spPr>
      </p:pic>
      <p:pic>
        <p:nvPicPr>
          <p:cNvPr id="146" name="Graphic 145" descr="Chess pieces with solid fill">
            <a:extLst>
              <a:ext uri="{FF2B5EF4-FFF2-40B4-BE49-F238E27FC236}">
                <a16:creationId xmlns:a16="http://schemas.microsoft.com/office/drawing/2014/main" id="{B9E7A64F-2DEB-B910-7420-0510C6EECB1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350578" y="3169359"/>
            <a:ext cx="634505" cy="634505"/>
          </a:xfrm>
          <a:prstGeom prst="rect">
            <a:avLst/>
          </a:prstGeom>
        </p:spPr>
      </p:pic>
      <p:pic>
        <p:nvPicPr>
          <p:cNvPr id="147" name="Graphic 146" descr="Puzzle pieces">
            <a:extLst>
              <a:ext uri="{FF2B5EF4-FFF2-40B4-BE49-F238E27FC236}">
                <a16:creationId xmlns:a16="http://schemas.microsoft.com/office/drawing/2014/main" id="{1ED7C9C1-A22E-3033-E5AF-A49B5D197F7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969884" y="3225171"/>
            <a:ext cx="663125" cy="663125"/>
          </a:xfrm>
          <a:prstGeom prst="rect">
            <a:avLst/>
          </a:prstGeom>
        </p:spPr>
      </p:pic>
      <p:pic>
        <p:nvPicPr>
          <p:cNvPr id="148" name="Graphic 147" descr="Handshake with solid fill">
            <a:extLst>
              <a:ext uri="{FF2B5EF4-FFF2-40B4-BE49-F238E27FC236}">
                <a16:creationId xmlns:a16="http://schemas.microsoft.com/office/drawing/2014/main" id="{A4776116-AC6F-474F-AF33-853F967D812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711088" y="3225171"/>
            <a:ext cx="663125" cy="663125"/>
          </a:xfrm>
          <a:prstGeom prst="rect">
            <a:avLst/>
          </a:prstGeom>
        </p:spPr>
      </p:pic>
      <p:pic>
        <p:nvPicPr>
          <p:cNvPr id="149" name="Graphic 148" descr="Bullseye">
            <a:extLst>
              <a:ext uri="{FF2B5EF4-FFF2-40B4-BE49-F238E27FC236}">
                <a16:creationId xmlns:a16="http://schemas.microsoft.com/office/drawing/2014/main" id="{B2B8E08C-3A17-0373-790F-1C9767240B37}"/>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155162" y="3262075"/>
            <a:ext cx="646247" cy="646246"/>
          </a:xfrm>
          <a:prstGeom prst="rect">
            <a:avLst/>
          </a:prstGeom>
        </p:spPr>
      </p:pic>
      <p:pic>
        <p:nvPicPr>
          <p:cNvPr id="150" name="Graphic 149" descr="Business Growth">
            <a:extLst>
              <a:ext uri="{FF2B5EF4-FFF2-40B4-BE49-F238E27FC236}">
                <a16:creationId xmlns:a16="http://schemas.microsoft.com/office/drawing/2014/main" id="{B172C5A0-91A0-DCE4-D3C4-537C8EF8D3FE}"/>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541384" y="3296365"/>
            <a:ext cx="631151" cy="631150"/>
          </a:xfrm>
          <a:prstGeom prst="rect">
            <a:avLst/>
          </a:prstGeom>
        </p:spPr>
      </p:pic>
      <p:pic>
        <p:nvPicPr>
          <p:cNvPr id="151" name="Graphic 150" descr="Plant">
            <a:extLst>
              <a:ext uri="{FF2B5EF4-FFF2-40B4-BE49-F238E27FC236}">
                <a16:creationId xmlns:a16="http://schemas.microsoft.com/office/drawing/2014/main" id="{5C2FC643-B4DF-718E-0C58-5244E9B9D07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310014" y="4542235"/>
            <a:ext cx="580280" cy="580280"/>
          </a:xfrm>
          <a:prstGeom prst="rect">
            <a:avLst/>
          </a:prstGeom>
        </p:spPr>
      </p:pic>
      <p:pic>
        <p:nvPicPr>
          <p:cNvPr id="152" name="Graphic 151" descr="Factory">
            <a:extLst>
              <a:ext uri="{FF2B5EF4-FFF2-40B4-BE49-F238E27FC236}">
                <a16:creationId xmlns:a16="http://schemas.microsoft.com/office/drawing/2014/main" id="{AEE9995D-FFCB-B510-3AD3-C4896CCD51AC}"/>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515812" y="4487906"/>
            <a:ext cx="688936" cy="688937"/>
          </a:xfrm>
          <a:prstGeom prst="rect">
            <a:avLst/>
          </a:prstGeom>
        </p:spPr>
      </p:pic>
      <p:pic>
        <p:nvPicPr>
          <p:cNvPr id="153" name="Graphic 152" descr="Lecturer">
            <a:extLst>
              <a:ext uri="{FF2B5EF4-FFF2-40B4-BE49-F238E27FC236}">
                <a16:creationId xmlns:a16="http://schemas.microsoft.com/office/drawing/2014/main" id="{8F994509-AA86-2958-11C6-CF186A3F13E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158031" y="4546670"/>
            <a:ext cx="630174" cy="630173"/>
          </a:xfrm>
          <a:prstGeom prst="rect">
            <a:avLst/>
          </a:prstGeom>
        </p:spPr>
      </p:pic>
      <p:pic>
        <p:nvPicPr>
          <p:cNvPr id="154" name="Graphic 153" descr="Shield Tick">
            <a:extLst>
              <a:ext uri="{FF2B5EF4-FFF2-40B4-BE49-F238E27FC236}">
                <a16:creationId xmlns:a16="http://schemas.microsoft.com/office/drawing/2014/main" id="{125D1B17-0482-1BD1-3BC2-933DDAF641CE}"/>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7973961" y="4461955"/>
            <a:ext cx="631632" cy="631632"/>
          </a:xfrm>
          <a:prstGeom prst="rect">
            <a:avLst/>
          </a:prstGeom>
        </p:spPr>
      </p:pic>
      <p:pic>
        <p:nvPicPr>
          <p:cNvPr id="155" name="Graphic 154" descr="Money">
            <a:extLst>
              <a:ext uri="{FF2B5EF4-FFF2-40B4-BE49-F238E27FC236}">
                <a16:creationId xmlns:a16="http://schemas.microsoft.com/office/drawing/2014/main" id="{AB1E46C8-AE71-28D2-CB5E-A5B16BB7EE60}"/>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267923" y="5736816"/>
            <a:ext cx="724960" cy="724960"/>
          </a:xfrm>
          <a:prstGeom prst="rect">
            <a:avLst/>
          </a:prstGeom>
        </p:spPr>
      </p:pic>
      <p:pic>
        <p:nvPicPr>
          <p:cNvPr id="156" name="Graphic 155" descr="Ui Ux with solid fill">
            <a:extLst>
              <a:ext uri="{FF2B5EF4-FFF2-40B4-BE49-F238E27FC236}">
                <a16:creationId xmlns:a16="http://schemas.microsoft.com/office/drawing/2014/main" id="{EF56443E-4883-0B3C-8077-3CADCFD0DF26}"/>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3492898" y="5897880"/>
            <a:ext cx="675422" cy="675422"/>
          </a:xfrm>
          <a:prstGeom prst="rect">
            <a:avLst/>
          </a:prstGeom>
        </p:spPr>
      </p:pic>
      <p:pic>
        <p:nvPicPr>
          <p:cNvPr id="157" name="Graphic 156" descr="Workflow with solid fill">
            <a:extLst>
              <a:ext uri="{FF2B5EF4-FFF2-40B4-BE49-F238E27FC236}">
                <a16:creationId xmlns:a16="http://schemas.microsoft.com/office/drawing/2014/main" id="{824F61D0-FDAE-025C-90F6-8A001B288374}"/>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5681165" y="4423682"/>
            <a:ext cx="750198" cy="750198"/>
          </a:xfrm>
          <a:prstGeom prst="rect">
            <a:avLst/>
          </a:prstGeom>
        </p:spPr>
      </p:pic>
      <p:grpSp>
        <p:nvGrpSpPr>
          <p:cNvPr id="158" name="Analytics9" descr="{&quot;Key&quot;:&quot;POWER_USER_SHAPE_ICON&quot;,&quot;Value&quot;:&quot;POWER_USER_SHAPE_ICON_STYLE_1&quot;}">
            <a:extLst>
              <a:ext uri="{FF2B5EF4-FFF2-40B4-BE49-F238E27FC236}">
                <a16:creationId xmlns:a16="http://schemas.microsoft.com/office/drawing/2014/main" id="{247EB154-9B8E-73FD-2105-2C4DDCE815FB}"/>
              </a:ext>
            </a:extLst>
          </p:cNvPr>
          <p:cNvGrpSpPr>
            <a:grpSpLocks noChangeAspect="1"/>
          </p:cNvGrpSpPr>
          <p:nvPr>
            <p:custDataLst>
              <p:tags r:id="rId3"/>
            </p:custDataLst>
          </p:nvPr>
        </p:nvGrpSpPr>
        <p:grpSpPr>
          <a:xfrm>
            <a:off x="5757358" y="5844193"/>
            <a:ext cx="651145" cy="499237"/>
            <a:chOff x="4157663" y="1574800"/>
            <a:chExt cx="935038" cy="793750"/>
          </a:xfrm>
          <a:solidFill>
            <a:schemeClr val="tx1"/>
          </a:solidFill>
        </p:grpSpPr>
        <p:sp>
          <p:nvSpPr>
            <p:cNvPr id="159" name="Freeform 127">
              <a:extLst>
                <a:ext uri="{FF2B5EF4-FFF2-40B4-BE49-F238E27FC236}">
                  <a16:creationId xmlns:a16="http://schemas.microsoft.com/office/drawing/2014/main" id="{DEF0669F-7087-F604-395F-BA3F9B0BC6BB}"/>
                </a:ext>
              </a:extLst>
            </p:cNvPr>
            <p:cNvSpPr>
              <a:spLocks/>
            </p:cNvSpPr>
            <p:nvPr/>
          </p:nvSpPr>
          <p:spPr bwMode="auto">
            <a:xfrm>
              <a:off x="4157663" y="1846262"/>
              <a:ext cx="306388" cy="177800"/>
            </a:xfrm>
            <a:custGeom>
              <a:avLst/>
              <a:gdLst>
                <a:gd name="T0" fmla="*/ 74 w 402"/>
                <a:gd name="T1" fmla="*/ 196 h 233"/>
                <a:gd name="T2" fmla="*/ 72 w 402"/>
                <a:gd name="T3" fmla="*/ 184 h 233"/>
                <a:gd name="T4" fmla="*/ 127 w 402"/>
                <a:gd name="T5" fmla="*/ 122 h 233"/>
                <a:gd name="T6" fmla="*/ 142 w 402"/>
                <a:gd name="T7" fmla="*/ 126 h 233"/>
                <a:gd name="T8" fmla="*/ 172 w 402"/>
                <a:gd name="T9" fmla="*/ 110 h 233"/>
                <a:gd name="T10" fmla="*/ 240 w 402"/>
                <a:gd name="T11" fmla="*/ 134 h 233"/>
                <a:gd name="T12" fmla="*/ 240 w 402"/>
                <a:gd name="T13" fmla="*/ 134 h 233"/>
                <a:gd name="T14" fmla="*/ 277 w 402"/>
                <a:gd name="T15" fmla="*/ 171 h 233"/>
                <a:gd name="T16" fmla="*/ 314 w 402"/>
                <a:gd name="T17" fmla="*/ 134 h 233"/>
                <a:gd name="T18" fmla="*/ 310 w 402"/>
                <a:gd name="T19" fmla="*/ 118 h 233"/>
                <a:gd name="T20" fmla="*/ 354 w 402"/>
                <a:gd name="T21" fmla="*/ 72 h 233"/>
                <a:gd name="T22" fmla="*/ 365 w 402"/>
                <a:gd name="T23" fmla="*/ 74 h 233"/>
                <a:gd name="T24" fmla="*/ 402 w 402"/>
                <a:gd name="T25" fmla="*/ 37 h 233"/>
                <a:gd name="T26" fmla="*/ 365 w 402"/>
                <a:gd name="T27" fmla="*/ 0 h 233"/>
                <a:gd name="T28" fmla="*/ 329 w 402"/>
                <a:gd name="T29" fmla="*/ 37 h 233"/>
                <a:gd name="T30" fmla="*/ 331 w 402"/>
                <a:gd name="T31" fmla="*/ 50 h 233"/>
                <a:gd name="T32" fmla="*/ 285 w 402"/>
                <a:gd name="T33" fmla="*/ 99 h 233"/>
                <a:gd name="T34" fmla="*/ 277 w 402"/>
                <a:gd name="T35" fmla="*/ 97 h 233"/>
                <a:gd name="T36" fmla="*/ 254 w 402"/>
                <a:gd name="T37" fmla="*/ 105 h 233"/>
                <a:gd name="T38" fmla="*/ 177 w 402"/>
                <a:gd name="T39" fmla="*/ 78 h 233"/>
                <a:gd name="T40" fmla="*/ 142 w 402"/>
                <a:gd name="T41" fmla="*/ 52 h 233"/>
                <a:gd name="T42" fmla="*/ 105 w 402"/>
                <a:gd name="T43" fmla="*/ 89 h 233"/>
                <a:gd name="T44" fmla="*/ 106 w 402"/>
                <a:gd name="T45" fmla="*/ 98 h 233"/>
                <a:gd name="T46" fmla="*/ 50 w 402"/>
                <a:gd name="T47" fmla="*/ 162 h 233"/>
                <a:gd name="T48" fmla="*/ 37 w 402"/>
                <a:gd name="T49" fmla="*/ 159 h 233"/>
                <a:gd name="T50" fmla="*/ 0 w 402"/>
                <a:gd name="T51" fmla="*/ 196 h 233"/>
                <a:gd name="T52" fmla="*/ 37 w 402"/>
                <a:gd name="T53" fmla="*/ 233 h 233"/>
                <a:gd name="T54" fmla="*/ 74 w 402"/>
                <a:gd name="T55" fmla="*/ 19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2" h="233">
                  <a:moveTo>
                    <a:pt x="74" y="196"/>
                  </a:moveTo>
                  <a:cubicBezTo>
                    <a:pt x="74" y="192"/>
                    <a:pt x="73" y="188"/>
                    <a:pt x="72" y="184"/>
                  </a:cubicBezTo>
                  <a:lnTo>
                    <a:pt x="127" y="122"/>
                  </a:lnTo>
                  <a:cubicBezTo>
                    <a:pt x="131" y="124"/>
                    <a:pt x="136" y="126"/>
                    <a:pt x="142" y="126"/>
                  </a:cubicBezTo>
                  <a:cubicBezTo>
                    <a:pt x="154" y="126"/>
                    <a:pt x="165" y="119"/>
                    <a:pt x="172" y="110"/>
                  </a:cubicBezTo>
                  <a:lnTo>
                    <a:pt x="240" y="134"/>
                  </a:lnTo>
                  <a:cubicBezTo>
                    <a:pt x="240" y="134"/>
                    <a:pt x="240" y="134"/>
                    <a:pt x="240" y="134"/>
                  </a:cubicBezTo>
                  <a:cubicBezTo>
                    <a:pt x="240" y="155"/>
                    <a:pt x="257" y="171"/>
                    <a:pt x="277" y="171"/>
                  </a:cubicBezTo>
                  <a:cubicBezTo>
                    <a:pt x="297" y="171"/>
                    <a:pt x="314" y="155"/>
                    <a:pt x="314" y="134"/>
                  </a:cubicBezTo>
                  <a:cubicBezTo>
                    <a:pt x="314" y="128"/>
                    <a:pt x="312" y="123"/>
                    <a:pt x="310" y="118"/>
                  </a:cubicBezTo>
                  <a:lnTo>
                    <a:pt x="354" y="72"/>
                  </a:lnTo>
                  <a:cubicBezTo>
                    <a:pt x="357" y="73"/>
                    <a:pt x="361" y="74"/>
                    <a:pt x="365" y="74"/>
                  </a:cubicBezTo>
                  <a:cubicBezTo>
                    <a:pt x="386" y="74"/>
                    <a:pt x="402" y="57"/>
                    <a:pt x="402" y="37"/>
                  </a:cubicBezTo>
                  <a:cubicBezTo>
                    <a:pt x="402" y="17"/>
                    <a:pt x="386" y="0"/>
                    <a:pt x="365" y="0"/>
                  </a:cubicBezTo>
                  <a:cubicBezTo>
                    <a:pt x="345" y="0"/>
                    <a:pt x="329" y="17"/>
                    <a:pt x="329" y="37"/>
                  </a:cubicBezTo>
                  <a:cubicBezTo>
                    <a:pt x="329" y="42"/>
                    <a:pt x="329" y="46"/>
                    <a:pt x="331" y="50"/>
                  </a:cubicBezTo>
                  <a:lnTo>
                    <a:pt x="285" y="99"/>
                  </a:lnTo>
                  <a:cubicBezTo>
                    <a:pt x="283" y="98"/>
                    <a:pt x="280" y="97"/>
                    <a:pt x="277" y="97"/>
                  </a:cubicBezTo>
                  <a:cubicBezTo>
                    <a:pt x="268" y="97"/>
                    <a:pt x="261" y="101"/>
                    <a:pt x="254" y="105"/>
                  </a:cubicBezTo>
                  <a:lnTo>
                    <a:pt x="177" y="78"/>
                  </a:lnTo>
                  <a:cubicBezTo>
                    <a:pt x="172" y="63"/>
                    <a:pt x="158" y="52"/>
                    <a:pt x="142" y="52"/>
                  </a:cubicBezTo>
                  <a:cubicBezTo>
                    <a:pt x="121" y="52"/>
                    <a:pt x="105" y="68"/>
                    <a:pt x="105" y="89"/>
                  </a:cubicBezTo>
                  <a:cubicBezTo>
                    <a:pt x="105" y="92"/>
                    <a:pt x="106" y="95"/>
                    <a:pt x="106" y="98"/>
                  </a:cubicBezTo>
                  <a:lnTo>
                    <a:pt x="50" y="162"/>
                  </a:lnTo>
                  <a:cubicBezTo>
                    <a:pt x="46" y="160"/>
                    <a:pt x="42" y="159"/>
                    <a:pt x="37" y="159"/>
                  </a:cubicBezTo>
                  <a:cubicBezTo>
                    <a:pt x="17" y="159"/>
                    <a:pt x="0" y="175"/>
                    <a:pt x="0" y="196"/>
                  </a:cubicBezTo>
                  <a:cubicBezTo>
                    <a:pt x="0" y="216"/>
                    <a:pt x="17" y="233"/>
                    <a:pt x="37" y="233"/>
                  </a:cubicBezTo>
                  <a:cubicBezTo>
                    <a:pt x="57" y="233"/>
                    <a:pt x="74" y="216"/>
                    <a:pt x="74" y="19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0" name="Rectangle 128">
              <a:extLst>
                <a:ext uri="{FF2B5EF4-FFF2-40B4-BE49-F238E27FC236}">
                  <a16:creationId xmlns:a16="http://schemas.microsoft.com/office/drawing/2014/main" id="{783026FF-FE0D-8851-B1CC-163F0926D24A}"/>
                </a:ext>
              </a:extLst>
            </p:cNvPr>
            <p:cNvSpPr>
              <a:spLocks noChangeArrowheads="1"/>
            </p:cNvSpPr>
            <p:nvPr/>
          </p:nvSpPr>
          <p:spPr bwMode="auto">
            <a:xfrm>
              <a:off x="4230688" y="1662112"/>
              <a:ext cx="46038" cy="1270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1" name="Rectangle 129">
              <a:extLst>
                <a:ext uri="{FF2B5EF4-FFF2-40B4-BE49-F238E27FC236}">
                  <a16:creationId xmlns:a16="http://schemas.microsoft.com/office/drawing/2014/main" id="{5B78FA66-23A9-5E21-DC01-6AFC50E57524}"/>
                </a:ext>
              </a:extLst>
            </p:cNvPr>
            <p:cNvSpPr>
              <a:spLocks noChangeArrowheads="1"/>
            </p:cNvSpPr>
            <p:nvPr/>
          </p:nvSpPr>
          <p:spPr bwMode="auto">
            <a:xfrm>
              <a:off x="4394201" y="1630362"/>
              <a:ext cx="47625" cy="158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2" name="Rectangle 130">
              <a:extLst>
                <a:ext uri="{FF2B5EF4-FFF2-40B4-BE49-F238E27FC236}">
                  <a16:creationId xmlns:a16="http://schemas.microsoft.com/office/drawing/2014/main" id="{71CD5021-AAF3-E3DB-D203-EC0D15B0EB56}"/>
                </a:ext>
              </a:extLst>
            </p:cNvPr>
            <p:cNvSpPr>
              <a:spLocks noChangeArrowheads="1"/>
            </p:cNvSpPr>
            <p:nvPr/>
          </p:nvSpPr>
          <p:spPr bwMode="auto">
            <a:xfrm>
              <a:off x="4313238" y="1574800"/>
              <a:ext cx="46038" cy="2143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3" name="Freeform 131">
              <a:extLst>
                <a:ext uri="{FF2B5EF4-FFF2-40B4-BE49-F238E27FC236}">
                  <a16:creationId xmlns:a16="http://schemas.microsoft.com/office/drawing/2014/main" id="{389F0BCE-15D7-5EC2-D3E1-550AF0C15B7F}"/>
                </a:ext>
              </a:extLst>
            </p:cNvPr>
            <p:cNvSpPr>
              <a:spLocks/>
            </p:cNvSpPr>
            <p:nvPr/>
          </p:nvSpPr>
          <p:spPr bwMode="auto">
            <a:xfrm>
              <a:off x="4814888" y="1701800"/>
              <a:ext cx="130175" cy="222250"/>
            </a:xfrm>
            <a:custGeom>
              <a:avLst/>
              <a:gdLst>
                <a:gd name="T0" fmla="*/ 57 w 170"/>
                <a:gd name="T1" fmla="*/ 61 h 292"/>
                <a:gd name="T2" fmla="*/ 64 w 170"/>
                <a:gd name="T3" fmla="*/ 292 h 292"/>
                <a:gd name="T4" fmla="*/ 170 w 170"/>
                <a:gd name="T5" fmla="*/ 165 h 292"/>
                <a:gd name="T6" fmla="*/ 170 w 170"/>
                <a:gd name="T7" fmla="*/ 0 h 292"/>
                <a:gd name="T8" fmla="*/ 57 w 170"/>
                <a:gd name="T9" fmla="*/ 61 h 292"/>
              </a:gdLst>
              <a:ahLst/>
              <a:cxnLst>
                <a:cxn ang="0">
                  <a:pos x="T0" y="T1"/>
                </a:cxn>
                <a:cxn ang="0">
                  <a:pos x="T2" y="T3"/>
                </a:cxn>
                <a:cxn ang="0">
                  <a:pos x="T4" y="T5"/>
                </a:cxn>
                <a:cxn ang="0">
                  <a:pos x="T6" y="T7"/>
                </a:cxn>
                <a:cxn ang="0">
                  <a:pos x="T8" y="T9"/>
                </a:cxn>
              </a:cxnLst>
              <a:rect l="0" t="0" r="r" b="b"/>
              <a:pathLst>
                <a:path w="170" h="292">
                  <a:moveTo>
                    <a:pt x="57" y="61"/>
                  </a:moveTo>
                  <a:cubicBezTo>
                    <a:pt x="0" y="129"/>
                    <a:pt x="4" y="229"/>
                    <a:pt x="64" y="292"/>
                  </a:cubicBezTo>
                  <a:lnTo>
                    <a:pt x="170" y="165"/>
                  </a:lnTo>
                  <a:lnTo>
                    <a:pt x="170" y="0"/>
                  </a:lnTo>
                  <a:cubicBezTo>
                    <a:pt x="125" y="5"/>
                    <a:pt x="87" y="25"/>
                    <a:pt x="57" y="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4" name="Freeform 132">
              <a:extLst>
                <a:ext uri="{FF2B5EF4-FFF2-40B4-BE49-F238E27FC236}">
                  <a16:creationId xmlns:a16="http://schemas.microsoft.com/office/drawing/2014/main" id="{764DD864-78ED-1529-EFFB-E32F42AFCDFA}"/>
                </a:ext>
              </a:extLst>
            </p:cNvPr>
            <p:cNvSpPr>
              <a:spLocks/>
            </p:cNvSpPr>
            <p:nvPr/>
          </p:nvSpPr>
          <p:spPr bwMode="auto">
            <a:xfrm>
              <a:off x="4887913" y="1851025"/>
              <a:ext cx="200025" cy="115888"/>
            </a:xfrm>
            <a:custGeom>
              <a:avLst/>
              <a:gdLst>
                <a:gd name="T0" fmla="*/ 103 w 261"/>
                <a:gd name="T1" fmla="*/ 0 h 151"/>
                <a:gd name="T2" fmla="*/ 0 w 261"/>
                <a:gd name="T3" fmla="*/ 123 h 151"/>
                <a:gd name="T4" fmla="*/ 64 w 261"/>
                <a:gd name="T5" fmla="*/ 148 h 151"/>
                <a:gd name="T6" fmla="*/ 95 w 261"/>
                <a:gd name="T7" fmla="*/ 151 h 151"/>
                <a:gd name="T8" fmla="*/ 261 w 261"/>
                <a:gd name="T9" fmla="*/ 27 h 151"/>
                <a:gd name="T10" fmla="*/ 103 w 261"/>
                <a:gd name="T11" fmla="*/ 0 h 151"/>
              </a:gdLst>
              <a:ahLst/>
              <a:cxnLst>
                <a:cxn ang="0">
                  <a:pos x="T0" y="T1"/>
                </a:cxn>
                <a:cxn ang="0">
                  <a:pos x="T2" y="T3"/>
                </a:cxn>
                <a:cxn ang="0">
                  <a:pos x="T4" y="T5"/>
                </a:cxn>
                <a:cxn ang="0">
                  <a:pos x="T6" y="T7"/>
                </a:cxn>
                <a:cxn ang="0">
                  <a:pos x="T8" y="T9"/>
                </a:cxn>
                <a:cxn ang="0">
                  <a:pos x="T10" y="T11"/>
                </a:cxn>
              </a:cxnLst>
              <a:rect l="0" t="0" r="r" b="b"/>
              <a:pathLst>
                <a:path w="261" h="151">
                  <a:moveTo>
                    <a:pt x="103" y="0"/>
                  </a:moveTo>
                  <a:lnTo>
                    <a:pt x="0" y="123"/>
                  </a:lnTo>
                  <a:cubicBezTo>
                    <a:pt x="19" y="136"/>
                    <a:pt x="40" y="144"/>
                    <a:pt x="64" y="148"/>
                  </a:cubicBezTo>
                  <a:cubicBezTo>
                    <a:pt x="75" y="150"/>
                    <a:pt x="85" y="151"/>
                    <a:pt x="95" y="151"/>
                  </a:cubicBezTo>
                  <a:cubicBezTo>
                    <a:pt x="172" y="151"/>
                    <a:pt x="239" y="100"/>
                    <a:pt x="261" y="27"/>
                  </a:cubicBezTo>
                  <a:lnTo>
                    <a:pt x="10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5" name="Freeform 133">
              <a:extLst>
                <a:ext uri="{FF2B5EF4-FFF2-40B4-BE49-F238E27FC236}">
                  <a16:creationId xmlns:a16="http://schemas.microsoft.com/office/drawing/2014/main" id="{C4C317DD-7791-378A-6962-F77EDC82B6EE}"/>
                </a:ext>
              </a:extLst>
            </p:cNvPr>
            <p:cNvSpPr>
              <a:spLocks/>
            </p:cNvSpPr>
            <p:nvPr/>
          </p:nvSpPr>
          <p:spPr bwMode="auto">
            <a:xfrm>
              <a:off x="4976813" y="1701800"/>
              <a:ext cx="115888" cy="138113"/>
            </a:xfrm>
            <a:custGeom>
              <a:avLst/>
              <a:gdLst>
                <a:gd name="T0" fmla="*/ 0 w 153"/>
                <a:gd name="T1" fmla="*/ 0 h 182"/>
                <a:gd name="T2" fmla="*/ 0 w 153"/>
                <a:gd name="T3" fmla="*/ 155 h 182"/>
                <a:gd name="T4" fmla="*/ 152 w 153"/>
                <a:gd name="T5" fmla="*/ 182 h 182"/>
                <a:gd name="T6" fmla="*/ 153 w 153"/>
                <a:gd name="T7" fmla="*/ 173 h 182"/>
                <a:gd name="T8" fmla="*/ 0 w 153"/>
                <a:gd name="T9" fmla="*/ 0 h 182"/>
              </a:gdLst>
              <a:ahLst/>
              <a:cxnLst>
                <a:cxn ang="0">
                  <a:pos x="T0" y="T1"/>
                </a:cxn>
                <a:cxn ang="0">
                  <a:pos x="T2" y="T3"/>
                </a:cxn>
                <a:cxn ang="0">
                  <a:pos x="T4" y="T5"/>
                </a:cxn>
                <a:cxn ang="0">
                  <a:pos x="T6" y="T7"/>
                </a:cxn>
                <a:cxn ang="0">
                  <a:pos x="T8" y="T9"/>
                </a:cxn>
              </a:cxnLst>
              <a:rect l="0" t="0" r="r" b="b"/>
              <a:pathLst>
                <a:path w="153" h="182">
                  <a:moveTo>
                    <a:pt x="0" y="0"/>
                  </a:moveTo>
                  <a:lnTo>
                    <a:pt x="0" y="155"/>
                  </a:lnTo>
                  <a:lnTo>
                    <a:pt x="152" y="182"/>
                  </a:lnTo>
                  <a:cubicBezTo>
                    <a:pt x="153" y="179"/>
                    <a:pt x="153" y="176"/>
                    <a:pt x="153" y="173"/>
                  </a:cubicBezTo>
                  <a:cubicBezTo>
                    <a:pt x="153" y="84"/>
                    <a:pt x="86" y="1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6" name="Oval 134">
              <a:extLst>
                <a:ext uri="{FF2B5EF4-FFF2-40B4-BE49-F238E27FC236}">
                  <a16:creationId xmlns:a16="http://schemas.microsoft.com/office/drawing/2014/main" id="{DDD0431B-1081-3A57-3EFA-2C07AEE64403}"/>
                </a:ext>
              </a:extLst>
            </p:cNvPr>
            <p:cNvSpPr>
              <a:spLocks noChangeArrowheads="1"/>
            </p:cNvSpPr>
            <p:nvPr/>
          </p:nvSpPr>
          <p:spPr bwMode="auto">
            <a:xfrm>
              <a:off x="4495801" y="1604962"/>
              <a:ext cx="296863" cy="2968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7" name="Freeform 135">
              <a:extLst>
                <a:ext uri="{FF2B5EF4-FFF2-40B4-BE49-F238E27FC236}">
                  <a16:creationId xmlns:a16="http://schemas.microsoft.com/office/drawing/2014/main" id="{72892451-03EA-F801-5D5C-9FE609B84068}"/>
                </a:ext>
              </a:extLst>
            </p:cNvPr>
            <p:cNvSpPr>
              <a:spLocks noEditPoints="1"/>
            </p:cNvSpPr>
            <p:nvPr/>
          </p:nvSpPr>
          <p:spPr bwMode="auto">
            <a:xfrm>
              <a:off x="4310063" y="1925637"/>
              <a:ext cx="668338" cy="442913"/>
            </a:xfrm>
            <a:custGeom>
              <a:avLst/>
              <a:gdLst>
                <a:gd name="T0" fmla="*/ 697 w 879"/>
                <a:gd name="T1" fmla="*/ 542 h 580"/>
                <a:gd name="T2" fmla="*/ 181 w 879"/>
                <a:gd name="T3" fmla="*/ 542 h 580"/>
                <a:gd name="T4" fmla="*/ 181 w 879"/>
                <a:gd name="T5" fmla="*/ 223 h 580"/>
                <a:gd name="T6" fmla="*/ 201 w 879"/>
                <a:gd name="T7" fmla="*/ 203 h 580"/>
                <a:gd name="T8" fmla="*/ 677 w 879"/>
                <a:gd name="T9" fmla="*/ 203 h 580"/>
                <a:gd name="T10" fmla="*/ 697 w 879"/>
                <a:gd name="T11" fmla="*/ 223 h 580"/>
                <a:gd name="T12" fmla="*/ 697 w 879"/>
                <a:gd name="T13" fmla="*/ 542 h 580"/>
                <a:gd name="T14" fmla="*/ 562 w 879"/>
                <a:gd name="T15" fmla="*/ 4 h 580"/>
                <a:gd name="T16" fmla="*/ 439 w 879"/>
                <a:gd name="T17" fmla="*/ 101 h 580"/>
                <a:gd name="T18" fmla="*/ 312 w 879"/>
                <a:gd name="T19" fmla="*/ 0 h 580"/>
                <a:gd name="T20" fmla="*/ 96 w 879"/>
                <a:gd name="T21" fmla="*/ 241 h 580"/>
                <a:gd name="T22" fmla="*/ 96 w 879"/>
                <a:gd name="T23" fmla="*/ 322 h 580"/>
                <a:gd name="T24" fmla="*/ 0 w 879"/>
                <a:gd name="T25" fmla="*/ 322 h 580"/>
                <a:gd name="T26" fmla="*/ 0 w 879"/>
                <a:gd name="T27" fmla="*/ 371 h 580"/>
                <a:gd name="T28" fmla="*/ 144 w 879"/>
                <a:gd name="T29" fmla="*/ 371 h 580"/>
                <a:gd name="T30" fmla="*/ 144 w 879"/>
                <a:gd name="T31" fmla="*/ 431 h 580"/>
                <a:gd name="T32" fmla="*/ 120 w 879"/>
                <a:gd name="T33" fmla="*/ 431 h 580"/>
                <a:gd name="T34" fmla="*/ 100 w 879"/>
                <a:gd name="T35" fmla="*/ 442 h 580"/>
                <a:gd name="T36" fmla="*/ 97 w 879"/>
                <a:gd name="T37" fmla="*/ 464 h 580"/>
                <a:gd name="T38" fmla="*/ 133 w 879"/>
                <a:gd name="T39" fmla="*/ 563 h 580"/>
                <a:gd name="T40" fmla="*/ 156 w 879"/>
                <a:gd name="T41" fmla="*/ 580 h 580"/>
                <a:gd name="T42" fmla="*/ 722 w 879"/>
                <a:gd name="T43" fmla="*/ 580 h 580"/>
                <a:gd name="T44" fmla="*/ 745 w 879"/>
                <a:gd name="T45" fmla="*/ 563 h 580"/>
                <a:gd name="T46" fmla="*/ 781 w 879"/>
                <a:gd name="T47" fmla="*/ 464 h 580"/>
                <a:gd name="T48" fmla="*/ 779 w 879"/>
                <a:gd name="T49" fmla="*/ 442 h 580"/>
                <a:gd name="T50" fmla="*/ 758 w 879"/>
                <a:gd name="T51" fmla="*/ 431 h 580"/>
                <a:gd name="T52" fmla="*/ 734 w 879"/>
                <a:gd name="T53" fmla="*/ 431 h 580"/>
                <a:gd name="T54" fmla="*/ 734 w 879"/>
                <a:gd name="T55" fmla="*/ 371 h 580"/>
                <a:gd name="T56" fmla="*/ 879 w 879"/>
                <a:gd name="T57" fmla="*/ 371 h 580"/>
                <a:gd name="T58" fmla="*/ 879 w 879"/>
                <a:gd name="T59" fmla="*/ 322 h 580"/>
                <a:gd name="T60" fmla="*/ 782 w 879"/>
                <a:gd name="T61" fmla="*/ 322 h 580"/>
                <a:gd name="T62" fmla="*/ 782 w 879"/>
                <a:gd name="T63" fmla="*/ 241 h 580"/>
                <a:gd name="T64" fmla="*/ 562 w 879"/>
                <a:gd name="T65" fmla="*/ 4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9" h="580">
                  <a:moveTo>
                    <a:pt x="697" y="542"/>
                  </a:moveTo>
                  <a:lnTo>
                    <a:pt x="181" y="542"/>
                  </a:lnTo>
                  <a:lnTo>
                    <a:pt x="181" y="223"/>
                  </a:lnTo>
                  <a:cubicBezTo>
                    <a:pt x="181" y="212"/>
                    <a:pt x="190" y="203"/>
                    <a:pt x="201" y="203"/>
                  </a:cubicBezTo>
                  <a:lnTo>
                    <a:pt x="677" y="203"/>
                  </a:lnTo>
                  <a:cubicBezTo>
                    <a:pt x="688" y="203"/>
                    <a:pt x="697" y="212"/>
                    <a:pt x="697" y="223"/>
                  </a:cubicBezTo>
                  <a:lnTo>
                    <a:pt x="697" y="542"/>
                  </a:lnTo>
                  <a:close/>
                  <a:moveTo>
                    <a:pt x="562" y="4"/>
                  </a:moveTo>
                  <a:lnTo>
                    <a:pt x="439" y="101"/>
                  </a:lnTo>
                  <a:lnTo>
                    <a:pt x="312" y="0"/>
                  </a:lnTo>
                  <a:cubicBezTo>
                    <a:pt x="185" y="25"/>
                    <a:pt x="96" y="95"/>
                    <a:pt x="96" y="241"/>
                  </a:cubicBezTo>
                  <a:lnTo>
                    <a:pt x="96" y="322"/>
                  </a:lnTo>
                  <a:lnTo>
                    <a:pt x="0" y="322"/>
                  </a:lnTo>
                  <a:lnTo>
                    <a:pt x="0" y="371"/>
                  </a:lnTo>
                  <a:lnTo>
                    <a:pt x="144" y="371"/>
                  </a:lnTo>
                  <a:lnTo>
                    <a:pt x="144" y="431"/>
                  </a:lnTo>
                  <a:lnTo>
                    <a:pt x="120" y="431"/>
                  </a:lnTo>
                  <a:cubicBezTo>
                    <a:pt x="112" y="431"/>
                    <a:pt x="104" y="435"/>
                    <a:pt x="100" y="442"/>
                  </a:cubicBezTo>
                  <a:cubicBezTo>
                    <a:pt x="95" y="448"/>
                    <a:pt x="94" y="457"/>
                    <a:pt x="97" y="464"/>
                  </a:cubicBezTo>
                  <a:lnTo>
                    <a:pt x="133" y="563"/>
                  </a:lnTo>
                  <a:cubicBezTo>
                    <a:pt x="136" y="573"/>
                    <a:pt x="146" y="580"/>
                    <a:pt x="156" y="580"/>
                  </a:cubicBezTo>
                  <a:lnTo>
                    <a:pt x="722" y="580"/>
                  </a:lnTo>
                  <a:cubicBezTo>
                    <a:pt x="733" y="580"/>
                    <a:pt x="742" y="573"/>
                    <a:pt x="745" y="563"/>
                  </a:cubicBezTo>
                  <a:lnTo>
                    <a:pt x="781" y="464"/>
                  </a:lnTo>
                  <a:cubicBezTo>
                    <a:pt x="784" y="456"/>
                    <a:pt x="783" y="448"/>
                    <a:pt x="779" y="442"/>
                  </a:cubicBezTo>
                  <a:cubicBezTo>
                    <a:pt x="774" y="435"/>
                    <a:pt x="766" y="431"/>
                    <a:pt x="758" y="431"/>
                  </a:cubicBezTo>
                  <a:lnTo>
                    <a:pt x="734" y="431"/>
                  </a:lnTo>
                  <a:lnTo>
                    <a:pt x="734" y="371"/>
                  </a:lnTo>
                  <a:lnTo>
                    <a:pt x="879" y="371"/>
                  </a:lnTo>
                  <a:lnTo>
                    <a:pt x="879" y="322"/>
                  </a:lnTo>
                  <a:lnTo>
                    <a:pt x="782" y="322"/>
                  </a:lnTo>
                  <a:lnTo>
                    <a:pt x="782" y="241"/>
                  </a:lnTo>
                  <a:cubicBezTo>
                    <a:pt x="782" y="118"/>
                    <a:pt x="691" y="35"/>
                    <a:pt x="562"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8" name="Oval 136">
              <a:extLst>
                <a:ext uri="{FF2B5EF4-FFF2-40B4-BE49-F238E27FC236}">
                  <a16:creationId xmlns:a16="http://schemas.microsoft.com/office/drawing/2014/main" id="{109B376D-CFEA-FA66-3CCA-216F4269A6FD}"/>
                </a:ext>
              </a:extLst>
            </p:cNvPr>
            <p:cNvSpPr>
              <a:spLocks noChangeArrowheads="1"/>
            </p:cNvSpPr>
            <p:nvPr/>
          </p:nvSpPr>
          <p:spPr bwMode="auto">
            <a:xfrm>
              <a:off x="4610101" y="2179637"/>
              <a:ext cx="68263" cy="698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grpSp>
      <p:pic>
        <p:nvPicPr>
          <p:cNvPr id="6" name="Graphic 5" descr="Upward trend with solid fill">
            <a:extLst>
              <a:ext uri="{FF2B5EF4-FFF2-40B4-BE49-F238E27FC236}">
                <a16:creationId xmlns:a16="http://schemas.microsoft.com/office/drawing/2014/main" id="{C25DAC37-5C32-50FA-28DC-A2C8E8982FB9}"/>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7951648" y="5817452"/>
            <a:ext cx="597992" cy="597992"/>
          </a:xfrm>
          <a:prstGeom prst="rect">
            <a:avLst/>
          </a:prstGeom>
        </p:spPr>
      </p:pic>
    </p:spTree>
    <p:extLst>
      <p:ext uri="{BB962C8B-B14F-4D97-AF65-F5344CB8AC3E}">
        <p14:creationId xmlns:p14="http://schemas.microsoft.com/office/powerpoint/2010/main" val="2511350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700" dirty="0"/>
              <a:t>Each Management Consulting Toolkit includes:</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2" name="Shape 59118">
            <a:extLst>
              <a:ext uri="{FF2B5EF4-FFF2-40B4-BE49-F238E27FC236}">
                <a16:creationId xmlns:a16="http://schemas.microsoft.com/office/drawing/2014/main" id="{D94CA5E2-DC9A-974F-568B-3F150BB05731}"/>
              </a:ext>
            </a:extLst>
          </p:cNvPr>
          <p:cNvSpPr/>
          <p:nvPr/>
        </p:nvSpPr>
        <p:spPr>
          <a:xfrm>
            <a:off x="4535764" y="160672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3" name="Shape 59119">
            <a:extLst>
              <a:ext uri="{FF2B5EF4-FFF2-40B4-BE49-F238E27FC236}">
                <a16:creationId xmlns:a16="http://schemas.microsoft.com/office/drawing/2014/main" id="{031230EE-BD61-E848-7557-CA81844C95D7}"/>
              </a:ext>
            </a:extLst>
          </p:cNvPr>
          <p:cNvSpPr/>
          <p:nvPr/>
        </p:nvSpPr>
        <p:spPr>
          <a:xfrm>
            <a:off x="3839920" y="2310937"/>
            <a:ext cx="1748041" cy="1595195"/>
          </a:xfrm>
          <a:custGeom>
            <a:avLst/>
            <a:gdLst/>
            <a:ahLst/>
            <a:cxnLst>
              <a:cxn ang="0">
                <a:pos x="wd2" y="hd2"/>
              </a:cxn>
              <a:cxn ang="5400000">
                <a:pos x="wd2" y="hd2"/>
              </a:cxn>
              <a:cxn ang="10800000">
                <a:pos x="wd2" y="hd2"/>
              </a:cxn>
              <a:cxn ang="16200000">
                <a:pos x="wd2" y="hd2"/>
              </a:cxn>
            </a:cxnLst>
            <a:rect l="0" t="0" r="r" b="b"/>
            <a:pathLst>
              <a:path w="21600" h="21600" extrusionOk="0">
                <a:moveTo>
                  <a:pt x="8251" y="0"/>
                </a:moveTo>
                <a:cubicBezTo>
                  <a:pt x="5770" y="2801"/>
                  <a:pt x="3749" y="6098"/>
                  <a:pt x="2329" y="9742"/>
                </a:cubicBezTo>
                <a:cubicBezTo>
                  <a:pt x="909" y="13385"/>
                  <a:pt x="88" y="17377"/>
                  <a:pt x="0" y="21573"/>
                </a:cubicBezTo>
                <a:lnTo>
                  <a:pt x="18974" y="21600"/>
                </a:lnTo>
                <a:cubicBezTo>
                  <a:pt x="19085" y="20283"/>
                  <a:pt x="19372" y="19028"/>
                  <a:pt x="19808" y="17861"/>
                </a:cubicBezTo>
                <a:cubicBezTo>
                  <a:pt x="20255" y="16665"/>
                  <a:pt x="20861" y="15555"/>
                  <a:pt x="21600" y="14565"/>
                </a:cubicBezTo>
                <a:lnTo>
                  <a:pt x="8251"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4" name="Shape 59120">
            <a:extLst>
              <a:ext uri="{FF2B5EF4-FFF2-40B4-BE49-F238E27FC236}">
                <a16:creationId xmlns:a16="http://schemas.microsoft.com/office/drawing/2014/main" id="{D601CAFE-6BB8-1B4B-A074-F7F090261945}"/>
              </a:ext>
            </a:extLst>
          </p:cNvPr>
          <p:cNvSpPr/>
          <p:nvPr/>
        </p:nvSpPr>
        <p:spPr>
          <a:xfrm>
            <a:off x="4535764" y="450674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6" name="Shape 59121">
            <a:extLst>
              <a:ext uri="{FF2B5EF4-FFF2-40B4-BE49-F238E27FC236}">
                <a16:creationId xmlns:a16="http://schemas.microsoft.com/office/drawing/2014/main" id="{27649308-7E5D-40C9-4A3A-092042ADD8B8}"/>
              </a:ext>
            </a:extLst>
          </p:cNvPr>
          <p:cNvSpPr/>
          <p:nvPr/>
        </p:nvSpPr>
        <p:spPr>
          <a:xfrm>
            <a:off x="3836459" y="3959230"/>
            <a:ext cx="1753117" cy="1595195"/>
          </a:xfrm>
          <a:custGeom>
            <a:avLst/>
            <a:gdLst/>
            <a:ahLst/>
            <a:cxnLst>
              <a:cxn ang="0">
                <a:pos x="wd2" y="hd2"/>
              </a:cxn>
              <a:cxn ang="5400000">
                <a:pos x="wd2" y="hd2"/>
              </a:cxn>
              <a:cxn ang="10800000">
                <a:pos x="wd2" y="hd2"/>
              </a:cxn>
              <a:cxn ang="16200000">
                <a:pos x="wd2" y="hd2"/>
              </a:cxn>
            </a:cxnLst>
            <a:rect l="0" t="0" r="r" b="b"/>
            <a:pathLst>
              <a:path w="21600" h="21600" extrusionOk="0">
                <a:moveTo>
                  <a:pt x="8142" y="21600"/>
                </a:moveTo>
                <a:cubicBezTo>
                  <a:pt x="5658" y="18808"/>
                  <a:pt x="3642" y="15510"/>
                  <a:pt x="2238" y="11858"/>
                </a:cubicBezTo>
                <a:cubicBezTo>
                  <a:pt x="834" y="8207"/>
                  <a:pt x="42" y="4202"/>
                  <a:pt x="0" y="0"/>
                </a:cubicBezTo>
                <a:lnTo>
                  <a:pt x="18834" y="0"/>
                </a:lnTo>
                <a:cubicBezTo>
                  <a:pt x="18902" y="1327"/>
                  <a:pt x="19193" y="2588"/>
                  <a:pt x="19666" y="3739"/>
                </a:cubicBezTo>
                <a:cubicBezTo>
                  <a:pt x="20140" y="4889"/>
                  <a:pt x="20798" y="5928"/>
                  <a:pt x="21600" y="6810"/>
                </a:cubicBezTo>
                <a:lnTo>
                  <a:pt x="8142"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7" name="Shape 59122">
            <a:extLst>
              <a:ext uri="{FF2B5EF4-FFF2-40B4-BE49-F238E27FC236}">
                <a16:creationId xmlns:a16="http://schemas.microsoft.com/office/drawing/2014/main" id="{896607FE-41E0-8EDC-0509-E9CC4CF9079B}"/>
              </a:ext>
            </a:extLst>
          </p:cNvPr>
          <p:cNvSpPr/>
          <p:nvPr/>
        </p:nvSpPr>
        <p:spPr>
          <a:xfrm flipH="1">
            <a:off x="6182603" y="160672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8" name="Shape 59123">
            <a:extLst>
              <a:ext uri="{FF2B5EF4-FFF2-40B4-BE49-F238E27FC236}">
                <a16:creationId xmlns:a16="http://schemas.microsoft.com/office/drawing/2014/main" id="{2849E573-1E53-8138-A997-8423614879D8}"/>
              </a:ext>
            </a:extLst>
          </p:cNvPr>
          <p:cNvSpPr/>
          <p:nvPr/>
        </p:nvSpPr>
        <p:spPr>
          <a:xfrm flipH="1">
            <a:off x="6720787" y="2310937"/>
            <a:ext cx="1746084" cy="1595195"/>
          </a:xfrm>
          <a:custGeom>
            <a:avLst/>
            <a:gdLst/>
            <a:ahLst/>
            <a:cxnLst>
              <a:cxn ang="0">
                <a:pos x="wd2" y="hd2"/>
              </a:cxn>
              <a:cxn ang="5400000">
                <a:pos x="wd2" y="hd2"/>
              </a:cxn>
              <a:cxn ang="10800000">
                <a:pos x="wd2" y="hd2"/>
              </a:cxn>
              <a:cxn ang="16200000">
                <a:pos x="wd2" y="hd2"/>
              </a:cxn>
            </a:cxnLst>
            <a:rect l="0" t="0" r="r" b="b"/>
            <a:pathLst>
              <a:path w="21600" h="21600" extrusionOk="0">
                <a:moveTo>
                  <a:pt x="8175" y="0"/>
                </a:moveTo>
                <a:cubicBezTo>
                  <a:pt x="5681" y="2792"/>
                  <a:pt x="3656" y="6090"/>
                  <a:pt x="2247" y="9742"/>
                </a:cubicBezTo>
                <a:cubicBezTo>
                  <a:pt x="837" y="13393"/>
                  <a:pt x="42" y="17398"/>
                  <a:pt x="0" y="21600"/>
                </a:cubicBezTo>
                <a:lnTo>
                  <a:pt x="18910" y="21600"/>
                </a:lnTo>
                <a:cubicBezTo>
                  <a:pt x="18996" y="20277"/>
                  <a:pt x="19286" y="19018"/>
                  <a:pt x="19746" y="17861"/>
                </a:cubicBezTo>
                <a:cubicBezTo>
                  <a:pt x="20204" y="16707"/>
                  <a:pt x="20833" y="15651"/>
                  <a:pt x="21600" y="14733"/>
                </a:cubicBezTo>
                <a:lnTo>
                  <a:pt x="8175"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9" name="Shape 59124">
            <a:extLst>
              <a:ext uri="{FF2B5EF4-FFF2-40B4-BE49-F238E27FC236}">
                <a16:creationId xmlns:a16="http://schemas.microsoft.com/office/drawing/2014/main" id="{AEE3211B-9B19-FC97-57D5-741F260DD883}"/>
              </a:ext>
            </a:extLst>
          </p:cNvPr>
          <p:cNvSpPr/>
          <p:nvPr/>
        </p:nvSpPr>
        <p:spPr>
          <a:xfrm flipH="1">
            <a:off x="6182603" y="450674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0" name="Shape 59125">
            <a:extLst>
              <a:ext uri="{FF2B5EF4-FFF2-40B4-BE49-F238E27FC236}">
                <a16:creationId xmlns:a16="http://schemas.microsoft.com/office/drawing/2014/main" id="{1573E357-CB63-3DB7-EC12-05A4CB97DBC6}"/>
              </a:ext>
            </a:extLst>
          </p:cNvPr>
          <p:cNvSpPr/>
          <p:nvPr/>
        </p:nvSpPr>
        <p:spPr>
          <a:xfrm flipH="1">
            <a:off x="6733928" y="3959230"/>
            <a:ext cx="1743255" cy="1595195"/>
          </a:xfrm>
          <a:custGeom>
            <a:avLst/>
            <a:gdLst/>
            <a:ahLst/>
            <a:cxnLst>
              <a:cxn ang="0">
                <a:pos x="wd2" y="hd2"/>
              </a:cxn>
              <a:cxn ang="5400000">
                <a:pos x="wd2" y="hd2"/>
              </a:cxn>
              <a:cxn ang="10800000">
                <a:pos x="wd2" y="hd2"/>
              </a:cxn>
              <a:cxn ang="16200000">
                <a:pos x="wd2" y="hd2"/>
              </a:cxn>
            </a:cxnLst>
            <a:rect l="0" t="0" r="r" b="b"/>
            <a:pathLst>
              <a:path w="21600" h="21600" extrusionOk="0">
                <a:moveTo>
                  <a:pt x="8189" y="21600"/>
                </a:moveTo>
                <a:cubicBezTo>
                  <a:pt x="5690" y="18808"/>
                  <a:pt x="3662" y="15510"/>
                  <a:pt x="2250" y="11858"/>
                </a:cubicBezTo>
                <a:cubicBezTo>
                  <a:pt x="839" y="8207"/>
                  <a:pt x="42" y="4202"/>
                  <a:pt x="0" y="0"/>
                </a:cubicBezTo>
                <a:lnTo>
                  <a:pt x="18941" y="0"/>
                </a:lnTo>
                <a:cubicBezTo>
                  <a:pt x="19037" y="1321"/>
                  <a:pt x="19326" y="2578"/>
                  <a:pt x="19778" y="3739"/>
                </a:cubicBezTo>
                <a:cubicBezTo>
                  <a:pt x="20230" y="4902"/>
                  <a:pt x="20847" y="5973"/>
                  <a:pt x="21600" y="6914"/>
                </a:cubicBezTo>
                <a:lnTo>
                  <a:pt x="8189"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1" name="TextBox 10">
            <a:extLst>
              <a:ext uri="{FF2B5EF4-FFF2-40B4-BE49-F238E27FC236}">
                <a16:creationId xmlns:a16="http://schemas.microsoft.com/office/drawing/2014/main" id="{61C6BB3E-C380-9A95-AA14-C542CCA1A594}"/>
              </a:ext>
            </a:extLst>
          </p:cNvPr>
          <p:cNvSpPr txBox="1"/>
          <p:nvPr/>
        </p:nvSpPr>
        <p:spPr>
          <a:xfrm>
            <a:off x="6154005" y="2438586"/>
            <a:ext cx="1158512" cy="276999"/>
          </a:xfrm>
          <a:prstGeom prst="rect">
            <a:avLst/>
          </a:prstGeom>
          <a:noFill/>
        </p:spPr>
        <p:txBody>
          <a:bodyPr wrap="square" rtlCol="0">
            <a:spAutoFit/>
          </a:bodyPr>
          <a:lstStyle/>
          <a:p>
            <a:pPr algn="ctr"/>
            <a:r>
              <a:rPr lang="en-US" sz="1200" b="1" dirty="0">
                <a:solidFill>
                  <a:schemeClr val="bg1"/>
                </a:solidFill>
              </a:rPr>
              <a:t>Frameworks</a:t>
            </a:r>
          </a:p>
        </p:txBody>
      </p:sp>
      <p:sp>
        <p:nvSpPr>
          <p:cNvPr id="12" name="TextBox 11">
            <a:extLst>
              <a:ext uri="{FF2B5EF4-FFF2-40B4-BE49-F238E27FC236}">
                <a16:creationId xmlns:a16="http://schemas.microsoft.com/office/drawing/2014/main" id="{6F154BA1-0F52-81DC-49DE-3A2B003A2CCD}"/>
              </a:ext>
            </a:extLst>
          </p:cNvPr>
          <p:cNvSpPr txBox="1"/>
          <p:nvPr/>
        </p:nvSpPr>
        <p:spPr>
          <a:xfrm>
            <a:off x="6995112" y="3414317"/>
            <a:ext cx="1317412" cy="276999"/>
          </a:xfrm>
          <a:prstGeom prst="rect">
            <a:avLst/>
          </a:prstGeom>
          <a:noFill/>
        </p:spPr>
        <p:txBody>
          <a:bodyPr wrap="square" rtlCol="0">
            <a:spAutoFit/>
          </a:bodyPr>
          <a:lstStyle/>
          <a:p>
            <a:pPr algn="ctr"/>
            <a:r>
              <a:rPr lang="en-US" sz="1200" b="1" dirty="0">
                <a:solidFill>
                  <a:schemeClr val="bg1"/>
                </a:solidFill>
              </a:rPr>
              <a:t>Tools</a:t>
            </a:r>
          </a:p>
        </p:txBody>
      </p:sp>
      <p:sp>
        <p:nvSpPr>
          <p:cNvPr id="14" name="TextBox 13">
            <a:extLst>
              <a:ext uri="{FF2B5EF4-FFF2-40B4-BE49-F238E27FC236}">
                <a16:creationId xmlns:a16="http://schemas.microsoft.com/office/drawing/2014/main" id="{571085C8-C9D7-0D19-69BC-F77C27D02AD9}"/>
              </a:ext>
            </a:extLst>
          </p:cNvPr>
          <p:cNvSpPr txBox="1"/>
          <p:nvPr/>
        </p:nvSpPr>
        <p:spPr>
          <a:xfrm>
            <a:off x="6956315" y="4612780"/>
            <a:ext cx="1317412" cy="276999"/>
          </a:xfrm>
          <a:prstGeom prst="rect">
            <a:avLst/>
          </a:prstGeom>
          <a:noFill/>
        </p:spPr>
        <p:txBody>
          <a:bodyPr wrap="square" rtlCol="0">
            <a:spAutoFit/>
          </a:bodyPr>
          <a:lstStyle/>
          <a:p>
            <a:pPr algn="ctr"/>
            <a:r>
              <a:rPr lang="en-GB" sz="1200" b="1" dirty="0">
                <a:solidFill>
                  <a:schemeClr val="bg1"/>
                </a:solidFill>
              </a:rPr>
              <a:t>Templates</a:t>
            </a:r>
            <a:endParaRPr lang="en-US" sz="1200" b="1" dirty="0">
              <a:solidFill>
                <a:schemeClr val="bg1"/>
              </a:solidFill>
            </a:endParaRPr>
          </a:p>
        </p:txBody>
      </p:sp>
      <p:sp>
        <p:nvSpPr>
          <p:cNvPr id="15" name="TextBox 14">
            <a:extLst>
              <a:ext uri="{FF2B5EF4-FFF2-40B4-BE49-F238E27FC236}">
                <a16:creationId xmlns:a16="http://schemas.microsoft.com/office/drawing/2014/main" id="{51F58C69-DF56-C3F9-1304-689C5D35FC8E}"/>
              </a:ext>
            </a:extLst>
          </p:cNvPr>
          <p:cNvSpPr txBox="1"/>
          <p:nvPr/>
        </p:nvSpPr>
        <p:spPr>
          <a:xfrm>
            <a:off x="6062081" y="5523448"/>
            <a:ext cx="1317412" cy="461665"/>
          </a:xfrm>
          <a:prstGeom prst="rect">
            <a:avLst/>
          </a:prstGeom>
          <a:noFill/>
        </p:spPr>
        <p:txBody>
          <a:bodyPr wrap="square" rtlCol="0">
            <a:spAutoFit/>
          </a:bodyPr>
          <a:lstStyle/>
          <a:p>
            <a:pPr algn="ctr"/>
            <a:r>
              <a:rPr lang="en-US" sz="1200" b="1" dirty="0">
                <a:solidFill>
                  <a:schemeClr val="bg1"/>
                </a:solidFill>
              </a:rPr>
              <a:t>Step-by-step tutorials</a:t>
            </a:r>
          </a:p>
        </p:txBody>
      </p:sp>
      <p:sp>
        <p:nvSpPr>
          <p:cNvPr id="17" name="TextBox 16">
            <a:extLst>
              <a:ext uri="{FF2B5EF4-FFF2-40B4-BE49-F238E27FC236}">
                <a16:creationId xmlns:a16="http://schemas.microsoft.com/office/drawing/2014/main" id="{6D98DD28-3A3A-475E-FC3B-CAF1E0DCA4D0}"/>
              </a:ext>
            </a:extLst>
          </p:cNvPr>
          <p:cNvSpPr txBox="1"/>
          <p:nvPr/>
        </p:nvSpPr>
        <p:spPr>
          <a:xfrm>
            <a:off x="4834421" y="5439712"/>
            <a:ext cx="1317412" cy="276999"/>
          </a:xfrm>
          <a:prstGeom prst="rect">
            <a:avLst/>
          </a:prstGeom>
          <a:noFill/>
        </p:spPr>
        <p:txBody>
          <a:bodyPr wrap="square" rtlCol="0">
            <a:spAutoFit/>
          </a:bodyPr>
          <a:lstStyle/>
          <a:p>
            <a:pPr algn="ctr"/>
            <a:r>
              <a:rPr lang="en-US" sz="1200" b="1" dirty="0">
                <a:solidFill>
                  <a:schemeClr val="bg1"/>
                </a:solidFill>
              </a:rPr>
              <a:t>Video Training</a:t>
            </a:r>
          </a:p>
        </p:txBody>
      </p:sp>
      <p:sp>
        <p:nvSpPr>
          <p:cNvPr id="18" name="TextBox 17">
            <a:extLst>
              <a:ext uri="{FF2B5EF4-FFF2-40B4-BE49-F238E27FC236}">
                <a16:creationId xmlns:a16="http://schemas.microsoft.com/office/drawing/2014/main" id="{6D2822B5-3889-FC67-C4AA-0A87FE4AD423}"/>
              </a:ext>
            </a:extLst>
          </p:cNvPr>
          <p:cNvSpPr txBox="1"/>
          <p:nvPr/>
        </p:nvSpPr>
        <p:spPr>
          <a:xfrm>
            <a:off x="3941736" y="4566347"/>
            <a:ext cx="1317412" cy="461665"/>
          </a:xfrm>
          <a:prstGeom prst="rect">
            <a:avLst/>
          </a:prstGeom>
          <a:noFill/>
        </p:spPr>
        <p:txBody>
          <a:bodyPr wrap="square" rtlCol="0">
            <a:spAutoFit/>
          </a:bodyPr>
          <a:lstStyle/>
          <a:p>
            <a:pPr algn="ctr"/>
            <a:r>
              <a:rPr lang="en-US" sz="1200" b="1" dirty="0">
                <a:solidFill>
                  <a:schemeClr val="bg1"/>
                </a:solidFill>
              </a:rPr>
              <a:t>Real-life examples</a:t>
            </a:r>
          </a:p>
        </p:txBody>
      </p:sp>
      <p:sp>
        <p:nvSpPr>
          <p:cNvPr id="19" name="TextBox 18">
            <a:extLst>
              <a:ext uri="{FF2B5EF4-FFF2-40B4-BE49-F238E27FC236}">
                <a16:creationId xmlns:a16="http://schemas.microsoft.com/office/drawing/2014/main" id="{118779F3-396B-EBE9-7F1A-0D2380140C1E}"/>
              </a:ext>
            </a:extLst>
          </p:cNvPr>
          <p:cNvSpPr txBox="1"/>
          <p:nvPr/>
        </p:nvSpPr>
        <p:spPr>
          <a:xfrm>
            <a:off x="4872973" y="2423785"/>
            <a:ext cx="1317412" cy="276999"/>
          </a:xfrm>
          <a:prstGeom prst="rect">
            <a:avLst/>
          </a:prstGeom>
          <a:noFill/>
        </p:spPr>
        <p:txBody>
          <a:bodyPr wrap="square" rtlCol="0">
            <a:spAutoFit/>
          </a:bodyPr>
          <a:lstStyle/>
          <a:p>
            <a:pPr algn="ctr"/>
            <a:r>
              <a:rPr lang="en-US" sz="1200" b="1" dirty="0">
                <a:solidFill>
                  <a:schemeClr val="bg1"/>
                </a:solidFill>
              </a:rPr>
              <a:t>Best practices</a:t>
            </a:r>
          </a:p>
        </p:txBody>
      </p:sp>
      <p:sp>
        <p:nvSpPr>
          <p:cNvPr id="20" name="TextBox 19">
            <a:extLst>
              <a:ext uri="{FF2B5EF4-FFF2-40B4-BE49-F238E27FC236}">
                <a16:creationId xmlns:a16="http://schemas.microsoft.com/office/drawing/2014/main" id="{A68F1A8D-CDB7-DB55-4955-2BC8CCA3AD45}"/>
              </a:ext>
            </a:extLst>
          </p:cNvPr>
          <p:cNvSpPr txBox="1"/>
          <p:nvPr/>
        </p:nvSpPr>
        <p:spPr>
          <a:xfrm>
            <a:off x="3908017" y="3141137"/>
            <a:ext cx="1330004" cy="600164"/>
          </a:xfrm>
          <a:prstGeom prst="rect">
            <a:avLst/>
          </a:prstGeom>
          <a:noFill/>
        </p:spPr>
        <p:txBody>
          <a:bodyPr wrap="square" rtlCol="0">
            <a:spAutoFit/>
          </a:bodyPr>
          <a:lstStyle/>
          <a:p>
            <a:pPr algn="ctr"/>
            <a:r>
              <a:rPr lang="en-GB" sz="1100" b="1" dirty="0">
                <a:solidFill>
                  <a:schemeClr val="bg1"/>
                </a:solidFill>
              </a:rPr>
              <a:t>Advise from tier-1 management consultants</a:t>
            </a:r>
          </a:p>
        </p:txBody>
      </p:sp>
      <p:sp>
        <p:nvSpPr>
          <p:cNvPr id="21" name="Oval 20">
            <a:extLst>
              <a:ext uri="{FF2B5EF4-FFF2-40B4-BE49-F238E27FC236}">
                <a16:creationId xmlns:a16="http://schemas.microsoft.com/office/drawing/2014/main" id="{66F0DAB8-53E8-17C9-4DD0-E8AF7C2E52E1}"/>
              </a:ext>
            </a:extLst>
          </p:cNvPr>
          <p:cNvSpPr/>
          <p:nvPr/>
        </p:nvSpPr>
        <p:spPr>
          <a:xfrm>
            <a:off x="5134694" y="2928094"/>
            <a:ext cx="1980000" cy="198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b="1" kern="0" dirty="0"/>
              <a:t>What’s inside our Toolkits?</a:t>
            </a:r>
            <a:endParaRPr lang="en-US" b="1" dirty="0"/>
          </a:p>
        </p:txBody>
      </p:sp>
      <p:pic>
        <p:nvPicPr>
          <p:cNvPr id="22" name="Graphic 21" descr="Arrow circle">
            <a:extLst>
              <a:ext uri="{FF2B5EF4-FFF2-40B4-BE49-F238E27FC236}">
                <a16:creationId xmlns:a16="http://schemas.microsoft.com/office/drawing/2014/main" id="{34D8EA00-19E8-DA60-424A-DCD4C55C89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85259" y="2000880"/>
            <a:ext cx="504000" cy="504000"/>
          </a:xfrm>
          <a:prstGeom prst="rect">
            <a:avLst/>
          </a:prstGeom>
        </p:spPr>
      </p:pic>
      <p:pic>
        <p:nvPicPr>
          <p:cNvPr id="23" name="Graphic 22" descr="Tools">
            <a:extLst>
              <a:ext uri="{FF2B5EF4-FFF2-40B4-BE49-F238E27FC236}">
                <a16:creationId xmlns:a16="http://schemas.microsoft.com/office/drawing/2014/main" id="{17E6A427-9512-3981-84F8-011AB90020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07394" y="2919915"/>
            <a:ext cx="428393" cy="428393"/>
          </a:xfrm>
          <a:prstGeom prst="rect">
            <a:avLst/>
          </a:prstGeom>
        </p:spPr>
      </p:pic>
      <p:pic>
        <p:nvPicPr>
          <p:cNvPr id="24" name="Graphic 23" descr="Presentation with bar chart RTL">
            <a:extLst>
              <a:ext uri="{FF2B5EF4-FFF2-40B4-BE49-F238E27FC236}">
                <a16:creationId xmlns:a16="http://schemas.microsoft.com/office/drawing/2014/main" id="{F7A47BA1-E075-D68D-4F2C-C47D5888B8C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1770" y="4084610"/>
            <a:ext cx="432000" cy="432000"/>
          </a:xfrm>
          <a:prstGeom prst="rect">
            <a:avLst/>
          </a:prstGeom>
        </p:spPr>
      </p:pic>
      <p:pic>
        <p:nvPicPr>
          <p:cNvPr id="25" name="Graphic 24" descr="Checklist outline">
            <a:extLst>
              <a:ext uri="{FF2B5EF4-FFF2-40B4-BE49-F238E27FC236}">
                <a16:creationId xmlns:a16="http://schemas.microsoft.com/office/drawing/2014/main" id="{D0FB236E-BCC9-C3EC-1585-6DC53EEB24D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40648" y="4891011"/>
            <a:ext cx="619649" cy="619649"/>
          </a:xfrm>
          <a:prstGeom prst="rect">
            <a:avLst/>
          </a:prstGeom>
        </p:spPr>
      </p:pic>
      <p:pic>
        <p:nvPicPr>
          <p:cNvPr id="26" name="Graphic 25" descr="Teacher">
            <a:extLst>
              <a:ext uri="{FF2B5EF4-FFF2-40B4-BE49-F238E27FC236}">
                <a16:creationId xmlns:a16="http://schemas.microsoft.com/office/drawing/2014/main" id="{12F45C6E-4C43-1DF0-59A0-CB294B266E1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329899" y="5014155"/>
            <a:ext cx="432000" cy="432000"/>
          </a:xfrm>
          <a:prstGeom prst="rect">
            <a:avLst/>
          </a:prstGeom>
        </p:spPr>
      </p:pic>
      <p:pic>
        <p:nvPicPr>
          <p:cNvPr id="27" name="Graphic 26" descr="Podium">
            <a:extLst>
              <a:ext uri="{FF2B5EF4-FFF2-40B4-BE49-F238E27FC236}">
                <a16:creationId xmlns:a16="http://schemas.microsoft.com/office/drawing/2014/main" id="{343C6695-BCEA-2DB1-B0D5-1AB34ECAC54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84529" y="1926825"/>
            <a:ext cx="506995" cy="506995"/>
          </a:xfrm>
          <a:prstGeom prst="rect">
            <a:avLst/>
          </a:prstGeom>
        </p:spPr>
      </p:pic>
      <p:pic>
        <p:nvPicPr>
          <p:cNvPr id="28" name="Graphic 27" descr="Checklist with solid fill">
            <a:extLst>
              <a:ext uri="{FF2B5EF4-FFF2-40B4-BE49-F238E27FC236}">
                <a16:creationId xmlns:a16="http://schemas.microsoft.com/office/drawing/2014/main" id="{37843053-1691-A42E-9D0E-9422B514E28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40168" y="4950335"/>
            <a:ext cx="577961" cy="577961"/>
          </a:xfrm>
          <a:prstGeom prst="rect">
            <a:avLst/>
          </a:prstGeom>
        </p:spPr>
      </p:pic>
      <p:pic>
        <p:nvPicPr>
          <p:cNvPr id="29" name="Graphic 28" descr="Customer review with solid fill">
            <a:extLst>
              <a:ext uri="{FF2B5EF4-FFF2-40B4-BE49-F238E27FC236}">
                <a16:creationId xmlns:a16="http://schemas.microsoft.com/office/drawing/2014/main" id="{E5F3F312-B451-C726-D6D9-4A3F095517D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349304" y="2698426"/>
            <a:ext cx="486907" cy="486907"/>
          </a:xfrm>
          <a:prstGeom prst="rect">
            <a:avLst/>
          </a:prstGeom>
        </p:spPr>
      </p:pic>
      <p:grpSp>
        <p:nvGrpSpPr>
          <p:cNvPr id="30" name="Group 29">
            <a:extLst>
              <a:ext uri="{FF2B5EF4-FFF2-40B4-BE49-F238E27FC236}">
                <a16:creationId xmlns:a16="http://schemas.microsoft.com/office/drawing/2014/main" id="{C496E7FF-9945-3273-50E6-17EF753E712B}"/>
              </a:ext>
            </a:extLst>
          </p:cNvPr>
          <p:cNvGrpSpPr/>
          <p:nvPr/>
        </p:nvGrpSpPr>
        <p:grpSpPr>
          <a:xfrm>
            <a:off x="7312517" y="4165429"/>
            <a:ext cx="603238" cy="373065"/>
            <a:chOff x="579475" y="323541"/>
            <a:chExt cx="1528827" cy="945484"/>
          </a:xfrm>
        </p:grpSpPr>
        <p:sp>
          <p:nvSpPr>
            <p:cNvPr id="32" name="Rectangle 31">
              <a:extLst>
                <a:ext uri="{FF2B5EF4-FFF2-40B4-BE49-F238E27FC236}">
                  <a16:creationId xmlns:a16="http://schemas.microsoft.com/office/drawing/2014/main" id="{47CCFDBB-2D3B-B0F5-68EE-0C28E6014EA1}"/>
                </a:ext>
              </a:extLst>
            </p:cNvPr>
            <p:cNvSpPr/>
            <p:nvPr/>
          </p:nvSpPr>
          <p:spPr>
            <a:xfrm>
              <a:off x="579475" y="323541"/>
              <a:ext cx="1528827" cy="945484"/>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6216BCD9-040A-445C-E08B-46709711FE18}"/>
                </a:ext>
              </a:extLst>
            </p:cNvPr>
            <p:cNvSpPr/>
            <p:nvPr/>
          </p:nvSpPr>
          <p:spPr>
            <a:xfrm>
              <a:off x="709723" y="457072"/>
              <a:ext cx="1268330" cy="136763"/>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CA09AF66-0036-A674-16F2-8FD2D59C63BB}"/>
                </a:ext>
              </a:extLst>
            </p:cNvPr>
            <p:cNvSpPr/>
            <p:nvPr/>
          </p:nvSpPr>
          <p:spPr>
            <a:xfrm>
              <a:off x="70972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C3A4D6E0-839C-08DE-8965-B641EC7D9B3A}"/>
                </a:ext>
              </a:extLst>
            </p:cNvPr>
            <p:cNvSpPr/>
            <p:nvPr/>
          </p:nvSpPr>
          <p:spPr>
            <a:xfrm>
              <a:off x="142270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4" name="Ellipse 98">
            <a:extLst>
              <a:ext uri="{FF2B5EF4-FFF2-40B4-BE49-F238E27FC236}">
                <a16:creationId xmlns:a16="http://schemas.microsoft.com/office/drawing/2014/main" id="{B965BF39-D18E-0F74-B136-517A91280B76}"/>
              </a:ext>
            </a:extLst>
          </p:cNvPr>
          <p:cNvSpPr/>
          <p:nvPr>
            <p:custDataLst>
              <p:tags r:id="rId2"/>
            </p:custDataLst>
          </p:nvPr>
        </p:nvSpPr>
        <p:spPr bwMode="auto">
          <a:xfrm>
            <a:off x="4426415" y="6296211"/>
            <a:ext cx="3464141" cy="458619"/>
          </a:xfrm>
          <a:prstGeom prst="ellipse">
            <a:avLst/>
          </a:prstGeom>
          <a:gradFill flip="none" rotWithShape="1">
            <a:gsLst>
              <a:gs pos="100000">
                <a:srgbClr val="FFFFFF">
                  <a:alpha val="0"/>
                </a:srgbClr>
              </a:gs>
              <a:gs pos="0">
                <a:srgbClr val="E6E6E6">
                  <a:lumMod val="10000"/>
                  <a:alpha val="19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dirty="0">
              <a:solidFill>
                <a:srgbClr val="FFFFFF"/>
              </a:solidFill>
              <a:latin typeface="+mn-lt"/>
            </a:endParaRPr>
          </a:p>
        </p:txBody>
      </p:sp>
    </p:spTree>
    <p:extLst>
      <p:ext uri="{BB962C8B-B14F-4D97-AF65-F5344CB8AC3E}">
        <p14:creationId xmlns:p14="http://schemas.microsoft.com/office/powerpoint/2010/main" val="1203735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sz="2400" kern="0" dirty="0"/>
              <a:t>Key Benefits of our Management Consulting Toolkits</a:t>
            </a:r>
            <a:endParaRPr lang="en-US" sz="2400" b="0" kern="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7" name="Rectangle 6">
            <a:extLst>
              <a:ext uri="{FF2B5EF4-FFF2-40B4-BE49-F238E27FC236}">
                <a16:creationId xmlns:a16="http://schemas.microsoft.com/office/drawing/2014/main" id="{3135E033-13D8-F2B5-E5EF-80C255E497E5}"/>
              </a:ext>
            </a:extLst>
          </p:cNvPr>
          <p:cNvSpPr/>
          <p:nvPr/>
        </p:nvSpPr>
        <p:spPr>
          <a:xfrm>
            <a:off x="62345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AEF0ECFA-C8DE-F659-121B-A3E29D26745C}"/>
              </a:ext>
            </a:extLst>
          </p:cNvPr>
          <p:cNvSpPr/>
          <p:nvPr/>
        </p:nvSpPr>
        <p:spPr>
          <a:xfrm>
            <a:off x="4358343"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a:extLst>
              <a:ext uri="{FF2B5EF4-FFF2-40B4-BE49-F238E27FC236}">
                <a16:creationId xmlns:a16="http://schemas.microsoft.com/office/drawing/2014/main" id="{4A61A84C-EBD4-70B4-1EA9-C381CC9F0367}"/>
              </a:ext>
            </a:extLst>
          </p:cNvPr>
          <p:cNvSpPr/>
          <p:nvPr/>
        </p:nvSpPr>
        <p:spPr>
          <a:xfrm>
            <a:off x="809323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10">
            <a:extLst>
              <a:ext uri="{FF2B5EF4-FFF2-40B4-BE49-F238E27FC236}">
                <a16:creationId xmlns:a16="http://schemas.microsoft.com/office/drawing/2014/main" id="{4987FB2A-7C22-8B33-7464-05E5E5BB0FC4}"/>
              </a:ext>
            </a:extLst>
          </p:cNvPr>
          <p:cNvSpPr/>
          <p:nvPr/>
        </p:nvSpPr>
        <p:spPr>
          <a:xfrm>
            <a:off x="62345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11">
            <a:extLst>
              <a:ext uri="{FF2B5EF4-FFF2-40B4-BE49-F238E27FC236}">
                <a16:creationId xmlns:a16="http://schemas.microsoft.com/office/drawing/2014/main" id="{E7C10D80-005A-9FAE-7BE9-74CF202DA9E8}"/>
              </a:ext>
            </a:extLst>
          </p:cNvPr>
          <p:cNvSpPr/>
          <p:nvPr/>
        </p:nvSpPr>
        <p:spPr>
          <a:xfrm>
            <a:off x="4358343"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12">
            <a:extLst>
              <a:ext uri="{FF2B5EF4-FFF2-40B4-BE49-F238E27FC236}">
                <a16:creationId xmlns:a16="http://schemas.microsoft.com/office/drawing/2014/main" id="{3DCEB4B3-F045-9D8A-12F7-ADACD87686C1}"/>
              </a:ext>
            </a:extLst>
          </p:cNvPr>
          <p:cNvSpPr/>
          <p:nvPr/>
        </p:nvSpPr>
        <p:spPr>
          <a:xfrm>
            <a:off x="809323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14">
            <a:extLst>
              <a:ext uri="{FF2B5EF4-FFF2-40B4-BE49-F238E27FC236}">
                <a16:creationId xmlns:a16="http://schemas.microsoft.com/office/drawing/2014/main" id="{DD8CAF63-2FEA-1FCD-6FF0-BE33BB8826AA}"/>
              </a:ext>
            </a:extLst>
          </p:cNvPr>
          <p:cNvSpPr/>
          <p:nvPr/>
        </p:nvSpPr>
        <p:spPr>
          <a:xfrm>
            <a:off x="62345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Rectangle 16">
            <a:extLst>
              <a:ext uri="{FF2B5EF4-FFF2-40B4-BE49-F238E27FC236}">
                <a16:creationId xmlns:a16="http://schemas.microsoft.com/office/drawing/2014/main" id="{2EBD1296-8D01-79E8-4FDD-7EA4D8440652}"/>
              </a:ext>
            </a:extLst>
          </p:cNvPr>
          <p:cNvSpPr/>
          <p:nvPr/>
        </p:nvSpPr>
        <p:spPr>
          <a:xfrm>
            <a:off x="4358343"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Rectangle 18">
            <a:extLst>
              <a:ext uri="{FF2B5EF4-FFF2-40B4-BE49-F238E27FC236}">
                <a16:creationId xmlns:a16="http://schemas.microsoft.com/office/drawing/2014/main" id="{B13053C0-5B46-E4EB-AFC6-1D664A62AF04}"/>
              </a:ext>
            </a:extLst>
          </p:cNvPr>
          <p:cNvSpPr/>
          <p:nvPr/>
        </p:nvSpPr>
        <p:spPr>
          <a:xfrm>
            <a:off x="809323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1" name="Graphic 20">
            <a:extLst>
              <a:ext uri="{FF2B5EF4-FFF2-40B4-BE49-F238E27FC236}">
                <a16:creationId xmlns:a16="http://schemas.microsoft.com/office/drawing/2014/main" id="{3C27B655-ED05-D7EE-AAB7-A66B63891AF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2218" y="2201757"/>
            <a:ext cx="509624" cy="509624"/>
          </a:xfrm>
          <a:prstGeom prst="rect">
            <a:avLst/>
          </a:prstGeom>
        </p:spPr>
      </p:pic>
      <p:sp>
        <p:nvSpPr>
          <p:cNvPr id="22" name="Rounded Rectangle 5">
            <a:extLst>
              <a:ext uri="{FF2B5EF4-FFF2-40B4-BE49-F238E27FC236}">
                <a16:creationId xmlns:a16="http://schemas.microsoft.com/office/drawing/2014/main" id="{E487DD8C-8F78-4086-914C-C0B8A25353B6}"/>
              </a:ext>
            </a:extLst>
          </p:cNvPr>
          <p:cNvSpPr/>
          <p:nvPr/>
        </p:nvSpPr>
        <p:spPr bwMode="auto">
          <a:xfrm>
            <a:off x="1470606"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growth &amp; efficiency of your organization </a:t>
            </a:r>
            <a:r>
              <a:rPr lang="en-GB" sz="1200" b="0" i="0" dirty="0">
                <a:solidFill>
                  <a:srgbClr val="053881"/>
                </a:solidFill>
                <a:effectLst/>
                <a:latin typeface="Helvetica" panose="020B0604020202020204" pitchFamily="34" charset="0"/>
              </a:rPr>
              <a:t>by leveraging Management Consulting Toolkits created by ex-McKinsey, Deloitte &amp; BCG Consultants.</a:t>
            </a:r>
            <a:endParaRPr lang="en-US" sz="1200" dirty="0">
              <a:ea typeface="ＭＳ Ｐゴシック" pitchFamily="50" charset="-128"/>
            </a:endParaRPr>
          </a:p>
        </p:txBody>
      </p:sp>
      <p:sp>
        <p:nvSpPr>
          <p:cNvPr id="23" name="Rounded Rectangle 5">
            <a:extLst>
              <a:ext uri="{FF2B5EF4-FFF2-40B4-BE49-F238E27FC236}">
                <a16:creationId xmlns:a16="http://schemas.microsoft.com/office/drawing/2014/main" id="{0D5C60E0-01F3-2F9D-8E8F-3D40FEA55C67}"/>
              </a:ext>
            </a:extLst>
          </p:cNvPr>
          <p:cNvSpPr/>
          <p:nvPr/>
        </p:nvSpPr>
        <p:spPr bwMode="auto">
          <a:xfrm>
            <a:off x="5206138"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Make a great investment for your career &amp; organization. </a:t>
            </a:r>
            <a:r>
              <a:rPr lang="en-GB" sz="1200" b="0" i="0" dirty="0">
                <a:solidFill>
                  <a:srgbClr val="053881"/>
                </a:solidFill>
                <a:effectLst/>
                <a:latin typeface="Helvetica" panose="020B0604020202020204" pitchFamily="34" charset="0"/>
              </a:rPr>
              <a:t>It cost us US$8M+ over the past 10 years to create all our Toolkits. Get them for a fraction of this cost.</a:t>
            </a:r>
            <a:endParaRPr lang="en-US" sz="1200" dirty="0">
              <a:ea typeface="ＭＳ Ｐゴシック" pitchFamily="50" charset="-128"/>
            </a:endParaRPr>
          </a:p>
        </p:txBody>
      </p:sp>
      <p:sp>
        <p:nvSpPr>
          <p:cNvPr id="26" name="Rounded Rectangle 5">
            <a:extLst>
              <a:ext uri="{FF2B5EF4-FFF2-40B4-BE49-F238E27FC236}">
                <a16:creationId xmlns:a16="http://schemas.microsoft.com/office/drawing/2014/main" id="{83540C9D-7FB2-517A-DFD8-45FE3A97D353}"/>
              </a:ext>
            </a:extLst>
          </p:cNvPr>
          <p:cNvSpPr/>
          <p:nvPr/>
        </p:nvSpPr>
        <p:spPr bwMode="auto">
          <a:xfrm>
            <a:off x="8941670"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a competitive advantage. </a:t>
            </a:r>
            <a:r>
              <a:rPr lang="en-GB" sz="1200" b="0" i="0" dirty="0">
                <a:solidFill>
                  <a:srgbClr val="053881"/>
                </a:solidFill>
                <a:effectLst/>
                <a:latin typeface="Helvetica" panose="020B0604020202020204" pitchFamily="34" charset="0"/>
              </a:rPr>
              <a:t>It’s like hiring Management Consultants to create all the practical Frameworks, Tools &amp; Templates you need.</a:t>
            </a:r>
            <a:endParaRPr lang="en-US" sz="1200" dirty="0">
              <a:ea typeface="ＭＳ Ｐゴシック" pitchFamily="50" charset="-128"/>
            </a:endParaRPr>
          </a:p>
        </p:txBody>
      </p:sp>
      <p:sp>
        <p:nvSpPr>
          <p:cNvPr id="27" name="Rounded Rectangle 5">
            <a:extLst>
              <a:ext uri="{FF2B5EF4-FFF2-40B4-BE49-F238E27FC236}">
                <a16:creationId xmlns:a16="http://schemas.microsoft.com/office/drawing/2014/main" id="{2EE733AE-FD71-23BA-637D-140AE88FD13A}"/>
              </a:ext>
            </a:extLst>
          </p:cNvPr>
          <p:cNvSpPr/>
          <p:nvPr/>
        </p:nvSpPr>
        <p:spPr bwMode="auto">
          <a:xfrm>
            <a:off x="1470606"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the job done quicker </a:t>
            </a:r>
            <a:r>
              <a:rPr lang="en-GB" sz="1200" b="0" i="0" dirty="0">
                <a:solidFill>
                  <a:srgbClr val="053881"/>
                </a:solidFill>
                <a:effectLst/>
                <a:latin typeface="Helvetica" panose="020B0604020202020204" pitchFamily="34" charset="0"/>
              </a:rPr>
              <a:t>and never start from scratch again with our ready-made and fully editable Frameworks, Tools &amp; Templates in Powerpoint &amp; Excel.</a:t>
            </a:r>
            <a:endParaRPr lang="en-US" sz="1200" dirty="0">
              <a:ea typeface="ＭＳ Ｐゴシック" pitchFamily="50" charset="-128"/>
            </a:endParaRPr>
          </a:p>
        </p:txBody>
      </p:sp>
      <p:sp>
        <p:nvSpPr>
          <p:cNvPr id="28" name="Rounded Rectangle 5">
            <a:extLst>
              <a:ext uri="{FF2B5EF4-FFF2-40B4-BE49-F238E27FC236}">
                <a16:creationId xmlns:a16="http://schemas.microsoft.com/office/drawing/2014/main" id="{F462F77A-3EEA-D2BA-F46A-E204E5CA2DE7}"/>
              </a:ext>
            </a:extLst>
          </p:cNvPr>
          <p:cNvSpPr/>
          <p:nvPr/>
        </p:nvSpPr>
        <p:spPr bwMode="auto">
          <a:xfrm>
            <a:off x="8941670" y="3644073"/>
            <a:ext cx="2467550" cy="738664"/>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capabilities of your organization </a:t>
            </a:r>
            <a:r>
              <a:rPr lang="en-GB" sz="1200" b="0" i="0" dirty="0">
                <a:solidFill>
                  <a:srgbClr val="053881"/>
                </a:solidFill>
                <a:effectLst/>
                <a:latin typeface="Helvetica" panose="020B0604020202020204" pitchFamily="34" charset="0"/>
              </a:rPr>
              <a:t>by learning how the Fortune 100 and Global Consulting Firms do it.</a:t>
            </a:r>
            <a:endParaRPr lang="en-US" sz="1200" b="0" i="0" dirty="0">
              <a:solidFill>
                <a:srgbClr val="053881"/>
              </a:solidFill>
              <a:effectLst/>
              <a:latin typeface="Helvetica" panose="020B0604020202020204" pitchFamily="34" charset="0"/>
            </a:endParaRPr>
          </a:p>
        </p:txBody>
      </p:sp>
      <p:sp>
        <p:nvSpPr>
          <p:cNvPr id="29" name="Rounded Rectangle 5">
            <a:extLst>
              <a:ext uri="{FF2B5EF4-FFF2-40B4-BE49-F238E27FC236}">
                <a16:creationId xmlns:a16="http://schemas.microsoft.com/office/drawing/2014/main" id="{A730A722-F9CC-4B23-8E22-73027B761292}"/>
              </a:ext>
            </a:extLst>
          </p:cNvPr>
          <p:cNvSpPr/>
          <p:nvPr/>
        </p:nvSpPr>
        <p:spPr bwMode="auto">
          <a:xfrm>
            <a:off x="1470606" y="5293242"/>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free support and advice </a:t>
            </a:r>
            <a:r>
              <a:rPr lang="en-GB" sz="1200" b="0" i="0" dirty="0">
                <a:solidFill>
                  <a:srgbClr val="053881"/>
                </a:solidFill>
                <a:effectLst/>
                <a:latin typeface="Helvetica" panose="020B0604020202020204" pitchFamily="34" charset="0"/>
              </a:rPr>
              <a:t>from our ex-McKinsey, Deloitte &amp; BCG Management Consultants.</a:t>
            </a:r>
            <a:endParaRPr lang="en-US" sz="1200" dirty="0">
              <a:ea typeface="ＭＳ Ｐゴシック" pitchFamily="50" charset="-128"/>
            </a:endParaRPr>
          </a:p>
        </p:txBody>
      </p:sp>
      <p:sp>
        <p:nvSpPr>
          <p:cNvPr id="30" name="Rounded Rectangle 5">
            <a:extLst>
              <a:ext uri="{FF2B5EF4-FFF2-40B4-BE49-F238E27FC236}">
                <a16:creationId xmlns:a16="http://schemas.microsoft.com/office/drawing/2014/main" id="{5BAF2AB2-9EDC-660A-7C30-EF74E11F6269}"/>
              </a:ext>
            </a:extLst>
          </p:cNvPr>
          <p:cNvSpPr/>
          <p:nvPr/>
        </p:nvSpPr>
        <p:spPr bwMode="auto">
          <a:xfrm>
            <a:off x="5206138" y="5016243"/>
            <a:ext cx="2467550" cy="1107996"/>
          </a:xfrm>
          <a:prstGeom prst="rect">
            <a:avLst/>
          </a:prstGeom>
          <a:noFill/>
          <a:ln w="19050" algn="ctr">
            <a:noFill/>
            <a:miter lim="800000"/>
            <a:headEnd type="none" w="sm" len="sm"/>
            <a:tailEnd type="none" w="sm" len="sm"/>
          </a:ln>
        </p:spPr>
        <p:txBody>
          <a:bodyPr wrap="square" lIns="0" tIns="0" rIns="0" bIns="0" anchor="ctr">
            <a:spAutoFit/>
          </a:bodyPr>
          <a:lstStyle/>
          <a:p>
            <a:endParaRPr lang="en-GB" sz="1200" b="1" i="0" dirty="0">
              <a:solidFill>
                <a:srgbClr val="053881"/>
              </a:solidFill>
              <a:effectLst/>
              <a:latin typeface="Helvetica" panose="020B0604020202020204" pitchFamily="34" charset="0"/>
            </a:endParaRPr>
          </a:p>
          <a:p>
            <a:r>
              <a:rPr lang="en-GB" sz="1200" b="1" i="0" dirty="0">
                <a:solidFill>
                  <a:srgbClr val="053881"/>
                </a:solidFill>
                <a:effectLst/>
                <a:latin typeface="Helvetica" panose="020B0604020202020204" pitchFamily="34" charset="0"/>
              </a:rPr>
              <a:t>Decrease your costs. </a:t>
            </a:r>
            <a:r>
              <a:rPr lang="en-GB" sz="1200" b="0" i="0" dirty="0">
                <a:solidFill>
                  <a:srgbClr val="053881"/>
                </a:solidFill>
                <a:effectLst/>
                <a:latin typeface="Helvetica" panose="020B0604020202020204" pitchFamily="34" charset="0"/>
              </a:rPr>
              <a:t>Hiring tier-1 Consultants for a project would cost you $300k+. Way more expensive than our Toolkits, which will last you a lifetime!</a:t>
            </a:r>
            <a:endParaRPr lang="en-US" sz="1200" dirty="0">
              <a:ea typeface="ＭＳ Ｐゴシック" pitchFamily="50" charset="-128"/>
            </a:endParaRPr>
          </a:p>
        </p:txBody>
      </p:sp>
      <p:sp>
        <p:nvSpPr>
          <p:cNvPr id="31" name="Rounded Rectangle 5">
            <a:extLst>
              <a:ext uri="{FF2B5EF4-FFF2-40B4-BE49-F238E27FC236}">
                <a16:creationId xmlns:a16="http://schemas.microsoft.com/office/drawing/2014/main" id="{F14BF811-292F-0CC6-D2F3-A2D0793FBA5F}"/>
              </a:ext>
            </a:extLst>
          </p:cNvPr>
          <p:cNvSpPr/>
          <p:nvPr/>
        </p:nvSpPr>
        <p:spPr bwMode="auto">
          <a:xfrm>
            <a:off x="8941670"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Become your organization’s subject matter expert </a:t>
            </a:r>
            <a:r>
              <a:rPr lang="en-GB" sz="1200" b="0" i="0" dirty="0">
                <a:solidFill>
                  <a:srgbClr val="053881"/>
                </a:solidFill>
                <a:effectLst/>
                <a:latin typeface="Helvetica" panose="020B0604020202020204" pitchFamily="34" charset="0"/>
              </a:rPr>
              <a:t>and impress your stakeholders with world-class approaches to resolve common business problems.</a:t>
            </a:r>
            <a:endParaRPr lang="en-US" sz="1200" dirty="0">
              <a:ea typeface="ＭＳ Ｐゴシック" pitchFamily="50" charset="-128"/>
            </a:endParaRPr>
          </a:p>
        </p:txBody>
      </p:sp>
      <p:pic>
        <p:nvPicPr>
          <p:cNvPr id="32" name="Graphic 31">
            <a:extLst>
              <a:ext uri="{FF2B5EF4-FFF2-40B4-BE49-F238E27FC236}">
                <a16:creationId xmlns:a16="http://schemas.microsoft.com/office/drawing/2014/main" id="{DFE88999-6765-7EDB-5B4D-AB831B85AC8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92182" y="2168438"/>
            <a:ext cx="576263" cy="576263"/>
          </a:xfrm>
          <a:prstGeom prst="rect">
            <a:avLst/>
          </a:prstGeom>
        </p:spPr>
      </p:pic>
      <p:pic>
        <p:nvPicPr>
          <p:cNvPr id="33" name="Graphic 32">
            <a:extLst>
              <a:ext uri="{FF2B5EF4-FFF2-40B4-BE49-F238E27FC236}">
                <a16:creationId xmlns:a16="http://schemas.microsoft.com/office/drawing/2014/main" id="{BB1BC6A3-D118-0A6E-C79B-7894B0BFDCB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73737" y="2212854"/>
            <a:ext cx="487430" cy="487430"/>
          </a:xfrm>
          <a:prstGeom prst="rect">
            <a:avLst/>
          </a:prstGeom>
        </p:spPr>
      </p:pic>
      <p:pic>
        <p:nvPicPr>
          <p:cNvPr id="34" name="Graphic 33">
            <a:extLst>
              <a:ext uri="{FF2B5EF4-FFF2-40B4-BE49-F238E27FC236}">
                <a16:creationId xmlns:a16="http://schemas.microsoft.com/office/drawing/2014/main" id="{1F90E063-7D6F-0C6D-DBE5-A8934C6C064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16558" y="3746630"/>
            <a:ext cx="533551" cy="533551"/>
          </a:xfrm>
          <a:prstGeom prst="rect">
            <a:avLst/>
          </a:prstGeom>
        </p:spPr>
      </p:pic>
      <p:pic>
        <p:nvPicPr>
          <p:cNvPr id="36" name="Graphic 35">
            <a:extLst>
              <a:ext uri="{FF2B5EF4-FFF2-40B4-BE49-F238E27FC236}">
                <a16:creationId xmlns:a16="http://schemas.microsoft.com/office/drawing/2014/main" id="{62A8812D-C33F-691E-28A4-27B23723A0A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68090" y="5255693"/>
            <a:ext cx="629096" cy="629096"/>
          </a:xfrm>
          <a:prstGeom prst="rect">
            <a:avLst/>
          </a:prstGeom>
        </p:spPr>
      </p:pic>
      <p:pic>
        <p:nvPicPr>
          <p:cNvPr id="39" name="Graphic 38">
            <a:extLst>
              <a:ext uri="{FF2B5EF4-FFF2-40B4-BE49-F238E27FC236}">
                <a16:creationId xmlns:a16="http://schemas.microsoft.com/office/drawing/2014/main" id="{4DECBE82-EBAE-3778-0A4A-88278813AA9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23806" y="5276595"/>
            <a:ext cx="587292" cy="587292"/>
          </a:xfrm>
          <a:prstGeom prst="rect">
            <a:avLst/>
          </a:prstGeom>
        </p:spPr>
      </p:pic>
      <p:pic>
        <p:nvPicPr>
          <p:cNvPr id="42" name="Graphic 41">
            <a:extLst>
              <a:ext uri="{FF2B5EF4-FFF2-40B4-BE49-F238E27FC236}">
                <a16:creationId xmlns:a16="http://schemas.microsoft.com/office/drawing/2014/main" id="{B3ED7BE4-20E4-E8F6-FDB3-E46A01FAC31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0882" y="5343654"/>
            <a:ext cx="453174" cy="453174"/>
          </a:xfrm>
          <a:prstGeom prst="rect">
            <a:avLst/>
          </a:prstGeom>
        </p:spPr>
      </p:pic>
      <p:sp>
        <p:nvSpPr>
          <p:cNvPr id="43" name="Rounded Rectangle 5">
            <a:extLst>
              <a:ext uri="{FF2B5EF4-FFF2-40B4-BE49-F238E27FC236}">
                <a16:creationId xmlns:a16="http://schemas.microsoft.com/office/drawing/2014/main" id="{AA44551F-A899-0DEB-F25C-97E8344A097E}"/>
              </a:ext>
            </a:extLst>
          </p:cNvPr>
          <p:cNvSpPr/>
          <p:nvPr/>
        </p:nvSpPr>
        <p:spPr bwMode="auto">
          <a:xfrm>
            <a:off x="5206138"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Don't reinvent the wheel. </a:t>
            </a:r>
            <a:r>
              <a:rPr lang="en-GB" sz="1200" b="0" i="0" dirty="0">
                <a:solidFill>
                  <a:srgbClr val="053881"/>
                </a:solidFill>
                <a:effectLst/>
                <a:latin typeface="Helvetica" panose="020B0604020202020204" pitchFamily="34" charset="0"/>
              </a:rPr>
              <a:t>We have already worked 30,000+ hours over the past 10 years to create all the Management Consulting Toolkits you need.</a:t>
            </a:r>
            <a:endParaRPr lang="en-US" sz="1200" dirty="0">
              <a:ea typeface="ＭＳ Ｐゴシック" pitchFamily="50" charset="-128"/>
            </a:endParaRPr>
          </a:p>
        </p:txBody>
      </p:sp>
      <p:pic>
        <p:nvPicPr>
          <p:cNvPr id="44" name="Graphic 43" descr="Stopwatch 66% outline">
            <a:extLst>
              <a:ext uri="{FF2B5EF4-FFF2-40B4-BE49-F238E27FC236}">
                <a16:creationId xmlns:a16="http://schemas.microsoft.com/office/drawing/2014/main" id="{B064DE7D-7B3F-47CE-712A-864933AA39A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31239" y="3575144"/>
            <a:ext cx="739367" cy="739367"/>
          </a:xfrm>
          <a:prstGeom prst="rect">
            <a:avLst/>
          </a:prstGeom>
        </p:spPr>
      </p:pic>
      <p:pic>
        <p:nvPicPr>
          <p:cNvPr id="51" name="Graphic 50" descr="Steering Wheel outline">
            <a:extLst>
              <a:ext uri="{FF2B5EF4-FFF2-40B4-BE49-F238E27FC236}">
                <a16:creationId xmlns:a16="http://schemas.microsoft.com/office/drawing/2014/main" id="{0B160B41-F8A4-B312-F83B-0B98A154213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465460" y="3644073"/>
            <a:ext cx="728441" cy="728441"/>
          </a:xfrm>
          <a:prstGeom prst="rect">
            <a:avLst/>
          </a:prstGeom>
        </p:spPr>
      </p:pic>
    </p:spTree>
    <p:extLst>
      <p:ext uri="{BB962C8B-B14F-4D97-AF65-F5344CB8AC3E}">
        <p14:creationId xmlns:p14="http://schemas.microsoft.com/office/powerpoint/2010/main" val="3938337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58A1A0-06A2-4FAC-A5EA-99253435D8B8}"/>
              </a:ext>
            </a:extLst>
          </p:cNvPr>
          <p:cNvPicPr>
            <a:picLocks noChangeAspect="1"/>
          </p:cNvPicPr>
          <p:nvPr/>
        </p:nvPicPr>
        <p:blipFill>
          <a:blip r:embed="rId2"/>
          <a:stretch>
            <a:fillRect/>
          </a:stretch>
        </p:blipFill>
        <p:spPr>
          <a:xfrm>
            <a:off x="1321620" y="1968982"/>
            <a:ext cx="9458036" cy="3701886"/>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DEFE2F89-2C68-4882-ACAA-4D3583EC021E}"/>
              </a:ext>
            </a:extLst>
          </p:cNvPr>
          <p:cNvSpPr>
            <a:spLocks noGrp="1"/>
          </p:cNvSpPr>
          <p:nvPr>
            <p:ph type="title"/>
          </p:nvPr>
        </p:nvSpPr>
        <p:spPr/>
        <p:txBody>
          <a:bodyPr/>
          <a:lstStyle/>
          <a:p>
            <a:r>
              <a:rPr lang="en-GB" dirty="0"/>
              <a:t>What our clients say about our Toolkits</a:t>
            </a:r>
            <a:br>
              <a:rPr lang="en-GB" dirty="0"/>
            </a:br>
            <a:r>
              <a:rPr lang="en-GB" b="0" dirty="0"/>
              <a:t>Reviews imported from Facebooks, Amazon and Klaviyo</a:t>
            </a:r>
            <a:endParaRPr lang="en-AU" b="0" dirty="0"/>
          </a:p>
        </p:txBody>
      </p:sp>
      <p:sp>
        <p:nvSpPr>
          <p:cNvPr id="4" name="Slide Number Placeholder 3">
            <a:extLst>
              <a:ext uri="{FF2B5EF4-FFF2-40B4-BE49-F238E27FC236}">
                <a16:creationId xmlns:a16="http://schemas.microsoft.com/office/drawing/2014/main" id="{01275858-1501-44F3-B5E3-F24097F0F591}"/>
              </a:ext>
            </a:extLst>
          </p:cNvPr>
          <p:cNvSpPr>
            <a:spLocks noGrp="1"/>
          </p:cNvSpPr>
          <p:nvPr>
            <p:ph type="sldNum" sz="quarter" idx="4"/>
          </p:nvPr>
        </p:nvSpPr>
        <p:spPr/>
        <p:txBody>
          <a:bodyPr/>
          <a:lstStyle/>
          <a:p>
            <a:fld id="{37F5C94B-8C55-478B-B509-BAE6A06B2E2A}" type="slidenum">
              <a:rPr lang="en-IN" smtClean="0"/>
              <a:pPr/>
              <a:t>7</a:t>
            </a:fld>
            <a:endParaRPr lang="en-IN" dirty="0"/>
          </a:p>
        </p:txBody>
      </p:sp>
      <p:sp>
        <p:nvSpPr>
          <p:cNvPr id="7" name="Rectangle: Rounded Corners 6">
            <a:hlinkClick r:id="rId3"/>
            <a:extLst>
              <a:ext uri="{FF2B5EF4-FFF2-40B4-BE49-F238E27FC236}">
                <a16:creationId xmlns:a16="http://schemas.microsoft.com/office/drawing/2014/main" id="{34408D4B-2DBA-45D0-9E35-C8280CE479B1}"/>
              </a:ext>
            </a:extLst>
          </p:cNvPr>
          <p:cNvSpPr/>
          <p:nvPr/>
        </p:nvSpPr>
        <p:spPr bwMode="auto">
          <a:xfrm>
            <a:off x="5335398" y="5348614"/>
            <a:ext cx="1585519" cy="216876"/>
          </a:xfrm>
          <a:prstGeom prst="roundRect">
            <a:avLst>
              <a:gd name="adj" fmla="val 29140"/>
            </a:avLst>
          </a:prstGeom>
          <a:solidFill>
            <a:srgbClr val="3EA9F5"/>
          </a:solidFill>
          <a:ln>
            <a:noFill/>
          </a:ln>
          <a:effectLst/>
        </p:spPr>
        <p:txBody>
          <a:bodyPr wrap="square" lIns="91428" tIns="10080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See more reviews &gt;</a:t>
            </a:r>
          </a:p>
        </p:txBody>
      </p:sp>
      <p:sp>
        <p:nvSpPr>
          <p:cNvPr id="3" name="Oval 2">
            <a:hlinkClick r:id="rId3"/>
            <a:extLst>
              <a:ext uri="{FF2B5EF4-FFF2-40B4-BE49-F238E27FC236}">
                <a16:creationId xmlns:a16="http://schemas.microsoft.com/office/drawing/2014/main" id="{E7801C33-1882-44AC-8209-E2ACFFBF177C}"/>
              </a:ext>
            </a:extLst>
          </p:cNvPr>
          <p:cNvSpPr/>
          <p:nvPr/>
        </p:nvSpPr>
        <p:spPr>
          <a:xfrm>
            <a:off x="10419046" y="3957144"/>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Oval 7">
            <a:hlinkClick r:id="rId3"/>
            <a:extLst>
              <a:ext uri="{FF2B5EF4-FFF2-40B4-BE49-F238E27FC236}">
                <a16:creationId xmlns:a16="http://schemas.microsoft.com/office/drawing/2014/main" id="{F65F7B22-3F2E-42E7-BE12-BCF3C4BCBF84}"/>
              </a:ext>
            </a:extLst>
          </p:cNvPr>
          <p:cNvSpPr/>
          <p:nvPr/>
        </p:nvSpPr>
        <p:spPr>
          <a:xfrm>
            <a:off x="1327557" y="3892492"/>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926619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5" name="Rectangle 24">
            <a:extLst>
              <a:ext uri="{FF2B5EF4-FFF2-40B4-BE49-F238E27FC236}">
                <a16:creationId xmlns:a16="http://schemas.microsoft.com/office/drawing/2014/main" id="{86A71970-E46B-4358-8BCC-1715EFB36D64}"/>
              </a:ext>
            </a:extLst>
          </p:cNvPr>
          <p:cNvSpPr/>
          <p:nvPr/>
        </p:nvSpPr>
        <p:spPr>
          <a:xfrm>
            <a:off x="626919" y="1648544"/>
            <a:ext cx="7345409"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2221734C-F2C9-4C4F-AF07-9C7EB749C560}"/>
              </a:ext>
            </a:extLst>
          </p:cNvPr>
          <p:cNvSpPr/>
          <p:nvPr/>
        </p:nvSpPr>
        <p:spPr>
          <a:xfrm>
            <a:off x="8087873" y="1648544"/>
            <a:ext cx="3508381"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9890D867-710A-4021-80A0-9EDD68F8268E}"/>
              </a:ext>
            </a:extLst>
          </p:cNvPr>
          <p:cNvSpPr txBox="1"/>
          <p:nvPr/>
        </p:nvSpPr>
        <p:spPr>
          <a:xfrm>
            <a:off x="644717" y="1648544"/>
            <a:ext cx="7425359" cy="369332"/>
          </a:xfrm>
          <a:prstGeom prst="rect">
            <a:avLst/>
          </a:prstGeom>
          <a:noFill/>
        </p:spPr>
        <p:txBody>
          <a:bodyPr wrap="square" rtlCol="0">
            <a:spAutoFit/>
          </a:bodyPr>
          <a:lstStyle/>
          <a:p>
            <a:r>
              <a:rPr lang="en-US" dirty="0"/>
              <a:t>Trusted by small and large organizations</a:t>
            </a:r>
          </a:p>
        </p:txBody>
      </p:sp>
      <p:sp>
        <p:nvSpPr>
          <p:cNvPr id="34" name="TextBox 33">
            <a:extLst>
              <a:ext uri="{FF2B5EF4-FFF2-40B4-BE49-F238E27FC236}">
                <a16:creationId xmlns:a16="http://schemas.microsoft.com/office/drawing/2014/main" id="{D73AA7D2-25BB-4811-9D38-82BD21C8478B}"/>
              </a:ext>
            </a:extLst>
          </p:cNvPr>
          <p:cNvSpPr txBox="1"/>
          <p:nvPr/>
        </p:nvSpPr>
        <p:spPr>
          <a:xfrm>
            <a:off x="8064688" y="1648544"/>
            <a:ext cx="3623927" cy="369332"/>
          </a:xfrm>
          <a:prstGeom prst="rect">
            <a:avLst/>
          </a:prstGeom>
          <a:noFill/>
        </p:spPr>
        <p:txBody>
          <a:bodyPr wrap="square" rtlCol="0">
            <a:spAutoFit/>
          </a:bodyPr>
          <a:lstStyle/>
          <a:p>
            <a:r>
              <a:rPr lang="en-US" dirty="0"/>
              <a:t>Customer satisfaction</a:t>
            </a:r>
          </a:p>
        </p:txBody>
      </p:sp>
      <p:sp>
        <p:nvSpPr>
          <p:cNvPr id="37" name="Rectangle 36">
            <a:extLst>
              <a:ext uri="{FF2B5EF4-FFF2-40B4-BE49-F238E27FC236}">
                <a16:creationId xmlns:a16="http://schemas.microsoft.com/office/drawing/2014/main" id="{EF41B183-983A-424C-A811-31D7B9F3E067}"/>
              </a:ext>
            </a:extLst>
          </p:cNvPr>
          <p:cNvSpPr/>
          <p:nvPr/>
        </p:nvSpPr>
        <p:spPr>
          <a:xfrm>
            <a:off x="626919" y="2675070"/>
            <a:ext cx="7345409" cy="373326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TextBox 37">
            <a:extLst>
              <a:ext uri="{FF2B5EF4-FFF2-40B4-BE49-F238E27FC236}">
                <a16:creationId xmlns:a16="http://schemas.microsoft.com/office/drawing/2014/main" id="{A222A58B-1B90-4496-A948-F185A3E65D28}"/>
              </a:ext>
            </a:extLst>
          </p:cNvPr>
          <p:cNvSpPr txBox="1"/>
          <p:nvPr/>
        </p:nvSpPr>
        <p:spPr>
          <a:xfrm>
            <a:off x="644719" y="2709886"/>
            <a:ext cx="7327609" cy="1077218"/>
          </a:xfrm>
          <a:prstGeom prst="rect">
            <a:avLst/>
          </a:prstGeom>
          <a:noFill/>
        </p:spPr>
        <p:txBody>
          <a:bodyPr wrap="square" rtlCol="0">
            <a:spAutoFit/>
          </a:bodyPr>
          <a:lstStyle/>
          <a:p>
            <a:r>
              <a:rPr lang="en-US" dirty="0"/>
              <a:t>Number of countries leveraging our Business &amp; Consulting Toolkits</a:t>
            </a:r>
          </a:p>
          <a:p>
            <a:r>
              <a:rPr lang="en-US" sz="2800" dirty="0">
                <a:solidFill>
                  <a:srgbClr val="00B050"/>
                </a:solidFill>
              </a:rPr>
              <a:t>1all </a:t>
            </a:r>
          </a:p>
          <a:p>
            <a:endParaRPr lang="en-US" dirty="0"/>
          </a:p>
        </p:txBody>
      </p:sp>
      <p:sp>
        <p:nvSpPr>
          <p:cNvPr id="39" name="Rectangle 38">
            <a:extLst>
              <a:ext uri="{FF2B5EF4-FFF2-40B4-BE49-F238E27FC236}">
                <a16:creationId xmlns:a16="http://schemas.microsoft.com/office/drawing/2014/main" id="{BDA9DBF3-656C-4C64-8120-5BCE657C516A}"/>
              </a:ext>
            </a:extLst>
          </p:cNvPr>
          <p:cNvSpPr/>
          <p:nvPr/>
        </p:nvSpPr>
        <p:spPr>
          <a:xfrm>
            <a:off x="8087873" y="2670574"/>
            <a:ext cx="3508381" cy="1588313"/>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TextBox 39">
            <a:extLst>
              <a:ext uri="{FF2B5EF4-FFF2-40B4-BE49-F238E27FC236}">
                <a16:creationId xmlns:a16="http://schemas.microsoft.com/office/drawing/2014/main" id="{573A5304-C348-4211-8C8D-05DBFC25C98C}"/>
              </a:ext>
            </a:extLst>
          </p:cNvPr>
          <p:cNvSpPr txBox="1"/>
          <p:nvPr/>
        </p:nvSpPr>
        <p:spPr>
          <a:xfrm>
            <a:off x="8064688" y="2669659"/>
            <a:ext cx="3602468" cy="1354217"/>
          </a:xfrm>
          <a:prstGeom prst="rect">
            <a:avLst/>
          </a:prstGeom>
          <a:noFill/>
        </p:spPr>
        <p:txBody>
          <a:bodyPr wrap="square" rtlCol="0">
            <a:spAutoFit/>
          </a:bodyPr>
          <a:lstStyle/>
          <a:p>
            <a:r>
              <a:rPr lang="en-US" dirty="0"/>
              <a:t>Number of professionals leveraging our Business &amp; Consulting Toolkits</a:t>
            </a:r>
          </a:p>
          <a:p>
            <a:r>
              <a:rPr lang="en-US" sz="2800" dirty="0">
                <a:solidFill>
                  <a:srgbClr val="00B050"/>
                </a:solidFill>
              </a:rPr>
              <a:t>200,000+</a:t>
            </a:r>
          </a:p>
        </p:txBody>
      </p:sp>
      <p:grpSp>
        <p:nvGrpSpPr>
          <p:cNvPr id="47" name="Group 5">
            <a:extLst>
              <a:ext uri="{FF2B5EF4-FFF2-40B4-BE49-F238E27FC236}">
                <a16:creationId xmlns:a16="http://schemas.microsoft.com/office/drawing/2014/main" id="{D5D4B5DC-3DE6-4CEF-A50A-EB4214B0D845}"/>
              </a:ext>
            </a:extLst>
          </p:cNvPr>
          <p:cNvGrpSpPr>
            <a:grpSpLocks/>
          </p:cNvGrpSpPr>
          <p:nvPr/>
        </p:nvGrpSpPr>
        <p:grpSpPr bwMode="auto">
          <a:xfrm>
            <a:off x="5632861" y="5262112"/>
            <a:ext cx="297844" cy="94643"/>
            <a:chOff x="4449" y="3335"/>
            <a:chExt cx="260" cy="83"/>
          </a:xfrm>
          <a:solidFill>
            <a:srgbClr val="00B050"/>
          </a:solidFill>
        </p:grpSpPr>
        <p:sp>
          <p:nvSpPr>
            <p:cNvPr id="314" name="Freeform 6">
              <a:extLst>
                <a:ext uri="{FF2B5EF4-FFF2-40B4-BE49-F238E27FC236}">
                  <a16:creationId xmlns:a16="http://schemas.microsoft.com/office/drawing/2014/main" id="{BF8DA816-36D4-4CB3-83E0-182B4D82AA35}"/>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5" name="Freeform 7">
              <a:extLst>
                <a:ext uri="{FF2B5EF4-FFF2-40B4-BE49-F238E27FC236}">
                  <a16:creationId xmlns:a16="http://schemas.microsoft.com/office/drawing/2014/main" id="{4BF65DA2-D11A-4E7E-AFC8-ABE0DD43E994}"/>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8" name="Group 8">
            <a:extLst>
              <a:ext uri="{FF2B5EF4-FFF2-40B4-BE49-F238E27FC236}">
                <a16:creationId xmlns:a16="http://schemas.microsoft.com/office/drawing/2014/main" id="{8B8C279D-E2F4-4798-8175-CEB06BFC314D}"/>
              </a:ext>
            </a:extLst>
          </p:cNvPr>
          <p:cNvGrpSpPr>
            <a:grpSpLocks/>
          </p:cNvGrpSpPr>
          <p:nvPr/>
        </p:nvGrpSpPr>
        <p:grpSpPr bwMode="auto">
          <a:xfrm>
            <a:off x="5553971" y="5285096"/>
            <a:ext cx="719784" cy="239315"/>
            <a:chOff x="4380" y="3353"/>
            <a:chExt cx="629" cy="218"/>
          </a:xfrm>
          <a:solidFill>
            <a:srgbClr val="00B050"/>
          </a:solidFill>
        </p:grpSpPr>
        <p:sp>
          <p:nvSpPr>
            <p:cNvPr id="304" name="Freeform 9">
              <a:extLst>
                <a:ext uri="{FF2B5EF4-FFF2-40B4-BE49-F238E27FC236}">
                  <a16:creationId xmlns:a16="http://schemas.microsoft.com/office/drawing/2014/main" id="{462EA357-C5B7-44F6-8117-D3DB0A519ECA}"/>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5" name="Freeform 10">
              <a:extLst>
                <a:ext uri="{FF2B5EF4-FFF2-40B4-BE49-F238E27FC236}">
                  <a16:creationId xmlns:a16="http://schemas.microsoft.com/office/drawing/2014/main" id="{098AFEE8-22B5-4E43-B129-CE9960213C1B}"/>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6" name="Freeform 11">
              <a:extLst>
                <a:ext uri="{FF2B5EF4-FFF2-40B4-BE49-F238E27FC236}">
                  <a16:creationId xmlns:a16="http://schemas.microsoft.com/office/drawing/2014/main" id="{3E5EA9B4-DB9C-405D-9FD4-7F1D0CA83BC1}"/>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7" name="Freeform 12">
              <a:extLst>
                <a:ext uri="{FF2B5EF4-FFF2-40B4-BE49-F238E27FC236}">
                  <a16:creationId xmlns:a16="http://schemas.microsoft.com/office/drawing/2014/main" id="{11F8D39E-1E72-4276-B038-5D7B3890BF3C}"/>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8" name="Freeform 13">
              <a:extLst>
                <a:ext uri="{FF2B5EF4-FFF2-40B4-BE49-F238E27FC236}">
                  <a16:creationId xmlns:a16="http://schemas.microsoft.com/office/drawing/2014/main" id="{C5FE9365-E531-4365-BF20-9C387F8AC370}"/>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9" name="Freeform 14">
              <a:extLst>
                <a:ext uri="{FF2B5EF4-FFF2-40B4-BE49-F238E27FC236}">
                  <a16:creationId xmlns:a16="http://schemas.microsoft.com/office/drawing/2014/main" id="{C6CFEC23-FB1C-422C-8850-A9DF28DD29A1}"/>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0" name="Freeform 15">
              <a:extLst>
                <a:ext uri="{FF2B5EF4-FFF2-40B4-BE49-F238E27FC236}">
                  <a16:creationId xmlns:a16="http://schemas.microsoft.com/office/drawing/2014/main" id="{9865E04F-27B7-4A50-AB15-D3AFFB9DDCD2}"/>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1" name="Freeform 16">
              <a:extLst>
                <a:ext uri="{FF2B5EF4-FFF2-40B4-BE49-F238E27FC236}">
                  <a16:creationId xmlns:a16="http://schemas.microsoft.com/office/drawing/2014/main" id="{12BC7B78-F9A4-46AE-9A03-75599873A321}"/>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2" name="Freeform 17">
              <a:extLst>
                <a:ext uri="{FF2B5EF4-FFF2-40B4-BE49-F238E27FC236}">
                  <a16:creationId xmlns:a16="http://schemas.microsoft.com/office/drawing/2014/main" id="{2D61C530-0987-4150-BD04-B19B59069CD4}"/>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3" name="Freeform 18">
              <a:extLst>
                <a:ext uri="{FF2B5EF4-FFF2-40B4-BE49-F238E27FC236}">
                  <a16:creationId xmlns:a16="http://schemas.microsoft.com/office/drawing/2014/main" id="{07423ACC-5271-41F0-A4B3-F19E45B9E606}"/>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49" name="Freeform 599">
            <a:extLst>
              <a:ext uri="{FF2B5EF4-FFF2-40B4-BE49-F238E27FC236}">
                <a16:creationId xmlns:a16="http://schemas.microsoft.com/office/drawing/2014/main" id="{98BBAC1A-48C3-457C-83C0-ADBB10236A62}"/>
              </a:ext>
            </a:extLst>
          </p:cNvPr>
          <p:cNvSpPr>
            <a:spLocks/>
          </p:cNvSpPr>
          <p:nvPr/>
        </p:nvSpPr>
        <p:spPr bwMode="auto">
          <a:xfrm>
            <a:off x="5009405" y="4759147"/>
            <a:ext cx="223381" cy="154135"/>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0" name="Group 20">
            <a:extLst>
              <a:ext uri="{FF2B5EF4-FFF2-40B4-BE49-F238E27FC236}">
                <a16:creationId xmlns:a16="http://schemas.microsoft.com/office/drawing/2014/main" id="{AFEC8AB4-05F2-43B8-8A6C-7730F04CFC06}"/>
              </a:ext>
            </a:extLst>
          </p:cNvPr>
          <p:cNvGrpSpPr>
            <a:grpSpLocks/>
          </p:cNvGrpSpPr>
          <p:nvPr/>
        </p:nvGrpSpPr>
        <p:grpSpPr bwMode="auto">
          <a:xfrm>
            <a:off x="5831392" y="5531178"/>
            <a:ext cx="635106" cy="539472"/>
            <a:chOff x="4623" y="3575"/>
            <a:chExt cx="552" cy="485"/>
          </a:xfrm>
          <a:solidFill>
            <a:srgbClr val="00B050"/>
          </a:solidFill>
        </p:grpSpPr>
        <p:sp>
          <p:nvSpPr>
            <p:cNvPr id="302" name="Freeform 610">
              <a:extLst>
                <a:ext uri="{FF2B5EF4-FFF2-40B4-BE49-F238E27FC236}">
                  <a16:creationId xmlns:a16="http://schemas.microsoft.com/office/drawing/2014/main" id="{06E97FF2-37BE-4107-8DF4-06835090D059}"/>
                </a:ext>
              </a:extLst>
            </p:cNvPr>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3" name="Freeform 611">
              <a:extLst>
                <a:ext uri="{FF2B5EF4-FFF2-40B4-BE49-F238E27FC236}">
                  <a16:creationId xmlns:a16="http://schemas.microsoft.com/office/drawing/2014/main" id="{119917EB-FAF9-4A69-9834-DE5882545533}"/>
                </a:ext>
              </a:extLst>
            </p:cNvPr>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1" name="Freeform 612">
            <a:extLst>
              <a:ext uri="{FF2B5EF4-FFF2-40B4-BE49-F238E27FC236}">
                <a16:creationId xmlns:a16="http://schemas.microsoft.com/office/drawing/2014/main" id="{9A288DA3-6576-4034-9768-3D54DD56A2F8}"/>
              </a:ext>
            </a:extLst>
          </p:cNvPr>
          <p:cNvSpPr>
            <a:spLocks/>
          </p:cNvSpPr>
          <p:nvPr/>
        </p:nvSpPr>
        <p:spPr bwMode="auto">
          <a:xfrm>
            <a:off x="5437188" y="4959251"/>
            <a:ext cx="75921" cy="91940"/>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2" name="Freeform 613">
            <a:extLst>
              <a:ext uri="{FF2B5EF4-FFF2-40B4-BE49-F238E27FC236}">
                <a16:creationId xmlns:a16="http://schemas.microsoft.com/office/drawing/2014/main" id="{2C0ABCF5-75CC-4F90-A550-A281E4369D32}"/>
              </a:ext>
            </a:extLst>
          </p:cNvPr>
          <p:cNvSpPr>
            <a:spLocks/>
          </p:cNvSpPr>
          <p:nvPr/>
        </p:nvSpPr>
        <p:spPr bwMode="auto">
          <a:xfrm>
            <a:off x="5453249" y="4930858"/>
            <a:ext cx="46720" cy="2839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3" name="Freeform 614">
            <a:extLst>
              <a:ext uri="{FF2B5EF4-FFF2-40B4-BE49-F238E27FC236}">
                <a16:creationId xmlns:a16="http://schemas.microsoft.com/office/drawing/2014/main" id="{A35E12DA-6263-428E-ACD5-29E12DA389BF}"/>
              </a:ext>
            </a:extLst>
          </p:cNvPr>
          <p:cNvSpPr>
            <a:spLocks/>
          </p:cNvSpPr>
          <p:nvPr/>
        </p:nvSpPr>
        <p:spPr bwMode="auto">
          <a:xfrm>
            <a:off x="5845992" y="5293208"/>
            <a:ext cx="20440" cy="16225"/>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4" name="Freeform 615">
            <a:extLst>
              <a:ext uri="{FF2B5EF4-FFF2-40B4-BE49-F238E27FC236}">
                <a16:creationId xmlns:a16="http://schemas.microsoft.com/office/drawing/2014/main" id="{CAAD048A-B585-48D8-9EFF-61437A944C8C}"/>
              </a:ext>
            </a:extLst>
          </p:cNvPr>
          <p:cNvSpPr>
            <a:spLocks/>
          </p:cNvSpPr>
          <p:nvPr/>
        </p:nvSpPr>
        <p:spPr bwMode="auto">
          <a:xfrm>
            <a:off x="5504348" y="4932210"/>
            <a:ext cx="141621" cy="285283"/>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5" name="Freeform 616">
            <a:extLst>
              <a:ext uri="{FF2B5EF4-FFF2-40B4-BE49-F238E27FC236}">
                <a16:creationId xmlns:a16="http://schemas.microsoft.com/office/drawing/2014/main" id="{1C35F4BA-69DA-4CED-8ABA-DCEFCBF67578}"/>
              </a:ext>
            </a:extLst>
          </p:cNvPr>
          <p:cNvSpPr>
            <a:spLocks/>
          </p:cNvSpPr>
          <p:nvPr/>
        </p:nvSpPr>
        <p:spPr bwMode="auto">
          <a:xfrm>
            <a:off x="5664950" y="5148539"/>
            <a:ext cx="80301" cy="62194"/>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6" name="Freeform 617">
            <a:extLst>
              <a:ext uri="{FF2B5EF4-FFF2-40B4-BE49-F238E27FC236}">
                <a16:creationId xmlns:a16="http://schemas.microsoft.com/office/drawing/2014/main" id="{32D9D994-5044-4621-9BA8-ADC26A400533}"/>
              </a:ext>
            </a:extLst>
          </p:cNvPr>
          <p:cNvSpPr>
            <a:spLocks/>
          </p:cNvSpPr>
          <p:nvPr/>
        </p:nvSpPr>
        <p:spPr bwMode="auto">
          <a:xfrm>
            <a:off x="5311627" y="5221549"/>
            <a:ext cx="29201" cy="55434"/>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7" name="Group 29">
            <a:extLst>
              <a:ext uri="{FF2B5EF4-FFF2-40B4-BE49-F238E27FC236}">
                <a16:creationId xmlns:a16="http://schemas.microsoft.com/office/drawing/2014/main" id="{012B866A-76DE-480D-B8A6-60E2A070C914}"/>
              </a:ext>
            </a:extLst>
          </p:cNvPr>
          <p:cNvGrpSpPr>
            <a:grpSpLocks/>
          </p:cNvGrpSpPr>
          <p:nvPr/>
        </p:nvGrpSpPr>
        <p:grpSpPr bwMode="auto">
          <a:xfrm>
            <a:off x="5215267" y="4473859"/>
            <a:ext cx="957768" cy="619241"/>
            <a:chOff x="4086" y="2626"/>
            <a:chExt cx="835" cy="555"/>
          </a:xfrm>
          <a:solidFill>
            <a:srgbClr val="00B050"/>
          </a:solidFill>
        </p:grpSpPr>
        <p:sp>
          <p:nvSpPr>
            <p:cNvPr id="300" name="Freeform 30">
              <a:extLst>
                <a:ext uri="{FF2B5EF4-FFF2-40B4-BE49-F238E27FC236}">
                  <a16:creationId xmlns:a16="http://schemas.microsoft.com/office/drawing/2014/main" id="{61E8DEAF-BF42-4784-BF39-C0F679BA7A86}"/>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1" name="Freeform 31">
              <a:extLst>
                <a:ext uri="{FF2B5EF4-FFF2-40B4-BE49-F238E27FC236}">
                  <a16:creationId xmlns:a16="http://schemas.microsoft.com/office/drawing/2014/main" id="{A5A442D7-7A6D-433C-9527-B7571BBCA649}"/>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8" name="Freeform 621">
            <a:extLst>
              <a:ext uri="{FF2B5EF4-FFF2-40B4-BE49-F238E27FC236}">
                <a16:creationId xmlns:a16="http://schemas.microsoft.com/office/drawing/2014/main" id="{F68A2200-BED7-4D8E-9475-717F0757443E}"/>
              </a:ext>
            </a:extLst>
          </p:cNvPr>
          <p:cNvSpPr>
            <a:spLocks/>
          </p:cNvSpPr>
          <p:nvPr/>
        </p:nvSpPr>
        <p:spPr bwMode="auto">
          <a:xfrm>
            <a:off x="5940893" y="4984939"/>
            <a:ext cx="30660" cy="50027"/>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9" name="Freeform 622">
            <a:extLst>
              <a:ext uri="{FF2B5EF4-FFF2-40B4-BE49-F238E27FC236}">
                <a16:creationId xmlns:a16="http://schemas.microsoft.com/office/drawing/2014/main" id="{B3613336-86C9-401F-B78E-9D46A34B7C80}"/>
              </a:ext>
            </a:extLst>
          </p:cNvPr>
          <p:cNvSpPr>
            <a:spLocks/>
          </p:cNvSpPr>
          <p:nvPr/>
        </p:nvSpPr>
        <p:spPr bwMode="auto">
          <a:xfrm>
            <a:off x="5127665" y="4802412"/>
            <a:ext cx="458443" cy="444826"/>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0" name="Freeform 623">
            <a:extLst>
              <a:ext uri="{FF2B5EF4-FFF2-40B4-BE49-F238E27FC236}">
                <a16:creationId xmlns:a16="http://schemas.microsoft.com/office/drawing/2014/main" id="{B85D8F1C-56D7-4360-927B-5B7067E9BFF5}"/>
              </a:ext>
            </a:extLst>
          </p:cNvPr>
          <p:cNvSpPr>
            <a:spLocks/>
          </p:cNvSpPr>
          <p:nvPr/>
        </p:nvSpPr>
        <p:spPr bwMode="auto">
          <a:xfrm>
            <a:off x="4752443" y="4733457"/>
            <a:ext cx="300763" cy="251482"/>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1" name="Group 35">
            <a:extLst>
              <a:ext uri="{FF2B5EF4-FFF2-40B4-BE49-F238E27FC236}">
                <a16:creationId xmlns:a16="http://schemas.microsoft.com/office/drawing/2014/main" id="{3284F7B8-57FE-4081-8B8F-001F664C8474}"/>
              </a:ext>
            </a:extLst>
          </p:cNvPr>
          <p:cNvGrpSpPr>
            <a:grpSpLocks/>
          </p:cNvGrpSpPr>
          <p:nvPr/>
        </p:nvGrpSpPr>
        <p:grpSpPr bwMode="auto">
          <a:xfrm>
            <a:off x="6091274" y="4633384"/>
            <a:ext cx="254042" cy="248777"/>
            <a:chOff x="4850" y="2769"/>
            <a:chExt cx="221" cy="223"/>
          </a:xfrm>
          <a:solidFill>
            <a:srgbClr val="00B050"/>
          </a:solidFill>
        </p:grpSpPr>
        <p:sp>
          <p:nvSpPr>
            <p:cNvPr id="296" name="Freeform 625">
              <a:extLst>
                <a:ext uri="{FF2B5EF4-FFF2-40B4-BE49-F238E27FC236}">
                  <a16:creationId xmlns:a16="http://schemas.microsoft.com/office/drawing/2014/main" id="{E616D42A-88D3-4AFA-B922-1A7BE1904149}"/>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7" name="Freeform 626">
              <a:extLst>
                <a:ext uri="{FF2B5EF4-FFF2-40B4-BE49-F238E27FC236}">
                  <a16:creationId xmlns:a16="http://schemas.microsoft.com/office/drawing/2014/main" id="{D168F5C9-5033-4E6F-B8D5-D77E4D9D65CA}"/>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8" name="Freeform 627">
              <a:extLst>
                <a:ext uri="{FF2B5EF4-FFF2-40B4-BE49-F238E27FC236}">
                  <a16:creationId xmlns:a16="http://schemas.microsoft.com/office/drawing/2014/main" id="{065D8614-4825-4AE2-A869-FCEDF9F80387}"/>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9" name="Freeform 628">
              <a:extLst>
                <a:ext uri="{FF2B5EF4-FFF2-40B4-BE49-F238E27FC236}">
                  <a16:creationId xmlns:a16="http://schemas.microsoft.com/office/drawing/2014/main" id="{4C7AB524-CCE6-49F7-8D9F-30746B9B9D62}"/>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2" name="Freeform 629">
            <a:extLst>
              <a:ext uri="{FF2B5EF4-FFF2-40B4-BE49-F238E27FC236}">
                <a16:creationId xmlns:a16="http://schemas.microsoft.com/office/drawing/2014/main" id="{72EBD9EE-39F0-4737-B62A-C4E42C1C0F95}"/>
              </a:ext>
            </a:extLst>
          </p:cNvPr>
          <p:cNvSpPr>
            <a:spLocks/>
          </p:cNvSpPr>
          <p:nvPr/>
        </p:nvSpPr>
        <p:spPr bwMode="auto">
          <a:xfrm>
            <a:off x="6008053" y="4680727"/>
            <a:ext cx="100740" cy="9464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3" name="Freeform 630">
            <a:extLst>
              <a:ext uri="{FF2B5EF4-FFF2-40B4-BE49-F238E27FC236}">
                <a16:creationId xmlns:a16="http://schemas.microsoft.com/office/drawing/2014/main" id="{6A1D4621-CB0F-4600-999E-383FB5B7772B}"/>
              </a:ext>
            </a:extLst>
          </p:cNvPr>
          <p:cNvSpPr>
            <a:spLocks/>
          </p:cNvSpPr>
          <p:nvPr/>
        </p:nvSpPr>
        <p:spPr bwMode="auto">
          <a:xfrm>
            <a:off x="6038713" y="4759147"/>
            <a:ext cx="52561" cy="73011"/>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4" name="Freeform 631">
            <a:extLst>
              <a:ext uri="{FF2B5EF4-FFF2-40B4-BE49-F238E27FC236}">
                <a16:creationId xmlns:a16="http://schemas.microsoft.com/office/drawing/2014/main" id="{45496A84-1710-4A3D-B2FE-F670417245AD}"/>
              </a:ext>
            </a:extLst>
          </p:cNvPr>
          <p:cNvSpPr>
            <a:spLocks/>
          </p:cNvSpPr>
          <p:nvPr/>
        </p:nvSpPr>
        <p:spPr bwMode="auto">
          <a:xfrm>
            <a:off x="5631371" y="5025501"/>
            <a:ext cx="112420" cy="127093"/>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5" name="Group 43">
            <a:extLst>
              <a:ext uri="{FF2B5EF4-FFF2-40B4-BE49-F238E27FC236}">
                <a16:creationId xmlns:a16="http://schemas.microsoft.com/office/drawing/2014/main" id="{F77E394B-8C62-4B0F-B274-008D38043D9A}"/>
              </a:ext>
            </a:extLst>
          </p:cNvPr>
          <p:cNvGrpSpPr>
            <a:grpSpLocks/>
          </p:cNvGrpSpPr>
          <p:nvPr/>
        </p:nvGrpSpPr>
        <p:grpSpPr bwMode="auto">
          <a:xfrm>
            <a:off x="1855776" y="3676147"/>
            <a:ext cx="1384088" cy="1023508"/>
            <a:chOff x="1156" y="1908"/>
            <a:chExt cx="1207" cy="919"/>
          </a:xfrm>
          <a:solidFill>
            <a:srgbClr val="00B050"/>
          </a:solidFill>
        </p:grpSpPr>
        <p:sp>
          <p:nvSpPr>
            <p:cNvPr id="277" name="Freeform 633">
              <a:extLst>
                <a:ext uri="{FF2B5EF4-FFF2-40B4-BE49-F238E27FC236}">
                  <a16:creationId xmlns:a16="http://schemas.microsoft.com/office/drawing/2014/main" id="{A8A5EE46-DA47-48F6-864D-98B8159A52FC}"/>
                </a:ext>
              </a:extLst>
            </p:cNvPr>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8" name="Freeform 45">
              <a:extLst>
                <a:ext uri="{FF2B5EF4-FFF2-40B4-BE49-F238E27FC236}">
                  <a16:creationId xmlns:a16="http://schemas.microsoft.com/office/drawing/2014/main" id="{76BA38E6-1527-4FB9-80F3-E9B24A94F66A}"/>
                </a:ext>
              </a:extLst>
            </p:cNvPr>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9" name="Freeform 635">
              <a:extLst>
                <a:ext uri="{FF2B5EF4-FFF2-40B4-BE49-F238E27FC236}">
                  <a16:creationId xmlns:a16="http://schemas.microsoft.com/office/drawing/2014/main" id="{F381E2CA-1129-48CE-9073-C55B7F5C8268}"/>
                </a:ext>
              </a:extLst>
            </p:cNvPr>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0" name="Freeform 636">
              <a:extLst>
                <a:ext uri="{FF2B5EF4-FFF2-40B4-BE49-F238E27FC236}">
                  <a16:creationId xmlns:a16="http://schemas.microsoft.com/office/drawing/2014/main" id="{2DB5D79A-F4D8-46D6-96C8-80E274FB4212}"/>
                </a:ext>
              </a:extLst>
            </p:cNvPr>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1" name="Freeform 637">
              <a:extLst>
                <a:ext uri="{FF2B5EF4-FFF2-40B4-BE49-F238E27FC236}">
                  <a16:creationId xmlns:a16="http://schemas.microsoft.com/office/drawing/2014/main" id="{A0DCC7A6-7BB9-4CA5-844A-ACA59AF55E84}"/>
                </a:ext>
              </a:extLst>
            </p:cNvPr>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2" name="Freeform 638">
              <a:extLst>
                <a:ext uri="{FF2B5EF4-FFF2-40B4-BE49-F238E27FC236}">
                  <a16:creationId xmlns:a16="http://schemas.microsoft.com/office/drawing/2014/main" id="{07D96F2F-FF99-4C3A-A04F-FF217CFF8FB5}"/>
                </a:ext>
              </a:extLst>
            </p:cNvPr>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3" name="Freeform 639">
              <a:extLst>
                <a:ext uri="{FF2B5EF4-FFF2-40B4-BE49-F238E27FC236}">
                  <a16:creationId xmlns:a16="http://schemas.microsoft.com/office/drawing/2014/main" id="{D60A68F1-1B93-4388-871C-FEC438998E4C}"/>
                </a:ext>
              </a:extLst>
            </p:cNvPr>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4" name="Freeform 640">
              <a:extLst>
                <a:ext uri="{FF2B5EF4-FFF2-40B4-BE49-F238E27FC236}">
                  <a16:creationId xmlns:a16="http://schemas.microsoft.com/office/drawing/2014/main" id="{4887EB1B-0474-493C-B8FC-9AFF74407019}"/>
                </a:ext>
              </a:extLst>
            </p:cNvPr>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5" name="Freeform 641">
              <a:extLst>
                <a:ext uri="{FF2B5EF4-FFF2-40B4-BE49-F238E27FC236}">
                  <a16:creationId xmlns:a16="http://schemas.microsoft.com/office/drawing/2014/main" id="{29C4ADEA-05C2-47D4-8A91-E4DF7FCB00DA}"/>
                </a:ext>
              </a:extLst>
            </p:cNvPr>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6" name="Freeform 642">
              <a:extLst>
                <a:ext uri="{FF2B5EF4-FFF2-40B4-BE49-F238E27FC236}">
                  <a16:creationId xmlns:a16="http://schemas.microsoft.com/office/drawing/2014/main" id="{FEEA61E1-3107-42E6-A4FE-66C4C48E7580}"/>
                </a:ext>
              </a:extLst>
            </p:cNvPr>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7" name="Freeform 643">
              <a:extLst>
                <a:ext uri="{FF2B5EF4-FFF2-40B4-BE49-F238E27FC236}">
                  <a16:creationId xmlns:a16="http://schemas.microsoft.com/office/drawing/2014/main" id="{08D5FF95-9C8B-4A2E-90AA-F4543DAD75D6}"/>
                </a:ext>
              </a:extLst>
            </p:cNvPr>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8" name="Freeform 644">
              <a:extLst>
                <a:ext uri="{FF2B5EF4-FFF2-40B4-BE49-F238E27FC236}">
                  <a16:creationId xmlns:a16="http://schemas.microsoft.com/office/drawing/2014/main" id="{452598D8-71D0-4298-B70D-98F0F0DA7BA4}"/>
                </a:ext>
              </a:extLst>
            </p:cNvPr>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9" name="Freeform 645">
              <a:extLst>
                <a:ext uri="{FF2B5EF4-FFF2-40B4-BE49-F238E27FC236}">
                  <a16:creationId xmlns:a16="http://schemas.microsoft.com/office/drawing/2014/main" id="{AFB61959-8813-4625-8709-EEFA33F4EC0C}"/>
                </a:ext>
              </a:extLst>
            </p:cNvPr>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0" name="Freeform 646">
              <a:extLst>
                <a:ext uri="{FF2B5EF4-FFF2-40B4-BE49-F238E27FC236}">
                  <a16:creationId xmlns:a16="http://schemas.microsoft.com/office/drawing/2014/main" id="{A79D43BA-E0DC-4B23-8D69-7E0A9859E876}"/>
                </a:ext>
              </a:extLst>
            </p:cNvPr>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1" name="Freeform 647">
              <a:extLst>
                <a:ext uri="{FF2B5EF4-FFF2-40B4-BE49-F238E27FC236}">
                  <a16:creationId xmlns:a16="http://schemas.microsoft.com/office/drawing/2014/main" id="{5CE3C608-4B79-45E1-96E9-1D3DB4FF8383}"/>
                </a:ext>
              </a:extLst>
            </p:cNvPr>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2" name="Freeform 59">
              <a:extLst>
                <a:ext uri="{FF2B5EF4-FFF2-40B4-BE49-F238E27FC236}">
                  <a16:creationId xmlns:a16="http://schemas.microsoft.com/office/drawing/2014/main" id="{FC1B405A-ED9D-4380-ABC7-B538AE14E53B}"/>
                </a:ext>
              </a:extLst>
            </p:cNvPr>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3" name="Freeform 649">
              <a:extLst>
                <a:ext uri="{FF2B5EF4-FFF2-40B4-BE49-F238E27FC236}">
                  <a16:creationId xmlns:a16="http://schemas.microsoft.com/office/drawing/2014/main" id="{EF082037-E064-42AF-98F0-9FE133DC1D09}"/>
                </a:ext>
              </a:extLst>
            </p:cNvPr>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4" name="Freeform 650">
              <a:extLst>
                <a:ext uri="{FF2B5EF4-FFF2-40B4-BE49-F238E27FC236}">
                  <a16:creationId xmlns:a16="http://schemas.microsoft.com/office/drawing/2014/main" id="{98B4C2FA-6767-429D-A4F4-A6C69BD8FB7F}"/>
                </a:ext>
              </a:extLst>
            </p:cNvPr>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5" name="Freeform 651">
              <a:extLst>
                <a:ext uri="{FF2B5EF4-FFF2-40B4-BE49-F238E27FC236}">
                  <a16:creationId xmlns:a16="http://schemas.microsoft.com/office/drawing/2014/main" id="{A1A87950-40EA-4DE8-8CE6-D33F454687B7}"/>
                </a:ext>
              </a:extLst>
            </p:cNvPr>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6" name="Freeform 652">
            <a:extLst>
              <a:ext uri="{FF2B5EF4-FFF2-40B4-BE49-F238E27FC236}">
                <a16:creationId xmlns:a16="http://schemas.microsoft.com/office/drawing/2014/main" id="{90B134E2-230D-4E83-9B2B-2B5C0A7635AE}"/>
              </a:ext>
            </a:extLst>
          </p:cNvPr>
          <p:cNvSpPr>
            <a:spLocks/>
          </p:cNvSpPr>
          <p:nvPr/>
        </p:nvSpPr>
        <p:spPr bwMode="auto">
          <a:xfrm>
            <a:off x="2920127" y="3659924"/>
            <a:ext cx="950468" cy="673324"/>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7" name="Freeform 653">
            <a:extLst>
              <a:ext uri="{FF2B5EF4-FFF2-40B4-BE49-F238E27FC236}">
                <a16:creationId xmlns:a16="http://schemas.microsoft.com/office/drawing/2014/main" id="{42F516B0-83CB-401D-9D4F-5EFC00BB80FF}"/>
              </a:ext>
            </a:extLst>
          </p:cNvPr>
          <p:cNvSpPr>
            <a:spLocks/>
          </p:cNvSpPr>
          <p:nvPr/>
        </p:nvSpPr>
        <p:spPr bwMode="auto">
          <a:xfrm>
            <a:off x="3679334" y="4181819"/>
            <a:ext cx="173742" cy="77068"/>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8" name="Freeform 654">
            <a:extLst>
              <a:ext uri="{FF2B5EF4-FFF2-40B4-BE49-F238E27FC236}">
                <a16:creationId xmlns:a16="http://schemas.microsoft.com/office/drawing/2014/main" id="{AEDBB3BA-B9B5-4529-80D6-07A47E3580D4}"/>
              </a:ext>
            </a:extLst>
          </p:cNvPr>
          <p:cNvSpPr>
            <a:spLocks/>
          </p:cNvSpPr>
          <p:nvPr/>
        </p:nvSpPr>
        <p:spPr bwMode="auto">
          <a:xfrm>
            <a:off x="2229542" y="4859199"/>
            <a:ext cx="474503" cy="289340"/>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9" name="Freeform 655">
            <a:extLst>
              <a:ext uri="{FF2B5EF4-FFF2-40B4-BE49-F238E27FC236}">
                <a16:creationId xmlns:a16="http://schemas.microsoft.com/office/drawing/2014/main" id="{103CE0F2-1959-4FB4-9DEB-710314E74D8F}"/>
              </a:ext>
            </a:extLst>
          </p:cNvPr>
          <p:cNvSpPr>
            <a:spLocks/>
          </p:cNvSpPr>
          <p:nvPr/>
        </p:nvSpPr>
        <p:spPr bwMode="auto">
          <a:xfrm>
            <a:off x="5435729" y="4464485"/>
            <a:ext cx="497864" cy="276999"/>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70" name="Freeform 656">
            <a:extLst>
              <a:ext uri="{FF2B5EF4-FFF2-40B4-BE49-F238E27FC236}">
                <a16:creationId xmlns:a16="http://schemas.microsoft.com/office/drawing/2014/main" id="{4F08ECD2-B0A3-418F-849F-235D1C7B0112}"/>
              </a:ext>
            </a:extLst>
          </p:cNvPr>
          <p:cNvSpPr>
            <a:spLocks/>
          </p:cNvSpPr>
          <p:nvPr/>
        </p:nvSpPr>
        <p:spPr bwMode="auto">
          <a:xfrm>
            <a:off x="4876544" y="4986293"/>
            <a:ext cx="116801" cy="132501"/>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1" name="Freeform 657">
            <a:extLst>
              <a:ext uri="{FF2B5EF4-FFF2-40B4-BE49-F238E27FC236}">
                <a16:creationId xmlns:a16="http://schemas.microsoft.com/office/drawing/2014/main" id="{5E649382-9C23-4795-BBF9-46D64A38F33F}"/>
              </a:ext>
            </a:extLst>
          </p:cNvPr>
          <p:cNvSpPr>
            <a:spLocks/>
          </p:cNvSpPr>
          <p:nvPr/>
        </p:nvSpPr>
        <p:spPr bwMode="auto">
          <a:xfrm>
            <a:off x="5314547" y="4898408"/>
            <a:ext cx="127022" cy="64899"/>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2" name="Group 69">
            <a:extLst>
              <a:ext uri="{FF2B5EF4-FFF2-40B4-BE49-F238E27FC236}">
                <a16:creationId xmlns:a16="http://schemas.microsoft.com/office/drawing/2014/main" id="{A36B7DC4-1B53-4416-8305-AD78F046273A}"/>
              </a:ext>
            </a:extLst>
          </p:cNvPr>
          <p:cNvGrpSpPr>
            <a:grpSpLocks/>
          </p:cNvGrpSpPr>
          <p:nvPr/>
        </p:nvGrpSpPr>
        <p:grpSpPr bwMode="auto">
          <a:xfrm>
            <a:off x="6666457" y="5909764"/>
            <a:ext cx="186879" cy="219035"/>
            <a:chOff x="5352" y="3915"/>
            <a:chExt cx="163" cy="197"/>
          </a:xfrm>
          <a:solidFill>
            <a:srgbClr val="00B050"/>
          </a:solidFill>
        </p:grpSpPr>
        <p:sp>
          <p:nvSpPr>
            <p:cNvPr id="275" name="Freeform 659">
              <a:extLst>
                <a:ext uri="{FF2B5EF4-FFF2-40B4-BE49-F238E27FC236}">
                  <a16:creationId xmlns:a16="http://schemas.microsoft.com/office/drawing/2014/main" id="{AAA97107-21AF-4370-995C-0E31C43B175B}"/>
                </a:ext>
              </a:extLst>
            </p:cNvPr>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6" name="Freeform 660">
              <a:extLst>
                <a:ext uri="{FF2B5EF4-FFF2-40B4-BE49-F238E27FC236}">
                  <a16:creationId xmlns:a16="http://schemas.microsoft.com/office/drawing/2014/main" id="{28698661-DF5F-4315-8BCF-342C6DAABF32}"/>
                </a:ext>
              </a:extLst>
            </p:cNvPr>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3" name="Freeform 661">
            <a:extLst>
              <a:ext uri="{FF2B5EF4-FFF2-40B4-BE49-F238E27FC236}">
                <a16:creationId xmlns:a16="http://schemas.microsoft.com/office/drawing/2014/main" id="{98ADAE93-D5E4-4A59-9C44-F3321359FCDF}"/>
              </a:ext>
            </a:extLst>
          </p:cNvPr>
          <p:cNvSpPr>
            <a:spLocks/>
          </p:cNvSpPr>
          <p:nvPr/>
        </p:nvSpPr>
        <p:spPr bwMode="auto">
          <a:xfrm>
            <a:off x="5013784" y="4783484"/>
            <a:ext cx="264263" cy="221737"/>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4" name="Group 73">
            <a:extLst>
              <a:ext uri="{FF2B5EF4-FFF2-40B4-BE49-F238E27FC236}">
                <a16:creationId xmlns:a16="http://schemas.microsoft.com/office/drawing/2014/main" id="{9BD7B3BD-D790-4305-84E7-5A72B29158D7}"/>
              </a:ext>
            </a:extLst>
          </p:cNvPr>
          <p:cNvGrpSpPr>
            <a:grpSpLocks/>
          </p:cNvGrpSpPr>
          <p:nvPr/>
        </p:nvGrpSpPr>
        <p:grpSpPr bwMode="auto">
          <a:xfrm>
            <a:off x="6270798" y="5408134"/>
            <a:ext cx="186880" cy="116277"/>
            <a:chOff x="5006" y="3464"/>
            <a:chExt cx="164" cy="107"/>
          </a:xfrm>
          <a:solidFill>
            <a:srgbClr val="00B050"/>
          </a:solidFill>
        </p:grpSpPr>
        <p:sp>
          <p:nvSpPr>
            <p:cNvPr id="272" name="Freeform 663">
              <a:extLst>
                <a:ext uri="{FF2B5EF4-FFF2-40B4-BE49-F238E27FC236}">
                  <a16:creationId xmlns:a16="http://schemas.microsoft.com/office/drawing/2014/main" id="{37313F0F-7032-46C5-AB40-4833F09656C9}"/>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3" name="Freeform 75">
              <a:extLst>
                <a:ext uri="{FF2B5EF4-FFF2-40B4-BE49-F238E27FC236}">
                  <a16:creationId xmlns:a16="http://schemas.microsoft.com/office/drawing/2014/main" id="{6E3F9E2E-887E-4711-8692-BB936FDF937E}"/>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4" name="Freeform 665">
              <a:extLst>
                <a:ext uri="{FF2B5EF4-FFF2-40B4-BE49-F238E27FC236}">
                  <a16:creationId xmlns:a16="http://schemas.microsoft.com/office/drawing/2014/main" id="{90E3737C-0897-45B0-80D4-8986F7FC090B}"/>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75" name="Group 77">
            <a:extLst>
              <a:ext uri="{FF2B5EF4-FFF2-40B4-BE49-F238E27FC236}">
                <a16:creationId xmlns:a16="http://schemas.microsoft.com/office/drawing/2014/main" id="{794F3FAD-552B-4F54-B292-3C9EFB594DE8}"/>
              </a:ext>
            </a:extLst>
          </p:cNvPr>
          <p:cNvGrpSpPr>
            <a:grpSpLocks/>
          </p:cNvGrpSpPr>
          <p:nvPr/>
        </p:nvGrpSpPr>
        <p:grpSpPr bwMode="auto">
          <a:xfrm>
            <a:off x="5897164" y="5086360"/>
            <a:ext cx="141623" cy="200105"/>
            <a:chOff x="4680" y="3175"/>
            <a:chExt cx="125" cy="179"/>
          </a:xfrm>
          <a:solidFill>
            <a:srgbClr val="00B050"/>
          </a:solidFill>
        </p:grpSpPr>
        <p:sp>
          <p:nvSpPr>
            <p:cNvPr id="266" name="Freeform 667">
              <a:extLst>
                <a:ext uri="{FF2B5EF4-FFF2-40B4-BE49-F238E27FC236}">
                  <a16:creationId xmlns:a16="http://schemas.microsoft.com/office/drawing/2014/main" id="{FA9BAED0-43F7-4E99-8B88-399CA30CA33F}"/>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7" name="Freeform 79">
              <a:extLst>
                <a:ext uri="{FF2B5EF4-FFF2-40B4-BE49-F238E27FC236}">
                  <a16:creationId xmlns:a16="http://schemas.microsoft.com/office/drawing/2014/main" id="{9454F253-2A59-4A63-ACAF-CC2D0548B1FD}"/>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8" name="Freeform 669">
              <a:extLst>
                <a:ext uri="{FF2B5EF4-FFF2-40B4-BE49-F238E27FC236}">
                  <a16:creationId xmlns:a16="http://schemas.microsoft.com/office/drawing/2014/main" id="{BC2F61F0-0972-40B7-9276-EC3C84E67EEC}"/>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9" name="Freeform 81">
              <a:extLst>
                <a:ext uri="{FF2B5EF4-FFF2-40B4-BE49-F238E27FC236}">
                  <a16:creationId xmlns:a16="http://schemas.microsoft.com/office/drawing/2014/main" id="{B1E799A7-A53F-4DD0-A331-B920C5631522}"/>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0" name="Freeform 671">
              <a:extLst>
                <a:ext uri="{FF2B5EF4-FFF2-40B4-BE49-F238E27FC236}">
                  <a16:creationId xmlns:a16="http://schemas.microsoft.com/office/drawing/2014/main" id="{3BCCB7F3-0A69-4735-8804-EA1993676A85}"/>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1" name="Freeform 672">
              <a:extLst>
                <a:ext uri="{FF2B5EF4-FFF2-40B4-BE49-F238E27FC236}">
                  <a16:creationId xmlns:a16="http://schemas.microsoft.com/office/drawing/2014/main" id="{5E8B5FE5-FAF9-4831-92A3-85C56F6B10BA}"/>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6" name="Freeform 673">
            <a:extLst>
              <a:ext uri="{FF2B5EF4-FFF2-40B4-BE49-F238E27FC236}">
                <a16:creationId xmlns:a16="http://schemas.microsoft.com/office/drawing/2014/main" id="{EF511045-E73B-4CFF-885B-23ECD1E8C178}"/>
              </a:ext>
            </a:extLst>
          </p:cNvPr>
          <p:cNvSpPr>
            <a:spLocks/>
          </p:cNvSpPr>
          <p:nvPr/>
        </p:nvSpPr>
        <p:spPr bwMode="auto">
          <a:xfrm>
            <a:off x="4480881" y="3865437"/>
            <a:ext cx="2559400" cy="831516"/>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3"/>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7" name="Freeform 674">
            <a:extLst>
              <a:ext uri="{FF2B5EF4-FFF2-40B4-BE49-F238E27FC236}">
                <a16:creationId xmlns:a16="http://schemas.microsoft.com/office/drawing/2014/main" id="{BF50E8F5-4960-4CF4-8383-AF42F855C8F0}"/>
              </a:ext>
            </a:extLst>
          </p:cNvPr>
          <p:cNvSpPr>
            <a:spLocks/>
          </p:cNvSpPr>
          <p:nvPr/>
        </p:nvSpPr>
        <p:spPr bwMode="auto">
          <a:xfrm>
            <a:off x="4791862" y="3755921"/>
            <a:ext cx="78840" cy="35154"/>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8" name="Freeform 675">
            <a:extLst>
              <a:ext uri="{FF2B5EF4-FFF2-40B4-BE49-F238E27FC236}">
                <a16:creationId xmlns:a16="http://schemas.microsoft.com/office/drawing/2014/main" id="{EA39EB43-A228-4F10-9D52-7DCE445E0176}"/>
              </a:ext>
            </a:extLst>
          </p:cNvPr>
          <p:cNvSpPr>
            <a:spLocks/>
          </p:cNvSpPr>
          <p:nvPr/>
        </p:nvSpPr>
        <p:spPr bwMode="auto">
          <a:xfrm>
            <a:off x="4815223" y="4106103"/>
            <a:ext cx="32120" cy="17577"/>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9" name="Freeform 676">
            <a:extLst>
              <a:ext uri="{FF2B5EF4-FFF2-40B4-BE49-F238E27FC236}">
                <a16:creationId xmlns:a16="http://schemas.microsoft.com/office/drawing/2014/main" id="{95BF0EB2-490C-4E4C-983D-DB8C80733A18}"/>
              </a:ext>
            </a:extLst>
          </p:cNvPr>
          <p:cNvSpPr>
            <a:spLocks/>
          </p:cNvSpPr>
          <p:nvPr/>
        </p:nvSpPr>
        <p:spPr bwMode="auto">
          <a:xfrm>
            <a:off x="4866324" y="4004699"/>
            <a:ext cx="97821" cy="67603"/>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0" name="Freeform 677">
            <a:extLst>
              <a:ext uri="{FF2B5EF4-FFF2-40B4-BE49-F238E27FC236}">
                <a16:creationId xmlns:a16="http://schemas.microsoft.com/office/drawing/2014/main" id="{407A864B-2946-4460-8D74-618B9CA860C4}"/>
              </a:ext>
            </a:extLst>
          </p:cNvPr>
          <p:cNvSpPr>
            <a:spLocks/>
          </p:cNvSpPr>
          <p:nvPr/>
        </p:nvSpPr>
        <p:spPr bwMode="auto">
          <a:xfrm>
            <a:off x="4901364" y="3888423"/>
            <a:ext cx="240902" cy="116277"/>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1" name="Freeform 678">
            <a:extLst>
              <a:ext uri="{FF2B5EF4-FFF2-40B4-BE49-F238E27FC236}">
                <a16:creationId xmlns:a16="http://schemas.microsoft.com/office/drawing/2014/main" id="{ADA77C41-C517-4C6A-92B8-8C800F9BABEE}"/>
              </a:ext>
            </a:extLst>
          </p:cNvPr>
          <p:cNvSpPr>
            <a:spLocks/>
          </p:cNvSpPr>
          <p:nvPr/>
        </p:nvSpPr>
        <p:spPr bwMode="auto">
          <a:xfrm>
            <a:off x="5040065" y="3741049"/>
            <a:ext cx="46720" cy="21633"/>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2" name="Freeform 679">
            <a:extLst>
              <a:ext uri="{FF2B5EF4-FFF2-40B4-BE49-F238E27FC236}">
                <a16:creationId xmlns:a16="http://schemas.microsoft.com/office/drawing/2014/main" id="{FD1F4F0E-11F9-489B-AEEE-DCA1015253E2}"/>
              </a:ext>
            </a:extLst>
          </p:cNvPr>
          <p:cNvSpPr>
            <a:spLocks/>
          </p:cNvSpPr>
          <p:nvPr/>
        </p:nvSpPr>
        <p:spPr bwMode="auto">
          <a:xfrm>
            <a:off x="5485369" y="3785666"/>
            <a:ext cx="43801" cy="14872"/>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3" name="Freeform 680">
            <a:extLst>
              <a:ext uri="{FF2B5EF4-FFF2-40B4-BE49-F238E27FC236}">
                <a16:creationId xmlns:a16="http://schemas.microsoft.com/office/drawing/2014/main" id="{691F974D-6BEA-413E-AFE8-2F8F695C9D1F}"/>
              </a:ext>
            </a:extLst>
          </p:cNvPr>
          <p:cNvSpPr>
            <a:spLocks/>
          </p:cNvSpPr>
          <p:nvPr/>
        </p:nvSpPr>
        <p:spPr bwMode="auto">
          <a:xfrm>
            <a:off x="5494130" y="3745104"/>
            <a:ext cx="100740" cy="41913"/>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4" name="Freeform 681">
            <a:extLst>
              <a:ext uri="{FF2B5EF4-FFF2-40B4-BE49-F238E27FC236}">
                <a16:creationId xmlns:a16="http://schemas.microsoft.com/office/drawing/2014/main" id="{9A782A32-53DB-445E-8E52-7A8689503316}"/>
              </a:ext>
            </a:extLst>
          </p:cNvPr>
          <p:cNvSpPr>
            <a:spLocks/>
          </p:cNvSpPr>
          <p:nvPr/>
        </p:nvSpPr>
        <p:spPr bwMode="auto">
          <a:xfrm>
            <a:off x="5514569" y="3781609"/>
            <a:ext cx="110961" cy="50027"/>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5" name="Freeform 682">
            <a:extLst>
              <a:ext uri="{FF2B5EF4-FFF2-40B4-BE49-F238E27FC236}">
                <a16:creationId xmlns:a16="http://schemas.microsoft.com/office/drawing/2014/main" id="{89889F1F-F5A9-4CDA-9661-2DABF92F0C98}"/>
              </a:ext>
            </a:extLst>
          </p:cNvPr>
          <p:cNvSpPr>
            <a:spLocks/>
          </p:cNvSpPr>
          <p:nvPr/>
        </p:nvSpPr>
        <p:spPr bwMode="auto">
          <a:xfrm>
            <a:off x="5619689" y="3807299"/>
            <a:ext cx="93441" cy="50027"/>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6" name="Freeform 683">
            <a:extLst>
              <a:ext uri="{FF2B5EF4-FFF2-40B4-BE49-F238E27FC236}">
                <a16:creationId xmlns:a16="http://schemas.microsoft.com/office/drawing/2014/main" id="{4AB652D7-26CE-4535-9304-FA5D0E7D6FEE}"/>
              </a:ext>
            </a:extLst>
          </p:cNvPr>
          <p:cNvSpPr>
            <a:spLocks/>
          </p:cNvSpPr>
          <p:nvPr/>
        </p:nvSpPr>
        <p:spPr bwMode="auto">
          <a:xfrm>
            <a:off x="6200775" y="3911407"/>
            <a:ext cx="105121" cy="4867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7" name="Freeform 684">
            <a:extLst>
              <a:ext uri="{FF2B5EF4-FFF2-40B4-BE49-F238E27FC236}">
                <a16:creationId xmlns:a16="http://schemas.microsoft.com/office/drawing/2014/main" id="{5394BAFA-E989-4A31-B6CE-E7B95647C880}"/>
              </a:ext>
            </a:extLst>
          </p:cNvPr>
          <p:cNvSpPr>
            <a:spLocks/>
          </p:cNvSpPr>
          <p:nvPr/>
        </p:nvSpPr>
        <p:spPr bwMode="auto">
          <a:xfrm>
            <a:off x="6273775" y="3912760"/>
            <a:ext cx="64240" cy="35154"/>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8" name="Freeform 685">
            <a:extLst>
              <a:ext uri="{FF2B5EF4-FFF2-40B4-BE49-F238E27FC236}">
                <a16:creationId xmlns:a16="http://schemas.microsoft.com/office/drawing/2014/main" id="{CC2CD2E4-CCD1-47BB-A4BE-E08B6EE05F8A}"/>
              </a:ext>
            </a:extLst>
          </p:cNvPr>
          <p:cNvSpPr>
            <a:spLocks/>
          </p:cNvSpPr>
          <p:nvPr/>
        </p:nvSpPr>
        <p:spPr bwMode="auto">
          <a:xfrm>
            <a:off x="6279616" y="4458991"/>
            <a:ext cx="48180" cy="166302"/>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9" name="Freeform 686">
            <a:extLst>
              <a:ext uri="{FF2B5EF4-FFF2-40B4-BE49-F238E27FC236}">
                <a16:creationId xmlns:a16="http://schemas.microsoft.com/office/drawing/2014/main" id="{FA39D6F1-3E4E-4C18-8AA5-C6DEADB50CF5}"/>
              </a:ext>
            </a:extLst>
          </p:cNvPr>
          <p:cNvSpPr>
            <a:spLocks/>
          </p:cNvSpPr>
          <p:nvPr/>
        </p:nvSpPr>
        <p:spPr bwMode="auto">
          <a:xfrm>
            <a:off x="6351155" y="3933039"/>
            <a:ext cx="73000" cy="24337"/>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90" name="Group 98">
            <a:extLst>
              <a:ext uri="{FF2B5EF4-FFF2-40B4-BE49-F238E27FC236}">
                <a16:creationId xmlns:a16="http://schemas.microsoft.com/office/drawing/2014/main" id="{9CCE8B22-9644-4C67-9A90-6B439FFBAE2D}"/>
              </a:ext>
            </a:extLst>
          </p:cNvPr>
          <p:cNvGrpSpPr>
            <a:grpSpLocks/>
          </p:cNvGrpSpPr>
          <p:nvPr/>
        </p:nvGrpSpPr>
        <p:grpSpPr bwMode="auto">
          <a:xfrm>
            <a:off x="4231217" y="3769442"/>
            <a:ext cx="258423" cy="131149"/>
            <a:chOff x="3227" y="1992"/>
            <a:chExt cx="225" cy="118"/>
          </a:xfrm>
          <a:solidFill>
            <a:srgbClr val="00B050"/>
          </a:solidFill>
        </p:grpSpPr>
        <p:sp>
          <p:nvSpPr>
            <p:cNvPr id="263" name="Freeform 688">
              <a:extLst>
                <a:ext uri="{FF2B5EF4-FFF2-40B4-BE49-F238E27FC236}">
                  <a16:creationId xmlns:a16="http://schemas.microsoft.com/office/drawing/2014/main" id="{FF0D9FE9-6439-4CB6-927A-C8BD823405CF}"/>
                </a:ext>
              </a:extLst>
            </p:cNvPr>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4" name="Freeform 689">
              <a:extLst>
                <a:ext uri="{FF2B5EF4-FFF2-40B4-BE49-F238E27FC236}">
                  <a16:creationId xmlns:a16="http://schemas.microsoft.com/office/drawing/2014/main" id="{D296E5B0-88FC-4606-80CE-86DB4D92B321}"/>
                </a:ext>
              </a:extLst>
            </p:cNvPr>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5" name="Freeform 690">
              <a:extLst>
                <a:ext uri="{FF2B5EF4-FFF2-40B4-BE49-F238E27FC236}">
                  <a16:creationId xmlns:a16="http://schemas.microsoft.com/office/drawing/2014/main" id="{1C37C82C-03CE-471E-B718-979BA7E7C1F3}"/>
                </a:ext>
              </a:extLst>
            </p:cNvPr>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91" name="Freeform 691">
            <a:extLst>
              <a:ext uri="{FF2B5EF4-FFF2-40B4-BE49-F238E27FC236}">
                <a16:creationId xmlns:a16="http://schemas.microsoft.com/office/drawing/2014/main" id="{D28CFB18-6653-431F-B2ED-C546617D22A4}"/>
              </a:ext>
            </a:extLst>
          </p:cNvPr>
          <p:cNvSpPr>
            <a:spLocks/>
          </p:cNvSpPr>
          <p:nvPr/>
        </p:nvSpPr>
        <p:spPr bwMode="auto">
          <a:xfrm>
            <a:off x="5590490" y="5052543"/>
            <a:ext cx="125561" cy="23390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2" name="Freeform 692">
            <a:extLst>
              <a:ext uri="{FF2B5EF4-FFF2-40B4-BE49-F238E27FC236}">
                <a16:creationId xmlns:a16="http://schemas.microsoft.com/office/drawing/2014/main" id="{9FCD6F56-B8C1-4FC0-863D-8E71A8CB23AB}"/>
              </a:ext>
            </a:extLst>
          </p:cNvPr>
          <p:cNvSpPr>
            <a:spLocks/>
          </p:cNvSpPr>
          <p:nvPr/>
        </p:nvSpPr>
        <p:spPr bwMode="auto">
          <a:xfrm>
            <a:off x="4473580" y="4694249"/>
            <a:ext cx="290543" cy="109515"/>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3" name="Freeform 693">
            <a:extLst>
              <a:ext uri="{FF2B5EF4-FFF2-40B4-BE49-F238E27FC236}">
                <a16:creationId xmlns:a16="http://schemas.microsoft.com/office/drawing/2014/main" id="{29F54C2A-36D0-421A-9230-E5196D9A16CB}"/>
              </a:ext>
            </a:extLst>
          </p:cNvPr>
          <p:cNvSpPr>
            <a:spLocks/>
          </p:cNvSpPr>
          <p:nvPr/>
        </p:nvSpPr>
        <p:spPr bwMode="auto">
          <a:xfrm>
            <a:off x="1433835" y="4054726"/>
            <a:ext cx="465745" cy="393448"/>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4" name="Freeform 694">
            <a:extLst>
              <a:ext uri="{FF2B5EF4-FFF2-40B4-BE49-F238E27FC236}">
                <a16:creationId xmlns:a16="http://schemas.microsoft.com/office/drawing/2014/main" id="{C0445C87-6890-4F17-8D40-1619FBDB78C2}"/>
              </a:ext>
            </a:extLst>
          </p:cNvPr>
          <p:cNvSpPr>
            <a:spLocks/>
          </p:cNvSpPr>
          <p:nvPr/>
        </p:nvSpPr>
        <p:spPr bwMode="auto">
          <a:xfrm>
            <a:off x="1639698" y="4384628"/>
            <a:ext cx="40881" cy="24337"/>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5" name="Freeform 695">
            <a:extLst>
              <a:ext uri="{FF2B5EF4-FFF2-40B4-BE49-F238E27FC236}">
                <a16:creationId xmlns:a16="http://schemas.microsoft.com/office/drawing/2014/main" id="{1F6DB845-3BA5-4D76-BC5C-6C9E21073F43}"/>
              </a:ext>
            </a:extLst>
          </p:cNvPr>
          <p:cNvSpPr>
            <a:spLocks/>
          </p:cNvSpPr>
          <p:nvPr/>
        </p:nvSpPr>
        <p:spPr bwMode="auto">
          <a:xfrm>
            <a:off x="1899579" y="4340011"/>
            <a:ext cx="128481" cy="11086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6" name="Freeform 696">
            <a:extLst>
              <a:ext uri="{FF2B5EF4-FFF2-40B4-BE49-F238E27FC236}">
                <a16:creationId xmlns:a16="http://schemas.microsoft.com/office/drawing/2014/main" id="{C5C31C86-8CBA-4C46-B3DE-65A8CCD3267C}"/>
              </a:ext>
            </a:extLst>
          </p:cNvPr>
          <p:cNvSpPr>
            <a:spLocks/>
          </p:cNvSpPr>
          <p:nvPr/>
        </p:nvSpPr>
        <p:spPr bwMode="auto">
          <a:xfrm>
            <a:off x="1928779" y="4376515"/>
            <a:ext cx="23360" cy="18928"/>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7" name="Freeform 697">
            <a:extLst>
              <a:ext uri="{FF2B5EF4-FFF2-40B4-BE49-F238E27FC236}">
                <a16:creationId xmlns:a16="http://schemas.microsoft.com/office/drawing/2014/main" id="{CE67ACDE-6CFE-4F6E-ADB6-E5D8AF8B1F9B}"/>
              </a:ext>
            </a:extLst>
          </p:cNvPr>
          <p:cNvSpPr>
            <a:spLocks/>
          </p:cNvSpPr>
          <p:nvPr/>
        </p:nvSpPr>
        <p:spPr bwMode="auto">
          <a:xfrm>
            <a:off x="1937539" y="4391389"/>
            <a:ext cx="14600" cy="28393"/>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8" name="Freeform 698">
            <a:extLst>
              <a:ext uri="{FF2B5EF4-FFF2-40B4-BE49-F238E27FC236}">
                <a16:creationId xmlns:a16="http://schemas.microsoft.com/office/drawing/2014/main" id="{CB872E09-31AF-4938-9583-886CE3BA7AD3}"/>
              </a:ext>
            </a:extLst>
          </p:cNvPr>
          <p:cNvSpPr>
            <a:spLocks/>
          </p:cNvSpPr>
          <p:nvPr/>
        </p:nvSpPr>
        <p:spPr bwMode="auto">
          <a:xfrm>
            <a:off x="1952139" y="4377868"/>
            <a:ext cx="18980" cy="18928"/>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9" name="Freeform 699">
            <a:extLst>
              <a:ext uri="{FF2B5EF4-FFF2-40B4-BE49-F238E27FC236}">
                <a16:creationId xmlns:a16="http://schemas.microsoft.com/office/drawing/2014/main" id="{B0DCB1F1-0801-4DD1-9DC9-1D72512FF5DE}"/>
              </a:ext>
            </a:extLst>
          </p:cNvPr>
          <p:cNvSpPr>
            <a:spLocks/>
          </p:cNvSpPr>
          <p:nvPr/>
        </p:nvSpPr>
        <p:spPr bwMode="auto">
          <a:xfrm>
            <a:off x="1966741" y="4402205"/>
            <a:ext cx="13139" cy="12168"/>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0" name="Freeform 700">
            <a:extLst>
              <a:ext uri="{FF2B5EF4-FFF2-40B4-BE49-F238E27FC236}">
                <a16:creationId xmlns:a16="http://schemas.microsoft.com/office/drawing/2014/main" id="{7506D3EC-7627-4E29-8992-84797B05FEAB}"/>
              </a:ext>
            </a:extLst>
          </p:cNvPr>
          <p:cNvSpPr>
            <a:spLocks/>
          </p:cNvSpPr>
          <p:nvPr/>
        </p:nvSpPr>
        <p:spPr bwMode="auto">
          <a:xfrm>
            <a:off x="1971120" y="4417078"/>
            <a:ext cx="20440" cy="29745"/>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1" name="Freeform 701">
            <a:extLst>
              <a:ext uri="{FF2B5EF4-FFF2-40B4-BE49-F238E27FC236}">
                <a16:creationId xmlns:a16="http://schemas.microsoft.com/office/drawing/2014/main" id="{4F79DD9B-4316-48D9-B0AD-A65A6A07FBE4}"/>
              </a:ext>
            </a:extLst>
          </p:cNvPr>
          <p:cNvSpPr>
            <a:spLocks/>
          </p:cNvSpPr>
          <p:nvPr/>
        </p:nvSpPr>
        <p:spPr bwMode="auto">
          <a:xfrm>
            <a:off x="2001780" y="4426542"/>
            <a:ext cx="13139" cy="14872"/>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2" name="Freeform 702">
            <a:extLst>
              <a:ext uri="{FF2B5EF4-FFF2-40B4-BE49-F238E27FC236}">
                <a16:creationId xmlns:a16="http://schemas.microsoft.com/office/drawing/2014/main" id="{F7E30A9B-D06A-4314-A309-7CCC67FD7969}"/>
              </a:ext>
            </a:extLst>
          </p:cNvPr>
          <p:cNvSpPr>
            <a:spLocks/>
          </p:cNvSpPr>
          <p:nvPr/>
        </p:nvSpPr>
        <p:spPr bwMode="auto">
          <a:xfrm>
            <a:off x="2111281" y="4557691"/>
            <a:ext cx="903749" cy="425899"/>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3" name="Freeform 703">
            <a:extLst>
              <a:ext uri="{FF2B5EF4-FFF2-40B4-BE49-F238E27FC236}">
                <a16:creationId xmlns:a16="http://schemas.microsoft.com/office/drawing/2014/main" id="{55AC66FC-1912-4FA6-9D9B-62AA0870F6A1}"/>
              </a:ext>
            </a:extLst>
          </p:cNvPr>
          <p:cNvSpPr>
            <a:spLocks/>
          </p:cNvSpPr>
          <p:nvPr/>
        </p:nvSpPr>
        <p:spPr bwMode="auto">
          <a:xfrm>
            <a:off x="7002321" y="4252126"/>
            <a:ext cx="51101" cy="16225"/>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4" name="Freeform 704">
            <a:extLst>
              <a:ext uri="{FF2B5EF4-FFF2-40B4-BE49-F238E27FC236}">
                <a16:creationId xmlns:a16="http://schemas.microsoft.com/office/drawing/2014/main" id="{1EF74135-38F5-4B5B-8767-B58DF6090E96}"/>
              </a:ext>
            </a:extLst>
          </p:cNvPr>
          <p:cNvSpPr>
            <a:spLocks/>
          </p:cNvSpPr>
          <p:nvPr/>
        </p:nvSpPr>
        <p:spPr bwMode="auto">
          <a:xfrm>
            <a:off x="3009528" y="5086827"/>
            <a:ext cx="24138" cy="8900"/>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5" name="Freeform 705">
            <a:extLst>
              <a:ext uri="{FF2B5EF4-FFF2-40B4-BE49-F238E27FC236}">
                <a16:creationId xmlns:a16="http://schemas.microsoft.com/office/drawing/2014/main" id="{E3D9AEA2-B142-4632-B159-C828C0E799D8}"/>
              </a:ext>
            </a:extLst>
          </p:cNvPr>
          <p:cNvSpPr>
            <a:spLocks/>
          </p:cNvSpPr>
          <p:nvPr/>
        </p:nvSpPr>
        <p:spPr bwMode="auto">
          <a:xfrm>
            <a:off x="2912978" y="5702047"/>
            <a:ext cx="310339" cy="535119"/>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6" name="Freeform 706">
            <a:extLst>
              <a:ext uri="{FF2B5EF4-FFF2-40B4-BE49-F238E27FC236}">
                <a16:creationId xmlns:a16="http://schemas.microsoft.com/office/drawing/2014/main" id="{73C311A6-1A4D-4EBA-83CA-E3FF3F35E0FB}"/>
              </a:ext>
            </a:extLst>
          </p:cNvPr>
          <p:cNvSpPr>
            <a:spLocks/>
          </p:cNvSpPr>
          <p:nvPr/>
        </p:nvSpPr>
        <p:spPr bwMode="auto">
          <a:xfrm>
            <a:off x="2986540" y="6244953"/>
            <a:ext cx="56321" cy="46726"/>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7" name="Freeform 707">
            <a:extLst>
              <a:ext uri="{FF2B5EF4-FFF2-40B4-BE49-F238E27FC236}">
                <a16:creationId xmlns:a16="http://schemas.microsoft.com/office/drawing/2014/main" id="{02B694A8-55D5-4A2E-9316-39E66FF089F8}"/>
              </a:ext>
            </a:extLst>
          </p:cNvPr>
          <p:cNvSpPr>
            <a:spLocks/>
          </p:cNvSpPr>
          <p:nvPr/>
        </p:nvSpPr>
        <p:spPr bwMode="auto">
          <a:xfrm>
            <a:off x="2970448" y="5514032"/>
            <a:ext cx="189652" cy="20581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8" name="Freeform 708">
            <a:extLst>
              <a:ext uri="{FF2B5EF4-FFF2-40B4-BE49-F238E27FC236}">
                <a16:creationId xmlns:a16="http://schemas.microsoft.com/office/drawing/2014/main" id="{809A775B-E5D4-4867-B09A-C8A781646D77}"/>
              </a:ext>
            </a:extLst>
          </p:cNvPr>
          <p:cNvSpPr>
            <a:spLocks/>
          </p:cNvSpPr>
          <p:nvPr/>
        </p:nvSpPr>
        <p:spPr bwMode="auto">
          <a:xfrm>
            <a:off x="2906082" y="5291529"/>
            <a:ext cx="612633" cy="605207"/>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9" name="Freeform 709">
            <a:extLst>
              <a:ext uri="{FF2B5EF4-FFF2-40B4-BE49-F238E27FC236}">
                <a16:creationId xmlns:a16="http://schemas.microsoft.com/office/drawing/2014/main" id="{E5978EA7-ED59-430A-936F-7AAC511D80FB}"/>
              </a:ext>
            </a:extLst>
          </p:cNvPr>
          <p:cNvSpPr>
            <a:spLocks/>
          </p:cNvSpPr>
          <p:nvPr/>
        </p:nvSpPr>
        <p:spPr bwMode="auto">
          <a:xfrm>
            <a:off x="2664707" y="5086827"/>
            <a:ext cx="14942" cy="41163"/>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0" name="Freeform 710">
            <a:extLst>
              <a:ext uri="{FF2B5EF4-FFF2-40B4-BE49-F238E27FC236}">
                <a16:creationId xmlns:a16="http://schemas.microsoft.com/office/drawing/2014/main" id="{A7719609-0A29-44D8-B66E-E402A76F776A}"/>
              </a:ext>
            </a:extLst>
          </p:cNvPr>
          <p:cNvSpPr>
            <a:spLocks/>
          </p:cNvSpPr>
          <p:nvPr/>
        </p:nvSpPr>
        <p:spPr bwMode="auto">
          <a:xfrm>
            <a:off x="2878496" y="5634183"/>
            <a:ext cx="132182" cy="635245"/>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1" name="Freeform 711">
            <a:extLst>
              <a:ext uri="{FF2B5EF4-FFF2-40B4-BE49-F238E27FC236}">
                <a16:creationId xmlns:a16="http://schemas.microsoft.com/office/drawing/2014/main" id="{AE2EB892-083B-4926-A4AF-A6476C2E6D93}"/>
              </a:ext>
            </a:extLst>
          </p:cNvPr>
          <p:cNvSpPr>
            <a:spLocks/>
          </p:cNvSpPr>
          <p:nvPr/>
        </p:nvSpPr>
        <p:spPr bwMode="auto">
          <a:xfrm>
            <a:off x="2885392" y="6165965"/>
            <a:ext cx="11494" cy="24476"/>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2" name="Freeform 712">
            <a:extLst>
              <a:ext uri="{FF2B5EF4-FFF2-40B4-BE49-F238E27FC236}">
                <a16:creationId xmlns:a16="http://schemas.microsoft.com/office/drawing/2014/main" id="{E06CD000-F4B9-4678-8D0F-0F22AD97FDB2}"/>
              </a:ext>
            </a:extLst>
          </p:cNvPr>
          <p:cNvSpPr>
            <a:spLocks/>
          </p:cNvSpPr>
          <p:nvPr/>
        </p:nvSpPr>
        <p:spPr bwMode="auto">
          <a:xfrm>
            <a:off x="2896887" y="6036913"/>
            <a:ext cx="10345" cy="31151"/>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3" name="Freeform 713">
            <a:extLst>
              <a:ext uri="{FF2B5EF4-FFF2-40B4-BE49-F238E27FC236}">
                <a16:creationId xmlns:a16="http://schemas.microsoft.com/office/drawing/2014/main" id="{E43B555A-3022-4CDD-B5AC-2524555140D9}"/>
              </a:ext>
            </a:extLst>
          </p:cNvPr>
          <p:cNvSpPr>
            <a:spLocks/>
          </p:cNvSpPr>
          <p:nvPr/>
        </p:nvSpPr>
        <p:spPr bwMode="auto">
          <a:xfrm>
            <a:off x="2907231" y="6260528"/>
            <a:ext cx="21839" cy="1446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4" name="Freeform 714">
            <a:extLst>
              <a:ext uri="{FF2B5EF4-FFF2-40B4-BE49-F238E27FC236}">
                <a16:creationId xmlns:a16="http://schemas.microsoft.com/office/drawing/2014/main" id="{926AFD02-FCE4-4DC8-B6DD-C5839ECD5A46}"/>
              </a:ext>
            </a:extLst>
          </p:cNvPr>
          <p:cNvSpPr>
            <a:spLocks/>
          </p:cNvSpPr>
          <p:nvPr/>
        </p:nvSpPr>
        <p:spPr bwMode="auto">
          <a:xfrm>
            <a:off x="2911829" y="6230491"/>
            <a:ext cx="32184" cy="31151"/>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5" name="Freeform 715">
            <a:extLst>
              <a:ext uri="{FF2B5EF4-FFF2-40B4-BE49-F238E27FC236}">
                <a16:creationId xmlns:a16="http://schemas.microsoft.com/office/drawing/2014/main" id="{6D5E84FF-0D77-4C0F-9A8C-8AC9C2395F79}"/>
              </a:ext>
            </a:extLst>
          </p:cNvPr>
          <p:cNvSpPr>
            <a:spLocks/>
          </p:cNvSpPr>
          <p:nvPr/>
        </p:nvSpPr>
        <p:spPr bwMode="auto">
          <a:xfrm>
            <a:off x="2933667" y="6270541"/>
            <a:ext cx="18390" cy="8900"/>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6" name="Freeform 716">
            <a:extLst>
              <a:ext uri="{FF2B5EF4-FFF2-40B4-BE49-F238E27FC236}">
                <a16:creationId xmlns:a16="http://schemas.microsoft.com/office/drawing/2014/main" id="{D53E2190-2974-43B0-A06A-0D8F1220AE31}"/>
              </a:ext>
            </a:extLst>
          </p:cNvPr>
          <p:cNvSpPr>
            <a:spLocks/>
          </p:cNvSpPr>
          <p:nvPr/>
        </p:nvSpPr>
        <p:spPr bwMode="auto">
          <a:xfrm>
            <a:off x="2945161" y="6244953"/>
            <a:ext cx="44827" cy="46726"/>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7" name="Freeform 717">
            <a:extLst>
              <a:ext uri="{FF2B5EF4-FFF2-40B4-BE49-F238E27FC236}">
                <a16:creationId xmlns:a16="http://schemas.microsoft.com/office/drawing/2014/main" id="{44ED2386-1DC3-4623-A6DA-1C996E2D987B}"/>
              </a:ext>
            </a:extLst>
          </p:cNvPr>
          <p:cNvSpPr>
            <a:spLocks/>
          </p:cNvSpPr>
          <p:nvPr/>
        </p:nvSpPr>
        <p:spPr bwMode="auto">
          <a:xfrm>
            <a:off x="2827922" y="5181390"/>
            <a:ext cx="188503" cy="251428"/>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8" name="Freeform 718">
            <a:extLst>
              <a:ext uri="{FF2B5EF4-FFF2-40B4-BE49-F238E27FC236}">
                <a16:creationId xmlns:a16="http://schemas.microsoft.com/office/drawing/2014/main" id="{76BC809E-3675-4C34-9947-BCBD6C81CC3E}"/>
              </a:ext>
            </a:extLst>
          </p:cNvPr>
          <p:cNvSpPr>
            <a:spLocks/>
          </p:cNvSpPr>
          <p:nvPr/>
        </p:nvSpPr>
        <p:spPr bwMode="auto">
          <a:xfrm>
            <a:off x="2719878" y="5202528"/>
            <a:ext cx="50574" cy="41163"/>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9" name="Freeform 719">
            <a:extLst>
              <a:ext uri="{FF2B5EF4-FFF2-40B4-BE49-F238E27FC236}">
                <a16:creationId xmlns:a16="http://schemas.microsoft.com/office/drawing/2014/main" id="{EB91065C-D149-407F-A0DD-DA4D4B39AA87}"/>
              </a:ext>
            </a:extLst>
          </p:cNvPr>
          <p:cNvSpPr>
            <a:spLocks/>
          </p:cNvSpPr>
          <p:nvPr/>
        </p:nvSpPr>
        <p:spPr bwMode="auto">
          <a:xfrm>
            <a:off x="2731372" y="5014513"/>
            <a:ext cx="170112" cy="52288"/>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0" name="Freeform 720">
            <a:extLst>
              <a:ext uri="{FF2B5EF4-FFF2-40B4-BE49-F238E27FC236}">
                <a16:creationId xmlns:a16="http://schemas.microsoft.com/office/drawing/2014/main" id="{715873A8-606D-4F59-8F16-F318092F4BB8}"/>
              </a:ext>
            </a:extLst>
          </p:cNvPr>
          <p:cNvSpPr>
            <a:spLocks/>
          </p:cNvSpPr>
          <p:nvPr/>
        </p:nvSpPr>
        <p:spPr bwMode="auto">
          <a:xfrm>
            <a:off x="2937116" y="5065689"/>
            <a:ext cx="54022" cy="30038"/>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1" name="Freeform 721">
            <a:extLst>
              <a:ext uri="{FF2B5EF4-FFF2-40B4-BE49-F238E27FC236}">
                <a16:creationId xmlns:a16="http://schemas.microsoft.com/office/drawing/2014/main" id="{A07C7D0C-846B-4236-BB14-43D756165867}"/>
              </a:ext>
            </a:extLst>
          </p:cNvPr>
          <p:cNvSpPr>
            <a:spLocks/>
          </p:cNvSpPr>
          <p:nvPr/>
        </p:nvSpPr>
        <p:spPr bwMode="auto">
          <a:xfrm>
            <a:off x="2796888" y="5348267"/>
            <a:ext cx="88504" cy="9567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2" name="Freeform 722">
            <a:extLst>
              <a:ext uri="{FF2B5EF4-FFF2-40B4-BE49-F238E27FC236}">
                <a16:creationId xmlns:a16="http://schemas.microsoft.com/office/drawing/2014/main" id="{B3A0DCF1-8E21-4CAD-AA10-1ED0A6683CFE}"/>
              </a:ext>
            </a:extLst>
          </p:cNvPr>
          <p:cNvSpPr>
            <a:spLocks/>
          </p:cNvSpPr>
          <p:nvPr/>
        </p:nvSpPr>
        <p:spPr bwMode="auto">
          <a:xfrm>
            <a:off x="2650913" y="5149128"/>
            <a:ext cx="37930" cy="16687"/>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3" name="Freeform 723">
            <a:extLst>
              <a:ext uri="{FF2B5EF4-FFF2-40B4-BE49-F238E27FC236}">
                <a16:creationId xmlns:a16="http://schemas.microsoft.com/office/drawing/2014/main" id="{A3DD26C8-3E62-4801-9288-F886BA845551}"/>
              </a:ext>
            </a:extLst>
          </p:cNvPr>
          <p:cNvSpPr>
            <a:spLocks/>
          </p:cNvSpPr>
          <p:nvPr/>
        </p:nvSpPr>
        <p:spPr bwMode="auto">
          <a:xfrm>
            <a:off x="3109526" y="6219365"/>
            <a:ext cx="25287" cy="1446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4" name="Freeform 724">
            <a:extLst>
              <a:ext uri="{FF2B5EF4-FFF2-40B4-BE49-F238E27FC236}">
                <a16:creationId xmlns:a16="http://schemas.microsoft.com/office/drawing/2014/main" id="{638676B9-2514-4195-9A72-8F37B541FA0E}"/>
              </a:ext>
            </a:extLst>
          </p:cNvPr>
          <p:cNvSpPr>
            <a:spLocks/>
          </p:cNvSpPr>
          <p:nvPr/>
        </p:nvSpPr>
        <p:spPr bwMode="auto">
          <a:xfrm>
            <a:off x="3129066" y="6217140"/>
            <a:ext cx="28735" cy="17800"/>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5" name="Freeform 725">
            <a:extLst>
              <a:ext uri="{FF2B5EF4-FFF2-40B4-BE49-F238E27FC236}">
                <a16:creationId xmlns:a16="http://schemas.microsoft.com/office/drawing/2014/main" id="{2874D011-86B6-4115-9010-5D873F9E1291}"/>
              </a:ext>
            </a:extLst>
          </p:cNvPr>
          <p:cNvSpPr>
            <a:spLocks/>
          </p:cNvSpPr>
          <p:nvPr/>
        </p:nvSpPr>
        <p:spPr bwMode="auto">
          <a:xfrm>
            <a:off x="3210674" y="5284854"/>
            <a:ext cx="47126" cy="53401"/>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6" name="Freeform 726">
            <a:extLst>
              <a:ext uri="{FF2B5EF4-FFF2-40B4-BE49-F238E27FC236}">
                <a16:creationId xmlns:a16="http://schemas.microsoft.com/office/drawing/2014/main" id="{BC4F0A17-7082-4D6A-BCA4-A2FEB3B6763B}"/>
              </a:ext>
            </a:extLst>
          </p:cNvPr>
          <p:cNvSpPr>
            <a:spLocks/>
          </p:cNvSpPr>
          <p:nvPr/>
        </p:nvSpPr>
        <p:spPr bwMode="auto">
          <a:xfrm>
            <a:off x="2616431" y="5095727"/>
            <a:ext cx="63217" cy="66751"/>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7" name="Freeform 727">
            <a:extLst>
              <a:ext uri="{FF2B5EF4-FFF2-40B4-BE49-F238E27FC236}">
                <a16:creationId xmlns:a16="http://schemas.microsoft.com/office/drawing/2014/main" id="{19664302-30E7-4D9B-8029-61C3CA584B30}"/>
              </a:ext>
            </a:extLst>
          </p:cNvPr>
          <p:cNvSpPr>
            <a:spLocks/>
          </p:cNvSpPr>
          <p:nvPr/>
        </p:nvSpPr>
        <p:spPr bwMode="auto">
          <a:xfrm>
            <a:off x="3103779" y="5242579"/>
            <a:ext cx="75861" cy="104576"/>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8" name="Freeform 728">
            <a:extLst>
              <a:ext uri="{FF2B5EF4-FFF2-40B4-BE49-F238E27FC236}">
                <a16:creationId xmlns:a16="http://schemas.microsoft.com/office/drawing/2014/main" id="{2BF712B0-C7C2-42AE-B132-6C35AEB2CFB3}"/>
              </a:ext>
            </a:extLst>
          </p:cNvPr>
          <p:cNvSpPr>
            <a:spLocks/>
          </p:cNvSpPr>
          <p:nvPr/>
        </p:nvSpPr>
        <p:spPr bwMode="auto">
          <a:xfrm>
            <a:off x="2896887" y="5065689"/>
            <a:ext cx="41378" cy="30038"/>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9" name="Freeform 729">
            <a:extLst>
              <a:ext uri="{FF2B5EF4-FFF2-40B4-BE49-F238E27FC236}">
                <a16:creationId xmlns:a16="http://schemas.microsoft.com/office/drawing/2014/main" id="{C64552A8-000A-42EA-A41A-842C50A3E75C}"/>
              </a:ext>
            </a:extLst>
          </p:cNvPr>
          <p:cNvSpPr>
            <a:spLocks/>
          </p:cNvSpPr>
          <p:nvPr/>
        </p:nvSpPr>
        <p:spPr bwMode="auto">
          <a:xfrm>
            <a:off x="2661258" y="5126877"/>
            <a:ext cx="97700" cy="46726"/>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0" name="Freeform 730">
            <a:extLst>
              <a:ext uri="{FF2B5EF4-FFF2-40B4-BE49-F238E27FC236}">
                <a16:creationId xmlns:a16="http://schemas.microsoft.com/office/drawing/2014/main" id="{25211B52-F394-4B97-B910-E8F00FAA4379}"/>
              </a:ext>
            </a:extLst>
          </p:cNvPr>
          <p:cNvSpPr>
            <a:spLocks/>
          </p:cNvSpPr>
          <p:nvPr/>
        </p:nvSpPr>
        <p:spPr bwMode="auto">
          <a:xfrm>
            <a:off x="2694591" y="5141340"/>
            <a:ext cx="64367" cy="63413"/>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1" name="Freeform 731">
            <a:extLst>
              <a:ext uri="{FF2B5EF4-FFF2-40B4-BE49-F238E27FC236}">
                <a16:creationId xmlns:a16="http://schemas.microsoft.com/office/drawing/2014/main" id="{1353AF21-9142-444E-B4D4-3937D3BC0265}"/>
              </a:ext>
            </a:extLst>
          </p:cNvPr>
          <p:cNvSpPr>
            <a:spLocks/>
          </p:cNvSpPr>
          <p:nvPr/>
        </p:nvSpPr>
        <p:spPr bwMode="auto">
          <a:xfrm>
            <a:off x="2762406" y="5222553"/>
            <a:ext cx="88504" cy="38938"/>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2" name="Freeform 732">
            <a:extLst>
              <a:ext uri="{FF2B5EF4-FFF2-40B4-BE49-F238E27FC236}">
                <a16:creationId xmlns:a16="http://schemas.microsoft.com/office/drawing/2014/main" id="{06B49306-A228-40E0-A62A-F4152D2EF65C}"/>
              </a:ext>
            </a:extLst>
          </p:cNvPr>
          <p:cNvSpPr>
            <a:spLocks/>
          </p:cNvSpPr>
          <p:nvPr/>
        </p:nvSpPr>
        <p:spPr bwMode="auto">
          <a:xfrm>
            <a:off x="3081940" y="5588023"/>
            <a:ext cx="128733" cy="276999"/>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133" name="Freeform 733">
            <a:extLst>
              <a:ext uri="{FF2B5EF4-FFF2-40B4-BE49-F238E27FC236}">
                <a16:creationId xmlns:a16="http://schemas.microsoft.com/office/drawing/2014/main" id="{9E6D7F6A-7952-44F2-9895-244DA66F7758}"/>
              </a:ext>
            </a:extLst>
          </p:cNvPr>
          <p:cNvSpPr>
            <a:spLocks/>
          </p:cNvSpPr>
          <p:nvPr/>
        </p:nvSpPr>
        <p:spPr bwMode="auto">
          <a:xfrm>
            <a:off x="2788842" y="5370518"/>
            <a:ext cx="197698" cy="274791"/>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4" name="Freeform 734">
            <a:extLst>
              <a:ext uri="{FF2B5EF4-FFF2-40B4-BE49-F238E27FC236}">
                <a16:creationId xmlns:a16="http://schemas.microsoft.com/office/drawing/2014/main" id="{FD2B5EB3-F3EB-4406-993B-782ECD460A2E}"/>
              </a:ext>
            </a:extLst>
          </p:cNvPr>
          <p:cNvSpPr>
            <a:spLocks/>
          </p:cNvSpPr>
          <p:nvPr/>
        </p:nvSpPr>
        <p:spPr bwMode="auto">
          <a:xfrm>
            <a:off x="3153204" y="5280404"/>
            <a:ext cx="65516" cy="60076"/>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5" name="Freeform 735">
            <a:extLst>
              <a:ext uri="{FF2B5EF4-FFF2-40B4-BE49-F238E27FC236}">
                <a16:creationId xmlns:a16="http://schemas.microsoft.com/office/drawing/2014/main" id="{97C8E616-A639-4342-AB7C-2BA723919038}"/>
              </a:ext>
            </a:extLst>
          </p:cNvPr>
          <p:cNvSpPr>
            <a:spLocks/>
          </p:cNvSpPr>
          <p:nvPr/>
        </p:nvSpPr>
        <p:spPr bwMode="auto">
          <a:xfrm>
            <a:off x="3092285" y="5205866"/>
            <a:ext cx="16091" cy="12238"/>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6" name="Freeform 736">
            <a:extLst>
              <a:ext uri="{FF2B5EF4-FFF2-40B4-BE49-F238E27FC236}">
                <a16:creationId xmlns:a16="http://schemas.microsoft.com/office/drawing/2014/main" id="{545FB3BD-6F68-47F3-8B2A-9A4D3CED8999}"/>
              </a:ext>
            </a:extLst>
          </p:cNvPr>
          <p:cNvSpPr>
            <a:spLocks/>
          </p:cNvSpPr>
          <p:nvPr/>
        </p:nvSpPr>
        <p:spPr bwMode="auto">
          <a:xfrm>
            <a:off x="3147457" y="5834436"/>
            <a:ext cx="82757" cy="82326"/>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7" name="Freeform 737">
            <a:extLst>
              <a:ext uri="{FF2B5EF4-FFF2-40B4-BE49-F238E27FC236}">
                <a16:creationId xmlns:a16="http://schemas.microsoft.com/office/drawing/2014/main" id="{A595BE95-CA86-4E4A-97BC-8ECDAC59BA69}"/>
              </a:ext>
            </a:extLst>
          </p:cNvPr>
          <p:cNvSpPr>
            <a:spLocks/>
          </p:cNvSpPr>
          <p:nvPr/>
        </p:nvSpPr>
        <p:spPr bwMode="auto">
          <a:xfrm>
            <a:off x="2915277" y="5183616"/>
            <a:ext cx="211491" cy="174664"/>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8" name="Freeform 738">
            <a:extLst>
              <a:ext uri="{FF2B5EF4-FFF2-40B4-BE49-F238E27FC236}">
                <a16:creationId xmlns:a16="http://schemas.microsoft.com/office/drawing/2014/main" id="{CE364E54-2E11-4C63-A303-5EB591D6D012}"/>
              </a:ext>
            </a:extLst>
          </p:cNvPr>
          <p:cNvSpPr>
            <a:spLocks/>
          </p:cNvSpPr>
          <p:nvPr/>
        </p:nvSpPr>
        <p:spPr bwMode="auto">
          <a:xfrm>
            <a:off x="5660570" y="5014686"/>
            <a:ext cx="109500" cy="2257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9" name="Freeform 739">
            <a:extLst>
              <a:ext uri="{FF2B5EF4-FFF2-40B4-BE49-F238E27FC236}">
                <a16:creationId xmlns:a16="http://schemas.microsoft.com/office/drawing/2014/main" id="{1EFA42D7-4448-4E18-A729-6CF3DBA94A34}"/>
              </a:ext>
            </a:extLst>
          </p:cNvPr>
          <p:cNvSpPr>
            <a:spLocks/>
          </p:cNvSpPr>
          <p:nvPr/>
        </p:nvSpPr>
        <p:spPr bwMode="auto">
          <a:xfrm>
            <a:off x="4669221" y="4653688"/>
            <a:ext cx="116801" cy="51378"/>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0" name="Freeform 740">
            <a:extLst>
              <a:ext uri="{FF2B5EF4-FFF2-40B4-BE49-F238E27FC236}">
                <a16:creationId xmlns:a16="http://schemas.microsoft.com/office/drawing/2014/main" id="{8C2C812B-C909-499A-B3F4-D6BA4928BD00}"/>
              </a:ext>
            </a:extLst>
          </p:cNvPr>
          <p:cNvSpPr>
            <a:spLocks/>
          </p:cNvSpPr>
          <p:nvPr/>
        </p:nvSpPr>
        <p:spPr bwMode="auto">
          <a:xfrm>
            <a:off x="4752443" y="4682080"/>
            <a:ext cx="96360" cy="77068"/>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1" name="Freeform 741">
            <a:extLst>
              <a:ext uri="{FF2B5EF4-FFF2-40B4-BE49-F238E27FC236}">
                <a16:creationId xmlns:a16="http://schemas.microsoft.com/office/drawing/2014/main" id="{34849A92-9597-49BF-977B-9951D462FED2}"/>
              </a:ext>
            </a:extLst>
          </p:cNvPr>
          <p:cNvSpPr>
            <a:spLocks/>
          </p:cNvSpPr>
          <p:nvPr/>
        </p:nvSpPr>
        <p:spPr bwMode="auto">
          <a:xfrm>
            <a:off x="4730542" y="4696953"/>
            <a:ext cx="68622" cy="47322"/>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2" name="Freeform 742">
            <a:extLst>
              <a:ext uri="{FF2B5EF4-FFF2-40B4-BE49-F238E27FC236}">
                <a16:creationId xmlns:a16="http://schemas.microsoft.com/office/drawing/2014/main" id="{DDEA1F90-0863-42CA-BDC2-92B238A78A85}"/>
              </a:ext>
            </a:extLst>
          </p:cNvPr>
          <p:cNvSpPr>
            <a:spLocks/>
          </p:cNvSpPr>
          <p:nvPr/>
        </p:nvSpPr>
        <p:spPr bwMode="auto">
          <a:xfrm>
            <a:off x="4768503" y="4436007"/>
            <a:ext cx="654085" cy="274468"/>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3" name="Freeform 743">
            <a:extLst>
              <a:ext uri="{FF2B5EF4-FFF2-40B4-BE49-F238E27FC236}">
                <a16:creationId xmlns:a16="http://schemas.microsoft.com/office/drawing/2014/main" id="{D8C37E11-C4BD-4A84-BF63-578417B77BEB}"/>
              </a:ext>
            </a:extLst>
          </p:cNvPr>
          <p:cNvSpPr>
            <a:spLocks/>
          </p:cNvSpPr>
          <p:nvPr/>
        </p:nvSpPr>
        <p:spPr bwMode="auto">
          <a:xfrm>
            <a:off x="4926183" y="4614477"/>
            <a:ext cx="287623" cy="169007"/>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4" name="Freeform 744">
            <a:extLst>
              <a:ext uri="{FF2B5EF4-FFF2-40B4-BE49-F238E27FC236}">
                <a16:creationId xmlns:a16="http://schemas.microsoft.com/office/drawing/2014/main" id="{C375A887-D5E3-4F99-9950-A79EB6CA9A6B}"/>
              </a:ext>
            </a:extLst>
          </p:cNvPr>
          <p:cNvSpPr>
            <a:spLocks/>
          </p:cNvSpPr>
          <p:nvPr/>
        </p:nvSpPr>
        <p:spPr bwMode="auto">
          <a:xfrm>
            <a:off x="4886764" y="4667208"/>
            <a:ext cx="220462" cy="150078"/>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5" name="Freeform 745">
            <a:extLst>
              <a:ext uri="{FF2B5EF4-FFF2-40B4-BE49-F238E27FC236}">
                <a16:creationId xmlns:a16="http://schemas.microsoft.com/office/drawing/2014/main" id="{D68A8DB0-4D69-4C87-A962-C8F9E969D524}"/>
              </a:ext>
            </a:extLst>
          </p:cNvPr>
          <p:cNvSpPr>
            <a:spLocks/>
          </p:cNvSpPr>
          <p:nvPr/>
        </p:nvSpPr>
        <p:spPr bwMode="auto">
          <a:xfrm>
            <a:off x="5134965" y="4665855"/>
            <a:ext cx="181042" cy="77068"/>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6" name="Freeform 746">
            <a:extLst>
              <a:ext uri="{FF2B5EF4-FFF2-40B4-BE49-F238E27FC236}">
                <a16:creationId xmlns:a16="http://schemas.microsoft.com/office/drawing/2014/main" id="{B027E49D-713A-4007-8722-5D14C2C7EACA}"/>
              </a:ext>
            </a:extLst>
          </p:cNvPr>
          <p:cNvSpPr>
            <a:spLocks/>
          </p:cNvSpPr>
          <p:nvPr/>
        </p:nvSpPr>
        <p:spPr bwMode="auto">
          <a:xfrm>
            <a:off x="5117445" y="4713178"/>
            <a:ext cx="116801" cy="79771"/>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7" name="Freeform 747">
            <a:extLst>
              <a:ext uri="{FF2B5EF4-FFF2-40B4-BE49-F238E27FC236}">
                <a16:creationId xmlns:a16="http://schemas.microsoft.com/office/drawing/2014/main" id="{8043C5E2-C7CB-4A63-B4D5-162D9FF00E21}"/>
              </a:ext>
            </a:extLst>
          </p:cNvPr>
          <p:cNvSpPr>
            <a:spLocks/>
          </p:cNvSpPr>
          <p:nvPr/>
        </p:nvSpPr>
        <p:spPr bwMode="auto">
          <a:xfrm>
            <a:off x="4333418" y="4638814"/>
            <a:ext cx="56941" cy="54083"/>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8" name="Freeform 748">
            <a:extLst>
              <a:ext uri="{FF2B5EF4-FFF2-40B4-BE49-F238E27FC236}">
                <a16:creationId xmlns:a16="http://schemas.microsoft.com/office/drawing/2014/main" id="{B55A0DD7-4E48-406D-93E4-0B3AE2F1CEF9}"/>
              </a:ext>
            </a:extLst>
          </p:cNvPr>
          <p:cNvSpPr>
            <a:spLocks/>
          </p:cNvSpPr>
          <p:nvPr/>
        </p:nvSpPr>
        <p:spPr bwMode="auto">
          <a:xfrm>
            <a:off x="4362618" y="4686137"/>
            <a:ext cx="29201" cy="52729"/>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9" name="Freeform 749">
            <a:extLst>
              <a:ext uri="{FF2B5EF4-FFF2-40B4-BE49-F238E27FC236}">
                <a16:creationId xmlns:a16="http://schemas.microsoft.com/office/drawing/2014/main" id="{91F4980C-1E3A-4BE7-A200-8DEF8ABE3F9D}"/>
              </a:ext>
            </a:extLst>
          </p:cNvPr>
          <p:cNvSpPr>
            <a:spLocks/>
          </p:cNvSpPr>
          <p:nvPr/>
        </p:nvSpPr>
        <p:spPr bwMode="auto">
          <a:xfrm>
            <a:off x="4209318" y="4567156"/>
            <a:ext cx="119721" cy="47322"/>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0" name="Freeform 750">
            <a:extLst>
              <a:ext uri="{FF2B5EF4-FFF2-40B4-BE49-F238E27FC236}">
                <a16:creationId xmlns:a16="http://schemas.microsoft.com/office/drawing/2014/main" id="{E211A3E5-A626-4167-82E1-6D2198386F44}"/>
              </a:ext>
            </a:extLst>
          </p:cNvPr>
          <p:cNvSpPr>
            <a:spLocks/>
          </p:cNvSpPr>
          <p:nvPr/>
        </p:nvSpPr>
        <p:spPr bwMode="auto">
          <a:xfrm>
            <a:off x="4107117" y="4515778"/>
            <a:ext cx="52561" cy="39209"/>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1" name="Freeform 751">
            <a:extLst>
              <a:ext uri="{FF2B5EF4-FFF2-40B4-BE49-F238E27FC236}">
                <a16:creationId xmlns:a16="http://schemas.microsoft.com/office/drawing/2014/main" id="{131EE606-1F8D-4B48-8188-352E524DF4AE}"/>
              </a:ext>
            </a:extLst>
          </p:cNvPr>
          <p:cNvSpPr>
            <a:spLocks/>
          </p:cNvSpPr>
          <p:nvPr/>
        </p:nvSpPr>
        <p:spPr bwMode="auto">
          <a:xfrm>
            <a:off x="4412258" y="4656392"/>
            <a:ext cx="99281" cy="52729"/>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2" name="Freeform 752">
            <a:extLst>
              <a:ext uri="{FF2B5EF4-FFF2-40B4-BE49-F238E27FC236}">
                <a16:creationId xmlns:a16="http://schemas.microsoft.com/office/drawing/2014/main" id="{7436FE4F-A3CC-4C95-902D-8B1D92D535B1}"/>
              </a:ext>
            </a:extLst>
          </p:cNvPr>
          <p:cNvSpPr>
            <a:spLocks/>
          </p:cNvSpPr>
          <p:nvPr/>
        </p:nvSpPr>
        <p:spPr bwMode="auto">
          <a:xfrm>
            <a:off x="4323199" y="4552282"/>
            <a:ext cx="90522" cy="37857"/>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3" name="Group 167">
            <a:extLst>
              <a:ext uri="{FF2B5EF4-FFF2-40B4-BE49-F238E27FC236}">
                <a16:creationId xmlns:a16="http://schemas.microsoft.com/office/drawing/2014/main" id="{DE3B1FBB-4F24-4945-9D06-9819C9B568DC}"/>
              </a:ext>
            </a:extLst>
          </p:cNvPr>
          <p:cNvGrpSpPr>
            <a:grpSpLocks/>
          </p:cNvGrpSpPr>
          <p:nvPr/>
        </p:nvGrpSpPr>
        <p:grpSpPr bwMode="auto">
          <a:xfrm>
            <a:off x="4188877" y="4385980"/>
            <a:ext cx="71541" cy="62194"/>
            <a:chOff x="3191" y="2547"/>
            <a:chExt cx="63" cy="55"/>
          </a:xfrm>
          <a:solidFill>
            <a:srgbClr val="00B050"/>
          </a:solidFill>
        </p:grpSpPr>
        <p:sp>
          <p:nvSpPr>
            <p:cNvPr id="260" name="Freeform 754">
              <a:extLst>
                <a:ext uri="{FF2B5EF4-FFF2-40B4-BE49-F238E27FC236}">
                  <a16:creationId xmlns:a16="http://schemas.microsoft.com/office/drawing/2014/main" id="{848A4F6B-0C2A-4B12-BC5C-BFB1B79291F2}"/>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1" name="Freeform 755">
              <a:extLst>
                <a:ext uri="{FF2B5EF4-FFF2-40B4-BE49-F238E27FC236}">
                  <a16:creationId xmlns:a16="http://schemas.microsoft.com/office/drawing/2014/main" id="{3B6A42B4-0FA5-4494-8935-4A0A8D921406}"/>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2" name="Freeform 756">
              <a:extLst>
                <a:ext uri="{FF2B5EF4-FFF2-40B4-BE49-F238E27FC236}">
                  <a16:creationId xmlns:a16="http://schemas.microsoft.com/office/drawing/2014/main" id="{C21EF6C5-637A-41A6-999A-A123A9FF536F}"/>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4" name="Freeform 757">
            <a:extLst>
              <a:ext uri="{FF2B5EF4-FFF2-40B4-BE49-F238E27FC236}">
                <a16:creationId xmlns:a16="http://schemas.microsoft.com/office/drawing/2014/main" id="{78505EE0-DBC4-400C-A718-6C2C024583C9}"/>
              </a:ext>
            </a:extLst>
          </p:cNvPr>
          <p:cNvSpPr>
            <a:spLocks/>
          </p:cNvSpPr>
          <p:nvPr/>
        </p:nvSpPr>
        <p:spPr bwMode="auto">
          <a:xfrm>
            <a:off x="4384520" y="4089879"/>
            <a:ext cx="170821" cy="250131"/>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5" name="Group 172">
            <a:extLst>
              <a:ext uri="{FF2B5EF4-FFF2-40B4-BE49-F238E27FC236}">
                <a16:creationId xmlns:a16="http://schemas.microsoft.com/office/drawing/2014/main" id="{ACD6C047-D92B-451C-881A-8F071319D4E8}"/>
              </a:ext>
            </a:extLst>
          </p:cNvPr>
          <p:cNvGrpSpPr>
            <a:grpSpLocks/>
          </p:cNvGrpSpPr>
          <p:nvPr/>
        </p:nvGrpSpPr>
        <p:grpSpPr bwMode="auto">
          <a:xfrm>
            <a:off x="3990316" y="4523903"/>
            <a:ext cx="219002" cy="185232"/>
            <a:chOff x="3019" y="2670"/>
            <a:chExt cx="190" cy="167"/>
          </a:xfrm>
          <a:solidFill>
            <a:srgbClr val="00B050"/>
          </a:solidFill>
        </p:grpSpPr>
        <p:sp>
          <p:nvSpPr>
            <p:cNvPr id="258" name="Freeform 759">
              <a:extLst>
                <a:ext uri="{FF2B5EF4-FFF2-40B4-BE49-F238E27FC236}">
                  <a16:creationId xmlns:a16="http://schemas.microsoft.com/office/drawing/2014/main" id="{BD7C503B-09D3-483C-BDBC-F26FD18A18F4}"/>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9" name="Freeform 760">
              <a:extLst>
                <a:ext uri="{FF2B5EF4-FFF2-40B4-BE49-F238E27FC236}">
                  <a16:creationId xmlns:a16="http://schemas.microsoft.com/office/drawing/2014/main" id="{33404832-32D5-4822-ABB4-AD4E015DE594}"/>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6" name="Freeform 761">
            <a:extLst>
              <a:ext uri="{FF2B5EF4-FFF2-40B4-BE49-F238E27FC236}">
                <a16:creationId xmlns:a16="http://schemas.microsoft.com/office/drawing/2014/main" id="{88B98B20-4520-41ED-9304-72DC955877E3}"/>
              </a:ext>
            </a:extLst>
          </p:cNvPr>
          <p:cNvSpPr>
            <a:spLocks/>
          </p:cNvSpPr>
          <p:nvPr/>
        </p:nvSpPr>
        <p:spPr bwMode="auto">
          <a:xfrm>
            <a:off x="4156757" y="4446822"/>
            <a:ext cx="132860" cy="147375"/>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7" name="Group 176">
            <a:extLst>
              <a:ext uri="{FF2B5EF4-FFF2-40B4-BE49-F238E27FC236}">
                <a16:creationId xmlns:a16="http://schemas.microsoft.com/office/drawing/2014/main" id="{1E8CE4FC-8542-4C58-AEAC-96EB4CD31F91}"/>
              </a:ext>
            </a:extLst>
          </p:cNvPr>
          <p:cNvGrpSpPr>
            <a:grpSpLocks/>
          </p:cNvGrpSpPr>
          <p:nvPr/>
        </p:nvGrpSpPr>
        <p:grpSpPr bwMode="auto">
          <a:xfrm>
            <a:off x="4377219" y="4699657"/>
            <a:ext cx="100741" cy="117629"/>
            <a:chOff x="3356" y="2828"/>
            <a:chExt cx="86" cy="106"/>
          </a:xfrm>
          <a:solidFill>
            <a:srgbClr val="00B050"/>
          </a:solidFill>
        </p:grpSpPr>
        <p:sp>
          <p:nvSpPr>
            <p:cNvPr id="256" name="Freeform 763">
              <a:extLst>
                <a:ext uri="{FF2B5EF4-FFF2-40B4-BE49-F238E27FC236}">
                  <a16:creationId xmlns:a16="http://schemas.microsoft.com/office/drawing/2014/main" id="{4AC67763-A7E7-44D7-BB4F-F145A5B5E7CC}"/>
                </a:ext>
              </a:extLst>
            </p:cNvPr>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7" name="Freeform 764">
              <a:extLst>
                <a:ext uri="{FF2B5EF4-FFF2-40B4-BE49-F238E27FC236}">
                  <a16:creationId xmlns:a16="http://schemas.microsoft.com/office/drawing/2014/main" id="{1313848B-8C14-4024-BD20-CE60618ECDBE}"/>
                </a:ext>
              </a:extLst>
            </p:cNvPr>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8" name="Freeform 765">
            <a:extLst>
              <a:ext uri="{FF2B5EF4-FFF2-40B4-BE49-F238E27FC236}">
                <a16:creationId xmlns:a16="http://schemas.microsoft.com/office/drawing/2014/main" id="{9E8DA2CC-D49D-41A6-B0D6-42D3BDA7D0F4}"/>
              </a:ext>
            </a:extLst>
          </p:cNvPr>
          <p:cNvSpPr>
            <a:spLocks/>
          </p:cNvSpPr>
          <p:nvPr/>
        </p:nvSpPr>
        <p:spPr bwMode="auto">
          <a:xfrm>
            <a:off x="4311519" y="4575268"/>
            <a:ext cx="108042" cy="52729"/>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9" name="Group 180">
            <a:extLst>
              <a:ext uri="{FF2B5EF4-FFF2-40B4-BE49-F238E27FC236}">
                <a16:creationId xmlns:a16="http://schemas.microsoft.com/office/drawing/2014/main" id="{155A94F1-B6C3-4A95-9ED1-AF256CBD2141}"/>
              </a:ext>
            </a:extLst>
          </p:cNvPr>
          <p:cNvGrpSpPr>
            <a:grpSpLocks/>
          </p:cNvGrpSpPr>
          <p:nvPr/>
        </p:nvGrpSpPr>
        <p:grpSpPr bwMode="auto">
          <a:xfrm>
            <a:off x="4166977" y="4602310"/>
            <a:ext cx="185421" cy="190639"/>
            <a:chOff x="3172" y="2740"/>
            <a:chExt cx="161" cy="170"/>
          </a:xfrm>
          <a:solidFill>
            <a:srgbClr val="00B050"/>
          </a:solidFill>
        </p:grpSpPr>
        <p:sp>
          <p:nvSpPr>
            <p:cNvPr id="253" name="Freeform 767">
              <a:extLst>
                <a:ext uri="{FF2B5EF4-FFF2-40B4-BE49-F238E27FC236}">
                  <a16:creationId xmlns:a16="http://schemas.microsoft.com/office/drawing/2014/main" id="{BB015216-6946-4F91-A441-9A7C82F9FFDE}"/>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4" name="Freeform 768">
              <a:extLst>
                <a:ext uri="{FF2B5EF4-FFF2-40B4-BE49-F238E27FC236}">
                  <a16:creationId xmlns:a16="http://schemas.microsoft.com/office/drawing/2014/main" id="{6D16BABE-42DC-4409-AD87-E6921DA14DCC}"/>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5" name="Freeform 769">
              <a:extLst>
                <a:ext uri="{FF2B5EF4-FFF2-40B4-BE49-F238E27FC236}">
                  <a16:creationId xmlns:a16="http://schemas.microsoft.com/office/drawing/2014/main" id="{884A3FEA-302A-4650-B628-684E3877AEB4}"/>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60" name="Freeform 770">
            <a:extLst>
              <a:ext uri="{FF2B5EF4-FFF2-40B4-BE49-F238E27FC236}">
                <a16:creationId xmlns:a16="http://schemas.microsoft.com/office/drawing/2014/main" id="{5C3FA1B3-B4AC-48D4-B714-2D1BA93D0790}"/>
              </a:ext>
            </a:extLst>
          </p:cNvPr>
          <p:cNvSpPr>
            <a:spLocks/>
          </p:cNvSpPr>
          <p:nvPr/>
        </p:nvSpPr>
        <p:spPr bwMode="auto">
          <a:xfrm>
            <a:off x="4150918" y="4542819"/>
            <a:ext cx="8760" cy="14872"/>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1" name="Freeform 771">
            <a:extLst>
              <a:ext uri="{FF2B5EF4-FFF2-40B4-BE49-F238E27FC236}">
                <a16:creationId xmlns:a16="http://schemas.microsoft.com/office/drawing/2014/main" id="{541E197F-4044-4204-8FDA-395AE323CACE}"/>
              </a:ext>
            </a:extLst>
          </p:cNvPr>
          <p:cNvSpPr>
            <a:spLocks/>
          </p:cNvSpPr>
          <p:nvPr/>
        </p:nvSpPr>
        <p:spPr bwMode="auto">
          <a:xfrm>
            <a:off x="4117337" y="4479272"/>
            <a:ext cx="58401" cy="54083"/>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2" name="Freeform 772">
            <a:extLst>
              <a:ext uri="{FF2B5EF4-FFF2-40B4-BE49-F238E27FC236}">
                <a16:creationId xmlns:a16="http://schemas.microsoft.com/office/drawing/2014/main" id="{87E0E64E-A590-4A08-8106-4F02B5C7D002}"/>
              </a:ext>
            </a:extLst>
          </p:cNvPr>
          <p:cNvSpPr>
            <a:spLocks/>
          </p:cNvSpPr>
          <p:nvPr/>
        </p:nvSpPr>
        <p:spPr bwMode="auto">
          <a:xfrm>
            <a:off x="4139237" y="4061487"/>
            <a:ext cx="405884" cy="31638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3" name="Freeform 773">
            <a:extLst>
              <a:ext uri="{FF2B5EF4-FFF2-40B4-BE49-F238E27FC236}">
                <a16:creationId xmlns:a16="http://schemas.microsoft.com/office/drawing/2014/main" id="{71EA5F10-6A1F-4BE6-B877-E41B6C053DD0}"/>
              </a:ext>
            </a:extLst>
          </p:cNvPr>
          <p:cNvSpPr>
            <a:spLocks/>
          </p:cNvSpPr>
          <p:nvPr/>
        </p:nvSpPr>
        <p:spPr bwMode="auto">
          <a:xfrm>
            <a:off x="4282318" y="4449527"/>
            <a:ext cx="156221" cy="117629"/>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4" name="Freeform 774">
            <a:extLst>
              <a:ext uri="{FF2B5EF4-FFF2-40B4-BE49-F238E27FC236}">
                <a16:creationId xmlns:a16="http://schemas.microsoft.com/office/drawing/2014/main" id="{F0F68B0B-B377-4B7D-9268-E3F776C48BF9}"/>
              </a:ext>
            </a:extLst>
          </p:cNvPr>
          <p:cNvSpPr>
            <a:spLocks/>
          </p:cNvSpPr>
          <p:nvPr/>
        </p:nvSpPr>
        <p:spPr bwMode="auto">
          <a:xfrm>
            <a:off x="3918775" y="4699657"/>
            <a:ext cx="49641" cy="85178"/>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5" name="Freeform 775">
            <a:extLst>
              <a:ext uri="{FF2B5EF4-FFF2-40B4-BE49-F238E27FC236}">
                <a16:creationId xmlns:a16="http://schemas.microsoft.com/office/drawing/2014/main" id="{C5E2B2CD-FB89-4C8F-B686-E9E311344422}"/>
              </a:ext>
            </a:extLst>
          </p:cNvPr>
          <p:cNvSpPr>
            <a:spLocks/>
          </p:cNvSpPr>
          <p:nvPr/>
        </p:nvSpPr>
        <p:spPr bwMode="auto">
          <a:xfrm>
            <a:off x="4377219" y="4580676"/>
            <a:ext cx="148921" cy="85178"/>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6" name="Freeform 776">
            <a:extLst>
              <a:ext uri="{FF2B5EF4-FFF2-40B4-BE49-F238E27FC236}">
                <a16:creationId xmlns:a16="http://schemas.microsoft.com/office/drawing/2014/main" id="{08CE1BAD-B909-4C15-B25E-0DB0122FF7B0}"/>
              </a:ext>
            </a:extLst>
          </p:cNvPr>
          <p:cNvSpPr>
            <a:spLocks/>
          </p:cNvSpPr>
          <p:nvPr/>
        </p:nvSpPr>
        <p:spPr bwMode="auto">
          <a:xfrm>
            <a:off x="3920236" y="4665855"/>
            <a:ext cx="192721" cy="135206"/>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7" name="Freeform 777">
            <a:extLst>
              <a:ext uri="{FF2B5EF4-FFF2-40B4-BE49-F238E27FC236}">
                <a16:creationId xmlns:a16="http://schemas.microsoft.com/office/drawing/2014/main" id="{DA557A7B-858E-40EE-A7F1-8A77F519D6EA}"/>
              </a:ext>
            </a:extLst>
          </p:cNvPr>
          <p:cNvSpPr>
            <a:spLocks/>
          </p:cNvSpPr>
          <p:nvPr/>
        </p:nvSpPr>
        <p:spPr bwMode="auto">
          <a:xfrm>
            <a:off x="4237057" y="4115569"/>
            <a:ext cx="201481" cy="32043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8" name="Freeform 778">
            <a:extLst>
              <a:ext uri="{FF2B5EF4-FFF2-40B4-BE49-F238E27FC236}">
                <a16:creationId xmlns:a16="http://schemas.microsoft.com/office/drawing/2014/main" id="{01515CE9-46BA-4B0A-951F-C33D9C9A402F}"/>
              </a:ext>
            </a:extLst>
          </p:cNvPr>
          <p:cNvSpPr>
            <a:spLocks/>
          </p:cNvSpPr>
          <p:nvPr/>
        </p:nvSpPr>
        <p:spPr bwMode="auto">
          <a:xfrm>
            <a:off x="4156757" y="4591493"/>
            <a:ext cx="70080" cy="35154"/>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9" name="Freeform 779">
            <a:extLst>
              <a:ext uri="{FF2B5EF4-FFF2-40B4-BE49-F238E27FC236}">
                <a16:creationId xmlns:a16="http://schemas.microsoft.com/office/drawing/2014/main" id="{3F8CDBC1-9629-45C2-A85E-CA02DB9041EA}"/>
              </a:ext>
            </a:extLst>
          </p:cNvPr>
          <p:cNvSpPr>
            <a:spLocks/>
          </p:cNvSpPr>
          <p:nvPr/>
        </p:nvSpPr>
        <p:spPr bwMode="auto">
          <a:xfrm>
            <a:off x="4470660" y="4699657"/>
            <a:ext cx="43801" cy="32449"/>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70" name="Group 194">
            <a:extLst>
              <a:ext uri="{FF2B5EF4-FFF2-40B4-BE49-F238E27FC236}">
                <a16:creationId xmlns:a16="http://schemas.microsoft.com/office/drawing/2014/main" id="{80B637A0-BA7C-425C-A0AF-B3E80B4AEC83}"/>
              </a:ext>
            </a:extLst>
          </p:cNvPr>
          <p:cNvGrpSpPr>
            <a:grpSpLocks/>
          </p:cNvGrpSpPr>
          <p:nvPr/>
        </p:nvGrpSpPr>
        <p:grpSpPr bwMode="auto">
          <a:xfrm>
            <a:off x="3904207" y="4368361"/>
            <a:ext cx="186884" cy="178469"/>
            <a:chOff x="2942" y="2530"/>
            <a:chExt cx="163" cy="161"/>
          </a:xfrm>
          <a:solidFill>
            <a:srgbClr val="00B050"/>
          </a:solidFill>
        </p:grpSpPr>
        <p:sp>
          <p:nvSpPr>
            <p:cNvPr id="248" name="Freeform 781">
              <a:extLst>
                <a:ext uri="{FF2B5EF4-FFF2-40B4-BE49-F238E27FC236}">
                  <a16:creationId xmlns:a16="http://schemas.microsoft.com/office/drawing/2014/main" id="{FB4D28D9-4023-4A47-99FC-62C7EC792373}"/>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9" name="Freeform 782">
              <a:extLst>
                <a:ext uri="{FF2B5EF4-FFF2-40B4-BE49-F238E27FC236}">
                  <a16:creationId xmlns:a16="http://schemas.microsoft.com/office/drawing/2014/main" id="{B1394C94-FF2C-4788-8280-D38679147605}"/>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0" name="Freeform 783">
              <a:extLst>
                <a:ext uri="{FF2B5EF4-FFF2-40B4-BE49-F238E27FC236}">
                  <a16:creationId xmlns:a16="http://schemas.microsoft.com/office/drawing/2014/main" id="{816DF731-9397-45CC-9DE6-BB914CD9AA52}"/>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1" name="Freeform 784">
              <a:extLst>
                <a:ext uri="{FF2B5EF4-FFF2-40B4-BE49-F238E27FC236}">
                  <a16:creationId xmlns:a16="http://schemas.microsoft.com/office/drawing/2014/main" id="{E5AA8E9A-B1B5-4B37-8D2F-1CEA3595297D}"/>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2" name="Freeform 785">
              <a:extLst>
                <a:ext uri="{FF2B5EF4-FFF2-40B4-BE49-F238E27FC236}">
                  <a16:creationId xmlns:a16="http://schemas.microsoft.com/office/drawing/2014/main" id="{0F32216C-9D5C-4ABD-BA85-DCF960936CA7}"/>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71" name="Freeform 786">
            <a:extLst>
              <a:ext uri="{FF2B5EF4-FFF2-40B4-BE49-F238E27FC236}">
                <a16:creationId xmlns:a16="http://schemas.microsoft.com/office/drawing/2014/main" id="{963AD41B-26F5-4D47-AD53-8AC2972B2A93}"/>
              </a:ext>
            </a:extLst>
          </p:cNvPr>
          <p:cNvSpPr>
            <a:spLocks/>
          </p:cNvSpPr>
          <p:nvPr/>
        </p:nvSpPr>
        <p:spPr bwMode="auto">
          <a:xfrm>
            <a:off x="4426858" y="4427893"/>
            <a:ext cx="125561" cy="9870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2" name="Freeform 787">
            <a:extLst>
              <a:ext uri="{FF2B5EF4-FFF2-40B4-BE49-F238E27FC236}">
                <a16:creationId xmlns:a16="http://schemas.microsoft.com/office/drawing/2014/main" id="{A95BECF4-65E0-4E20-8E81-BF2D70CA24FA}"/>
              </a:ext>
            </a:extLst>
          </p:cNvPr>
          <p:cNvSpPr>
            <a:spLocks/>
          </p:cNvSpPr>
          <p:nvPr/>
        </p:nvSpPr>
        <p:spPr bwMode="auto">
          <a:xfrm>
            <a:off x="4409339" y="4498200"/>
            <a:ext cx="275943" cy="155487"/>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3" name="Freeform 788">
            <a:extLst>
              <a:ext uri="{FF2B5EF4-FFF2-40B4-BE49-F238E27FC236}">
                <a16:creationId xmlns:a16="http://schemas.microsoft.com/office/drawing/2014/main" id="{A82C2CB6-9C1B-463B-B201-2EDC9A84F804}"/>
              </a:ext>
            </a:extLst>
          </p:cNvPr>
          <p:cNvSpPr>
            <a:spLocks/>
          </p:cNvSpPr>
          <p:nvPr/>
        </p:nvSpPr>
        <p:spPr bwMode="auto">
          <a:xfrm>
            <a:off x="4479420" y="4577971"/>
            <a:ext cx="51101" cy="55434"/>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4" name="Freeform 789">
            <a:extLst>
              <a:ext uri="{FF2B5EF4-FFF2-40B4-BE49-F238E27FC236}">
                <a16:creationId xmlns:a16="http://schemas.microsoft.com/office/drawing/2014/main" id="{F13E0817-830A-4419-9E5B-A121B77DA6DD}"/>
              </a:ext>
            </a:extLst>
          </p:cNvPr>
          <p:cNvSpPr>
            <a:spLocks/>
          </p:cNvSpPr>
          <p:nvPr/>
        </p:nvSpPr>
        <p:spPr bwMode="auto">
          <a:xfrm>
            <a:off x="4429779" y="4340011"/>
            <a:ext cx="80301" cy="52729"/>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5" name="Freeform 790">
            <a:extLst>
              <a:ext uri="{FF2B5EF4-FFF2-40B4-BE49-F238E27FC236}">
                <a16:creationId xmlns:a16="http://schemas.microsoft.com/office/drawing/2014/main" id="{8E6C7D94-2CCA-4C44-B3CB-82E170208E8E}"/>
              </a:ext>
            </a:extLst>
          </p:cNvPr>
          <p:cNvSpPr>
            <a:spLocks/>
          </p:cNvSpPr>
          <p:nvPr/>
        </p:nvSpPr>
        <p:spPr bwMode="auto">
          <a:xfrm>
            <a:off x="4368459" y="4408965"/>
            <a:ext cx="125561" cy="62194"/>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6" name="Freeform 791">
            <a:extLst>
              <a:ext uri="{FF2B5EF4-FFF2-40B4-BE49-F238E27FC236}">
                <a16:creationId xmlns:a16="http://schemas.microsoft.com/office/drawing/2014/main" id="{D658C2E5-253C-49B8-9139-B1A75693B43B}"/>
              </a:ext>
            </a:extLst>
          </p:cNvPr>
          <p:cNvSpPr>
            <a:spLocks/>
          </p:cNvSpPr>
          <p:nvPr/>
        </p:nvSpPr>
        <p:spPr bwMode="auto">
          <a:xfrm>
            <a:off x="4390358" y="4384627"/>
            <a:ext cx="108042" cy="43265"/>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7" name="Freeform 792">
            <a:extLst>
              <a:ext uri="{FF2B5EF4-FFF2-40B4-BE49-F238E27FC236}">
                <a16:creationId xmlns:a16="http://schemas.microsoft.com/office/drawing/2014/main" id="{59202752-5754-4DE6-B2D6-DF32F10E5DC8}"/>
              </a:ext>
            </a:extLst>
          </p:cNvPr>
          <p:cNvSpPr>
            <a:spLocks/>
          </p:cNvSpPr>
          <p:nvPr/>
        </p:nvSpPr>
        <p:spPr bwMode="auto">
          <a:xfrm>
            <a:off x="4276478" y="4605013"/>
            <a:ext cx="52561" cy="28393"/>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8" name="Freeform 793">
            <a:extLst>
              <a:ext uri="{FF2B5EF4-FFF2-40B4-BE49-F238E27FC236}">
                <a16:creationId xmlns:a16="http://schemas.microsoft.com/office/drawing/2014/main" id="{7D1A9FB2-D060-4515-BD88-6FCAEAF225BE}"/>
              </a:ext>
            </a:extLst>
          </p:cNvPr>
          <p:cNvSpPr>
            <a:spLocks/>
          </p:cNvSpPr>
          <p:nvPr/>
        </p:nvSpPr>
        <p:spPr bwMode="auto">
          <a:xfrm>
            <a:off x="4385979" y="4695601"/>
            <a:ext cx="39420" cy="21633"/>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9" name="Freeform 794">
            <a:extLst>
              <a:ext uri="{FF2B5EF4-FFF2-40B4-BE49-F238E27FC236}">
                <a16:creationId xmlns:a16="http://schemas.microsoft.com/office/drawing/2014/main" id="{A4200E5E-8CC9-48B5-AA45-0716870EB5D3}"/>
              </a:ext>
            </a:extLst>
          </p:cNvPr>
          <p:cNvSpPr>
            <a:spLocks/>
          </p:cNvSpPr>
          <p:nvPr/>
        </p:nvSpPr>
        <p:spPr bwMode="auto">
          <a:xfrm>
            <a:off x="4352399" y="4621237"/>
            <a:ext cx="67161" cy="86532"/>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0" name="Freeform 795">
            <a:extLst>
              <a:ext uri="{FF2B5EF4-FFF2-40B4-BE49-F238E27FC236}">
                <a16:creationId xmlns:a16="http://schemas.microsoft.com/office/drawing/2014/main" id="{88387600-1A81-43F5-A5F6-E595CC546449}"/>
              </a:ext>
            </a:extLst>
          </p:cNvPr>
          <p:cNvSpPr>
            <a:spLocks/>
          </p:cNvSpPr>
          <p:nvPr/>
        </p:nvSpPr>
        <p:spPr bwMode="auto">
          <a:xfrm>
            <a:off x="4273559" y="4615830"/>
            <a:ext cx="108042" cy="75715"/>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1" name="Freeform 796">
            <a:extLst>
              <a:ext uri="{FF2B5EF4-FFF2-40B4-BE49-F238E27FC236}">
                <a16:creationId xmlns:a16="http://schemas.microsoft.com/office/drawing/2014/main" id="{992FA9DF-63EC-429A-BF35-AE164E2FF638}"/>
              </a:ext>
            </a:extLst>
          </p:cNvPr>
          <p:cNvSpPr>
            <a:spLocks/>
          </p:cNvSpPr>
          <p:nvPr/>
        </p:nvSpPr>
        <p:spPr bwMode="auto">
          <a:xfrm>
            <a:off x="3928435" y="4784959"/>
            <a:ext cx="318103" cy="295042"/>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2" name="Freeform 797">
            <a:extLst>
              <a:ext uri="{FF2B5EF4-FFF2-40B4-BE49-F238E27FC236}">
                <a16:creationId xmlns:a16="http://schemas.microsoft.com/office/drawing/2014/main" id="{92554E69-034D-4A5C-9380-796DF5D21CBE}"/>
              </a:ext>
            </a:extLst>
          </p:cNvPr>
          <p:cNvSpPr>
            <a:spLocks/>
          </p:cNvSpPr>
          <p:nvPr/>
        </p:nvSpPr>
        <p:spPr bwMode="auto">
          <a:xfrm>
            <a:off x="4666480" y="4779393"/>
            <a:ext cx="155619" cy="139171"/>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3" name="Freeform 798">
            <a:extLst>
              <a:ext uri="{FF2B5EF4-FFF2-40B4-BE49-F238E27FC236}">
                <a16:creationId xmlns:a16="http://schemas.microsoft.com/office/drawing/2014/main" id="{D33F1956-7744-4394-A0B6-5DC6187179A1}"/>
              </a:ext>
            </a:extLst>
          </p:cNvPr>
          <p:cNvSpPr>
            <a:spLocks/>
          </p:cNvSpPr>
          <p:nvPr/>
        </p:nvSpPr>
        <p:spPr bwMode="auto">
          <a:xfrm>
            <a:off x="4603546" y="4866236"/>
            <a:ext cx="329546" cy="267209"/>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4" name="Freeform 799">
            <a:extLst>
              <a:ext uri="{FF2B5EF4-FFF2-40B4-BE49-F238E27FC236}">
                <a16:creationId xmlns:a16="http://schemas.microsoft.com/office/drawing/2014/main" id="{C4D285CB-4C4F-400C-B984-87DC8A9E1D18}"/>
              </a:ext>
            </a:extLst>
          </p:cNvPr>
          <p:cNvSpPr>
            <a:spLocks/>
          </p:cNvSpPr>
          <p:nvPr/>
        </p:nvSpPr>
        <p:spPr bwMode="auto">
          <a:xfrm>
            <a:off x="4616133" y="4781620"/>
            <a:ext cx="112137" cy="83502"/>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5" name="Freeform 800">
            <a:extLst>
              <a:ext uri="{FF2B5EF4-FFF2-40B4-BE49-F238E27FC236}">
                <a16:creationId xmlns:a16="http://schemas.microsoft.com/office/drawing/2014/main" id="{2BE5A517-FA3C-44CF-972A-C5B15864EF7F}"/>
              </a:ext>
            </a:extLst>
          </p:cNvPr>
          <p:cNvSpPr>
            <a:spLocks/>
          </p:cNvSpPr>
          <p:nvPr/>
        </p:nvSpPr>
        <p:spPr bwMode="auto">
          <a:xfrm>
            <a:off x="4859859" y="4966439"/>
            <a:ext cx="82387" cy="55669"/>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6" name="Freeform 801">
            <a:extLst>
              <a:ext uri="{FF2B5EF4-FFF2-40B4-BE49-F238E27FC236}">
                <a16:creationId xmlns:a16="http://schemas.microsoft.com/office/drawing/2014/main" id="{2AF56B3E-A4A0-4E78-9F27-6E1F86480A6E}"/>
              </a:ext>
            </a:extLst>
          </p:cNvPr>
          <p:cNvSpPr>
            <a:spLocks/>
          </p:cNvSpPr>
          <p:nvPr/>
        </p:nvSpPr>
        <p:spPr bwMode="auto">
          <a:xfrm>
            <a:off x="4740857" y="5078889"/>
            <a:ext cx="151042" cy="99090"/>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7" name="Freeform 802">
            <a:extLst>
              <a:ext uri="{FF2B5EF4-FFF2-40B4-BE49-F238E27FC236}">
                <a16:creationId xmlns:a16="http://schemas.microsoft.com/office/drawing/2014/main" id="{65BAB392-D000-4FDD-8FB1-AE51D60AF3F4}"/>
              </a:ext>
            </a:extLst>
          </p:cNvPr>
          <p:cNvSpPr>
            <a:spLocks/>
          </p:cNvSpPr>
          <p:nvPr/>
        </p:nvSpPr>
        <p:spPr bwMode="auto">
          <a:xfrm>
            <a:off x="4728270" y="5104496"/>
            <a:ext cx="58357" cy="73483"/>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8" name="Freeform 803">
            <a:extLst>
              <a:ext uri="{FF2B5EF4-FFF2-40B4-BE49-F238E27FC236}">
                <a16:creationId xmlns:a16="http://schemas.microsoft.com/office/drawing/2014/main" id="{D02BDEA7-490D-491D-ADE1-354D74062D97}"/>
              </a:ext>
            </a:extLst>
          </p:cNvPr>
          <p:cNvSpPr>
            <a:spLocks/>
          </p:cNvSpPr>
          <p:nvPr/>
        </p:nvSpPr>
        <p:spPr bwMode="auto">
          <a:xfrm>
            <a:off x="4243106" y="5455207"/>
            <a:ext cx="199100" cy="189272"/>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9" name="Freeform 804">
            <a:extLst>
              <a:ext uri="{FF2B5EF4-FFF2-40B4-BE49-F238E27FC236}">
                <a16:creationId xmlns:a16="http://schemas.microsoft.com/office/drawing/2014/main" id="{E6CC3D2F-DB61-47E2-8F82-35A70A7033D1}"/>
              </a:ext>
            </a:extLst>
          </p:cNvPr>
          <p:cNvSpPr>
            <a:spLocks/>
          </p:cNvSpPr>
          <p:nvPr/>
        </p:nvSpPr>
        <p:spPr bwMode="auto">
          <a:xfrm>
            <a:off x="4248827" y="5439620"/>
            <a:ext cx="17164" cy="16700"/>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0" name="Freeform 805">
            <a:extLst>
              <a:ext uri="{FF2B5EF4-FFF2-40B4-BE49-F238E27FC236}">
                <a16:creationId xmlns:a16="http://schemas.microsoft.com/office/drawing/2014/main" id="{A13D6358-E032-4D42-8B3A-BB647533A52A}"/>
              </a:ext>
            </a:extLst>
          </p:cNvPr>
          <p:cNvSpPr>
            <a:spLocks/>
          </p:cNvSpPr>
          <p:nvPr/>
        </p:nvSpPr>
        <p:spPr bwMode="auto">
          <a:xfrm>
            <a:off x="4373551" y="5638913"/>
            <a:ext cx="146465" cy="142511"/>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1" name="Freeform 806">
            <a:extLst>
              <a:ext uri="{FF2B5EF4-FFF2-40B4-BE49-F238E27FC236}">
                <a16:creationId xmlns:a16="http://schemas.microsoft.com/office/drawing/2014/main" id="{2B54C7EB-4521-4D8E-8CC8-3C3AFB6C9D5D}"/>
              </a:ext>
            </a:extLst>
          </p:cNvPr>
          <p:cNvSpPr>
            <a:spLocks/>
          </p:cNvSpPr>
          <p:nvPr/>
        </p:nvSpPr>
        <p:spPr bwMode="auto">
          <a:xfrm>
            <a:off x="4516583" y="5403992"/>
            <a:ext cx="28607" cy="31174"/>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2" name="Freeform 807">
            <a:extLst>
              <a:ext uri="{FF2B5EF4-FFF2-40B4-BE49-F238E27FC236}">
                <a16:creationId xmlns:a16="http://schemas.microsoft.com/office/drawing/2014/main" id="{56F9B48F-62FA-48FD-A47B-AEF05EC56DEE}"/>
              </a:ext>
            </a:extLst>
          </p:cNvPr>
          <p:cNvSpPr>
            <a:spLocks/>
          </p:cNvSpPr>
          <p:nvPr/>
        </p:nvSpPr>
        <p:spPr bwMode="auto">
          <a:xfrm>
            <a:off x="4193903" y="5175752"/>
            <a:ext cx="121291" cy="170345"/>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3" name="Freeform 808">
            <a:extLst>
              <a:ext uri="{FF2B5EF4-FFF2-40B4-BE49-F238E27FC236}">
                <a16:creationId xmlns:a16="http://schemas.microsoft.com/office/drawing/2014/main" id="{4462D747-86EA-41CA-8F26-DE6608A116F0}"/>
              </a:ext>
            </a:extLst>
          </p:cNvPr>
          <p:cNvSpPr>
            <a:spLocks/>
          </p:cNvSpPr>
          <p:nvPr/>
        </p:nvSpPr>
        <p:spPr bwMode="auto">
          <a:xfrm>
            <a:off x="4290020" y="5202473"/>
            <a:ext cx="203678" cy="123584"/>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4" name="Freeform 809">
            <a:extLst>
              <a:ext uri="{FF2B5EF4-FFF2-40B4-BE49-F238E27FC236}">
                <a16:creationId xmlns:a16="http://schemas.microsoft.com/office/drawing/2014/main" id="{DBBD5777-1E56-4ABE-BA16-5C74CE9A0EA7}"/>
              </a:ext>
            </a:extLst>
          </p:cNvPr>
          <p:cNvSpPr>
            <a:spLocks/>
          </p:cNvSpPr>
          <p:nvPr/>
        </p:nvSpPr>
        <p:spPr bwMode="auto">
          <a:xfrm>
            <a:off x="4271712" y="5008747"/>
            <a:ext cx="168205" cy="249395"/>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5" name="Freeform 810">
            <a:extLst>
              <a:ext uri="{FF2B5EF4-FFF2-40B4-BE49-F238E27FC236}">
                <a16:creationId xmlns:a16="http://schemas.microsoft.com/office/drawing/2014/main" id="{7D7286B1-9422-4310-B4C2-615AF19EAACA}"/>
              </a:ext>
            </a:extLst>
          </p:cNvPr>
          <p:cNvSpPr>
            <a:spLocks/>
          </p:cNvSpPr>
          <p:nvPr/>
        </p:nvSpPr>
        <p:spPr bwMode="auto">
          <a:xfrm>
            <a:off x="4236240" y="5312696"/>
            <a:ext cx="119002" cy="132491"/>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6" name="Freeform 811">
            <a:extLst>
              <a:ext uri="{FF2B5EF4-FFF2-40B4-BE49-F238E27FC236}">
                <a16:creationId xmlns:a16="http://schemas.microsoft.com/office/drawing/2014/main" id="{D40F5B22-E2AA-4258-9265-F1FF9ED960F4}"/>
              </a:ext>
            </a:extLst>
          </p:cNvPr>
          <p:cNvSpPr>
            <a:spLocks/>
          </p:cNvSpPr>
          <p:nvPr/>
        </p:nvSpPr>
        <p:spPr bwMode="auto">
          <a:xfrm>
            <a:off x="4254548" y="5291543"/>
            <a:ext cx="297506" cy="278342"/>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7" name="Freeform 812">
            <a:extLst>
              <a:ext uri="{FF2B5EF4-FFF2-40B4-BE49-F238E27FC236}">
                <a16:creationId xmlns:a16="http://schemas.microsoft.com/office/drawing/2014/main" id="{AD4D240B-D50A-4D70-8C0B-977F83984D3A}"/>
              </a:ext>
            </a:extLst>
          </p:cNvPr>
          <p:cNvSpPr>
            <a:spLocks/>
          </p:cNvSpPr>
          <p:nvPr/>
        </p:nvSpPr>
        <p:spPr bwMode="auto">
          <a:xfrm>
            <a:off x="4568074" y="4807227"/>
            <a:ext cx="37760" cy="20041"/>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8" name="Freeform 813">
            <a:extLst>
              <a:ext uri="{FF2B5EF4-FFF2-40B4-BE49-F238E27FC236}">
                <a16:creationId xmlns:a16="http://schemas.microsoft.com/office/drawing/2014/main" id="{6CE44318-CD7E-445D-B758-E7779777C82F}"/>
              </a:ext>
            </a:extLst>
          </p:cNvPr>
          <p:cNvSpPr>
            <a:spLocks/>
          </p:cNvSpPr>
          <p:nvPr/>
        </p:nvSpPr>
        <p:spPr bwMode="auto">
          <a:xfrm>
            <a:off x="4077188" y="5180206"/>
            <a:ext cx="43481" cy="94637"/>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9" name="Freeform 814">
            <a:extLst>
              <a:ext uri="{FF2B5EF4-FFF2-40B4-BE49-F238E27FC236}">
                <a16:creationId xmlns:a16="http://schemas.microsoft.com/office/drawing/2014/main" id="{1F0F724B-E44F-41E4-8A14-AE2C600D3B37}"/>
              </a:ext>
            </a:extLst>
          </p:cNvPr>
          <p:cNvSpPr>
            <a:spLocks/>
          </p:cNvSpPr>
          <p:nvPr/>
        </p:nvSpPr>
        <p:spPr bwMode="auto">
          <a:xfrm>
            <a:off x="4209922" y="5334964"/>
            <a:ext cx="29751" cy="20041"/>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0" name="Freeform 815">
            <a:extLst>
              <a:ext uri="{FF2B5EF4-FFF2-40B4-BE49-F238E27FC236}">
                <a16:creationId xmlns:a16="http://schemas.microsoft.com/office/drawing/2014/main" id="{86E37F85-C5A4-488E-B339-0F0F15565748}"/>
              </a:ext>
            </a:extLst>
          </p:cNvPr>
          <p:cNvSpPr>
            <a:spLocks/>
          </p:cNvSpPr>
          <p:nvPr/>
        </p:nvSpPr>
        <p:spPr bwMode="auto">
          <a:xfrm>
            <a:off x="4577228" y="5093363"/>
            <a:ext cx="236861" cy="223787"/>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1" name="Freeform 816">
            <a:extLst>
              <a:ext uri="{FF2B5EF4-FFF2-40B4-BE49-F238E27FC236}">
                <a16:creationId xmlns:a16="http://schemas.microsoft.com/office/drawing/2014/main" id="{B1F3E296-E0F1-42B3-8EB5-18834C3DEF2D}"/>
              </a:ext>
            </a:extLst>
          </p:cNvPr>
          <p:cNvSpPr>
            <a:spLocks/>
          </p:cNvSpPr>
          <p:nvPr/>
        </p:nvSpPr>
        <p:spPr bwMode="auto">
          <a:xfrm>
            <a:off x="4715683" y="5175752"/>
            <a:ext cx="25174" cy="30061"/>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2" name="Freeform 817">
            <a:extLst>
              <a:ext uri="{FF2B5EF4-FFF2-40B4-BE49-F238E27FC236}">
                <a16:creationId xmlns:a16="http://schemas.microsoft.com/office/drawing/2014/main" id="{BCB202AA-2A16-4C5C-AA67-6AFAFA8F6938}"/>
              </a:ext>
            </a:extLst>
          </p:cNvPr>
          <p:cNvSpPr>
            <a:spLocks/>
          </p:cNvSpPr>
          <p:nvPr/>
        </p:nvSpPr>
        <p:spPr bwMode="auto">
          <a:xfrm>
            <a:off x="4198479" y="5334964"/>
            <a:ext cx="88108" cy="94637"/>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3" name="Freeform 818">
            <a:extLst>
              <a:ext uri="{FF2B5EF4-FFF2-40B4-BE49-F238E27FC236}">
                <a16:creationId xmlns:a16="http://schemas.microsoft.com/office/drawing/2014/main" id="{0C93BDFC-9980-4906-BF18-DAD7D5B3E82D}"/>
              </a:ext>
            </a:extLst>
          </p:cNvPr>
          <p:cNvSpPr>
            <a:spLocks/>
          </p:cNvSpPr>
          <p:nvPr/>
        </p:nvSpPr>
        <p:spPr bwMode="auto">
          <a:xfrm>
            <a:off x="3801422" y="5162392"/>
            <a:ext cx="48059" cy="8907"/>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4" name="Freeform 819">
            <a:extLst>
              <a:ext uri="{FF2B5EF4-FFF2-40B4-BE49-F238E27FC236}">
                <a16:creationId xmlns:a16="http://schemas.microsoft.com/office/drawing/2014/main" id="{2483B080-5A2E-4F13-B9A0-DEDEF8079900}"/>
              </a:ext>
            </a:extLst>
          </p:cNvPr>
          <p:cNvSpPr>
            <a:spLocks/>
          </p:cNvSpPr>
          <p:nvPr/>
        </p:nvSpPr>
        <p:spPr bwMode="auto">
          <a:xfrm>
            <a:off x="4015399" y="5199133"/>
            <a:ext cx="67511" cy="99090"/>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5" name="Freeform 820">
            <a:extLst>
              <a:ext uri="{FF2B5EF4-FFF2-40B4-BE49-F238E27FC236}">
                <a16:creationId xmlns:a16="http://schemas.microsoft.com/office/drawing/2014/main" id="{7F1B88CC-77FA-4556-9E9A-EBE75920496C}"/>
              </a:ext>
            </a:extLst>
          </p:cNvPr>
          <p:cNvSpPr>
            <a:spLocks/>
          </p:cNvSpPr>
          <p:nvPr/>
        </p:nvSpPr>
        <p:spPr bwMode="auto">
          <a:xfrm>
            <a:off x="3828885" y="5175752"/>
            <a:ext cx="115570" cy="82389"/>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6" name="Freeform 821">
            <a:extLst>
              <a:ext uri="{FF2B5EF4-FFF2-40B4-BE49-F238E27FC236}">
                <a16:creationId xmlns:a16="http://schemas.microsoft.com/office/drawing/2014/main" id="{003FC4C7-BA5E-490B-A4F1-1C0EFED6FB87}"/>
              </a:ext>
            </a:extLst>
          </p:cNvPr>
          <p:cNvSpPr>
            <a:spLocks/>
          </p:cNvSpPr>
          <p:nvPr/>
        </p:nvSpPr>
        <p:spPr bwMode="auto">
          <a:xfrm>
            <a:off x="4761453" y="4915224"/>
            <a:ext cx="29751" cy="8907"/>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7" name="Freeform 822">
            <a:extLst>
              <a:ext uri="{FF2B5EF4-FFF2-40B4-BE49-F238E27FC236}">
                <a16:creationId xmlns:a16="http://schemas.microsoft.com/office/drawing/2014/main" id="{9BD2EF94-3A1F-4B1E-8B71-180E83DE23F4}"/>
              </a:ext>
            </a:extLst>
          </p:cNvPr>
          <p:cNvSpPr>
            <a:spLocks/>
          </p:cNvSpPr>
          <p:nvPr/>
        </p:nvSpPr>
        <p:spPr bwMode="auto">
          <a:xfrm>
            <a:off x="4593248" y="4849535"/>
            <a:ext cx="25174" cy="64575"/>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8" name="Freeform 823">
            <a:extLst>
              <a:ext uri="{FF2B5EF4-FFF2-40B4-BE49-F238E27FC236}">
                <a16:creationId xmlns:a16="http://schemas.microsoft.com/office/drawing/2014/main" id="{EAEDBD41-082E-45BA-8113-5C661357A1E7}"/>
              </a:ext>
            </a:extLst>
          </p:cNvPr>
          <p:cNvSpPr>
            <a:spLocks/>
          </p:cNvSpPr>
          <p:nvPr/>
        </p:nvSpPr>
        <p:spPr bwMode="auto">
          <a:xfrm>
            <a:off x="3929579" y="5205813"/>
            <a:ext cx="92684" cy="96863"/>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9" name="Freeform 824">
            <a:extLst>
              <a:ext uri="{FF2B5EF4-FFF2-40B4-BE49-F238E27FC236}">
                <a16:creationId xmlns:a16="http://schemas.microsoft.com/office/drawing/2014/main" id="{BC07ED43-92C0-4463-BE91-75D378245AC3}"/>
              </a:ext>
            </a:extLst>
          </p:cNvPr>
          <p:cNvSpPr>
            <a:spLocks/>
          </p:cNvSpPr>
          <p:nvPr/>
        </p:nvSpPr>
        <p:spPr bwMode="auto">
          <a:xfrm>
            <a:off x="4605834" y="4846195"/>
            <a:ext cx="68655" cy="72369"/>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0" name="Freeform 825">
            <a:extLst>
              <a:ext uri="{FF2B5EF4-FFF2-40B4-BE49-F238E27FC236}">
                <a16:creationId xmlns:a16="http://schemas.microsoft.com/office/drawing/2014/main" id="{193E87B5-9C63-4375-B210-A66A1AFCCF6F}"/>
              </a:ext>
            </a:extLst>
          </p:cNvPr>
          <p:cNvSpPr>
            <a:spLocks/>
          </p:cNvSpPr>
          <p:nvPr/>
        </p:nvSpPr>
        <p:spPr bwMode="auto">
          <a:xfrm>
            <a:off x="4593248" y="5299336"/>
            <a:ext cx="124724" cy="140284"/>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1" name="Freeform 826">
            <a:extLst>
              <a:ext uri="{FF2B5EF4-FFF2-40B4-BE49-F238E27FC236}">
                <a16:creationId xmlns:a16="http://schemas.microsoft.com/office/drawing/2014/main" id="{793AFA17-087D-46AE-869B-60FF321E751B}"/>
              </a:ext>
            </a:extLst>
          </p:cNvPr>
          <p:cNvSpPr>
            <a:spLocks/>
          </p:cNvSpPr>
          <p:nvPr/>
        </p:nvSpPr>
        <p:spPr bwMode="auto">
          <a:xfrm>
            <a:off x="4790060" y="4902977"/>
            <a:ext cx="28607" cy="24494"/>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2" name="Freeform 827">
            <a:extLst>
              <a:ext uri="{FF2B5EF4-FFF2-40B4-BE49-F238E27FC236}">
                <a16:creationId xmlns:a16="http://schemas.microsoft.com/office/drawing/2014/main" id="{84307B0E-2C20-4123-9CAA-1D24370C93CD}"/>
              </a:ext>
            </a:extLst>
          </p:cNvPr>
          <p:cNvSpPr>
            <a:spLocks/>
          </p:cNvSpPr>
          <p:nvPr/>
        </p:nvSpPr>
        <p:spPr bwMode="auto">
          <a:xfrm>
            <a:off x="4609267" y="4823927"/>
            <a:ext cx="25174" cy="27834"/>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3" name="Freeform 828">
            <a:extLst>
              <a:ext uri="{FF2B5EF4-FFF2-40B4-BE49-F238E27FC236}">
                <a16:creationId xmlns:a16="http://schemas.microsoft.com/office/drawing/2014/main" id="{77A30CF6-910C-42F4-A2AF-820286EDA0EC}"/>
              </a:ext>
            </a:extLst>
          </p:cNvPr>
          <p:cNvSpPr>
            <a:spLocks/>
          </p:cNvSpPr>
          <p:nvPr/>
        </p:nvSpPr>
        <p:spPr bwMode="auto">
          <a:xfrm>
            <a:off x="3884953" y="5241441"/>
            <a:ext cx="62934" cy="6123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4" name="Freeform 829">
            <a:extLst>
              <a:ext uri="{FF2B5EF4-FFF2-40B4-BE49-F238E27FC236}">
                <a16:creationId xmlns:a16="http://schemas.microsoft.com/office/drawing/2014/main" id="{3F674640-2E1D-4DFF-B01D-3A3488930238}"/>
              </a:ext>
            </a:extLst>
          </p:cNvPr>
          <p:cNvSpPr>
            <a:spLocks/>
          </p:cNvSpPr>
          <p:nvPr/>
        </p:nvSpPr>
        <p:spPr bwMode="auto">
          <a:xfrm>
            <a:off x="4208778" y="4850649"/>
            <a:ext cx="244871" cy="221560"/>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5" name="Freeform 830">
            <a:extLst>
              <a:ext uri="{FF2B5EF4-FFF2-40B4-BE49-F238E27FC236}">
                <a16:creationId xmlns:a16="http://schemas.microsoft.com/office/drawing/2014/main" id="{85D81B0A-8416-497A-99DC-67F35F0AD3D9}"/>
              </a:ext>
            </a:extLst>
          </p:cNvPr>
          <p:cNvSpPr>
            <a:spLocks/>
          </p:cNvSpPr>
          <p:nvPr/>
        </p:nvSpPr>
        <p:spPr bwMode="auto">
          <a:xfrm>
            <a:off x="4735135" y="5553184"/>
            <a:ext cx="110993" cy="21154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6" name="Freeform 831">
            <a:extLst>
              <a:ext uri="{FF2B5EF4-FFF2-40B4-BE49-F238E27FC236}">
                <a16:creationId xmlns:a16="http://schemas.microsoft.com/office/drawing/2014/main" id="{C18ABAB0-2722-4783-84A2-5634D23EAA75}"/>
              </a:ext>
            </a:extLst>
          </p:cNvPr>
          <p:cNvSpPr>
            <a:spLocks/>
          </p:cNvSpPr>
          <p:nvPr/>
        </p:nvSpPr>
        <p:spPr bwMode="auto">
          <a:xfrm>
            <a:off x="4573795" y="5510876"/>
            <a:ext cx="51492" cy="119130"/>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7" name="Freeform 832">
            <a:extLst>
              <a:ext uri="{FF2B5EF4-FFF2-40B4-BE49-F238E27FC236}">
                <a16:creationId xmlns:a16="http://schemas.microsoft.com/office/drawing/2014/main" id="{EFCB03DB-03D6-4A91-8CBD-792B0C10DE69}"/>
              </a:ext>
            </a:extLst>
          </p:cNvPr>
          <p:cNvSpPr>
            <a:spLocks/>
          </p:cNvSpPr>
          <p:nvPr/>
        </p:nvSpPr>
        <p:spPr bwMode="auto">
          <a:xfrm>
            <a:off x="3874655" y="4984252"/>
            <a:ext cx="252881" cy="231581"/>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8" name="Freeform 833">
            <a:extLst>
              <a:ext uri="{FF2B5EF4-FFF2-40B4-BE49-F238E27FC236}">
                <a16:creationId xmlns:a16="http://schemas.microsoft.com/office/drawing/2014/main" id="{C59BD9FB-1B30-423F-B1D7-751A58E65F2D}"/>
              </a:ext>
            </a:extLst>
          </p:cNvPr>
          <p:cNvSpPr>
            <a:spLocks/>
          </p:cNvSpPr>
          <p:nvPr/>
        </p:nvSpPr>
        <p:spPr bwMode="auto">
          <a:xfrm>
            <a:off x="3797990" y="4947511"/>
            <a:ext cx="191090" cy="197066"/>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9" name="Freeform 834">
            <a:extLst>
              <a:ext uri="{FF2B5EF4-FFF2-40B4-BE49-F238E27FC236}">
                <a16:creationId xmlns:a16="http://schemas.microsoft.com/office/drawing/2014/main" id="{EFA08614-7E06-47B4-99AF-2865D4F47977}"/>
              </a:ext>
            </a:extLst>
          </p:cNvPr>
          <p:cNvSpPr>
            <a:spLocks/>
          </p:cNvSpPr>
          <p:nvPr/>
        </p:nvSpPr>
        <p:spPr bwMode="auto">
          <a:xfrm>
            <a:off x="3859780" y="4807227"/>
            <a:ext cx="184226" cy="135831"/>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0" name="Freeform 835">
            <a:extLst>
              <a:ext uri="{FF2B5EF4-FFF2-40B4-BE49-F238E27FC236}">
                <a16:creationId xmlns:a16="http://schemas.microsoft.com/office/drawing/2014/main" id="{444A65E3-4F6F-4AFB-87EC-33F20023A968}"/>
              </a:ext>
            </a:extLst>
          </p:cNvPr>
          <p:cNvSpPr>
            <a:spLocks/>
          </p:cNvSpPr>
          <p:nvPr/>
        </p:nvSpPr>
        <p:spPr bwMode="auto">
          <a:xfrm>
            <a:off x="4530313" y="5527576"/>
            <a:ext cx="165917" cy="25384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1" name="Freeform 836">
            <a:extLst>
              <a:ext uri="{FF2B5EF4-FFF2-40B4-BE49-F238E27FC236}">
                <a16:creationId xmlns:a16="http://schemas.microsoft.com/office/drawing/2014/main" id="{E4377BC2-14F9-4CD6-A14C-C44A4E3AA617}"/>
              </a:ext>
            </a:extLst>
          </p:cNvPr>
          <p:cNvSpPr>
            <a:spLocks/>
          </p:cNvSpPr>
          <p:nvPr/>
        </p:nvSpPr>
        <p:spPr bwMode="auto">
          <a:xfrm>
            <a:off x="4065746" y="5007634"/>
            <a:ext cx="248303" cy="184819"/>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2" name="Freeform 837">
            <a:extLst>
              <a:ext uri="{FF2B5EF4-FFF2-40B4-BE49-F238E27FC236}">
                <a16:creationId xmlns:a16="http://schemas.microsoft.com/office/drawing/2014/main" id="{5CCF650A-0F72-4561-8E58-2343C3DBFEBE}"/>
              </a:ext>
            </a:extLst>
          </p:cNvPr>
          <p:cNvSpPr>
            <a:spLocks/>
          </p:cNvSpPr>
          <p:nvPr/>
        </p:nvSpPr>
        <p:spPr bwMode="auto">
          <a:xfrm>
            <a:off x="4106939" y="5159051"/>
            <a:ext cx="181937" cy="146965"/>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3" name="Freeform 838">
            <a:extLst>
              <a:ext uri="{FF2B5EF4-FFF2-40B4-BE49-F238E27FC236}">
                <a16:creationId xmlns:a16="http://schemas.microsoft.com/office/drawing/2014/main" id="{63CA195B-A87C-444E-8191-3ECC991AB875}"/>
              </a:ext>
            </a:extLst>
          </p:cNvPr>
          <p:cNvSpPr>
            <a:spLocks/>
          </p:cNvSpPr>
          <p:nvPr/>
        </p:nvSpPr>
        <p:spPr bwMode="auto">
          <a:xfrm>
            <a:off x="3801422" y="5175752"/>
            <a:ext cx="48059" cy="28947"/>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4" name="Freeform 839">
            <a:extLst>
              <a:ext uri="{FF2B5EF4-FFF2-40B4-BE49-F238E27FC236}">
                <a16:creationId xmlns:a16="http://schemas.microsoft.com/office/drawing/2014/main" id="{1BF71304-587F-4508-A321-52BEFDF494DC}"/>
              </a:ext>
            </a:extLst>
          </p:cNvPr>
          <p:cNvSpPr>
            <a:spLocks/>
          </p:cNvSpPr>
          <p:nvPr/>
        </p:nvSpPr>
        <p:spPr bwMode="auto">
          <a:xfrm>
            <a:off x="4855282" y="4966439"/>
            <a:ext cx="10298" cy="25608"/>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5" name="Freeform 840">
            <a:extLst>
              <a:ext uri="{FF2B5EF4-FFF2-40B4-BE49-F238E27FC236}">
                <a16:creationId xmlns:a16="http://schemas.microsoft.com/office/drawing/2014/main" id="{D74CE2DA-D7AA-4661-A52B-C9D5B3290A9A}"/>
              </a:ext>
            </a:extLst>
          </p:cNvPr>
          <p:cNvSpPr>
            <a:spLocks/>
          </p:cNvSpPr>
          <p:nvPr/>
        </p:nvSpPr>
        <p:spPr bwMode="auto">
          <a:xfrm>
            <a:off x="4516583" y="5383952"/>
            <a:ext cx="27462" cy="25608"/>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6" name="Freeform 841">
            <a:extLst>
              <a:ext uri="{FF2B5EF4-FFF2-40B4-BE49-F238E27FC236}">
                <a16:creationId xmlns:a16="http://schemas.microsoft.com/office/drawing/2014/main" id="{551F1F9D-E21B-4640-B8C7-C60950AB302D}"/>
              </a:ext>
            </a:extLst>
          </p:cNvPr>
          <p:cNvSpPr>
            <a:spLocks/>
          </p:cNvSpPr>
          <p:nvPr/>
        </p:nvSpPr>
        <p:spPr bwMode="auto">
          <a:xfrm>
            <a:off x="3788836" y="5115630"/>
            <a:ext cx="98406" cy="64575"/>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7" name="Freeform 842">
            <a:extLst>
              <a:ext uri="{FF2B5EF4-FFF2-40B4-BE49-F238E27FC236}">
                <a16:creationId xmlns:a16="http://schemas.microsoft.com/office/drawing/2014/main" id="{936ED875-F3AB-4A18-8E6A-F9C7C270CF02}"/>
              </a:ext>
            </a:extLst>
          </p:cNvPr>
          <p:cNvSpPr>
            <a:spLocks/>
          </p:cNvSpPr>
          <p:nvPr/>
        </p:nvSpPr>
        <p:spPr bwMode="auto">
          <a:xfrm>
            <a:off x="3855202" y="5218060"/>
            <a:ext cx="50347" cy="46761"/>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8" name="Freeform 843">
            <a:extLst>
              <a:ext uri="{FF2B5EF4-FFF2-40B4-BE49-F238E27FC236}">
                <a16:creationId xmlns:a16="http://schemas.microsoft.com/office/drawing/2014/main" id="{430A0786-7BD9-46DA-A610-519693964F01}"/>
              </a:ext>
            </a:extLst>
          </p:cNvPr>
          <p:cNvSpPr>
            <a:spLocks/>
          </p:cNvSpPr>
          <p:nvPr/>
        </p:nvSpPr>
        <p:spPr bwMode="auto">
          <a:xfrm>
            <a:off x="4704240" y="5187999"/>
            <a:ext cx="160196" cy="2070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9" name="Freeform 844">
            <a:extLst>
              <a:ext uri="{FF2B5EF4-FFF2-40B4-BE49-F238E27FC236}">
                <a16:creationId xmlns:a16="http://schemas.microsoft.com/office/drawing/2014/main" id="{DBAC6905-1A25-4E2C-90D6-5580DDEDDB85}"/>
              </a:ext>
            </a:extLst>
          </p:cNvPr>
          <p:cNvSpPr>
            <a:spLocks/>
          </p:cNvSpPr>
          <p:nvPr/>
        </p:nvSpPr>
        <p:spPr bwMode="auto">
          <a:xfrm>
            <a:off x="4454793" y="5605513"/>
            <a:ext cx="123580" cy="110224"/>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0" name="Freeform 845">
            <a:extLst>
              <a:ext uri="{FF2B5EF4-FFF2-40B4-BE49-F238E27FC236}">
                <a16:creationId xmlns:a16="http://schemas.microsoft.com/office/drawing/2014/main" id="{63E38F12-2AAD-4FA1-88BA-4655424B7ABA}"/>
              </a:ext>
            </a:extLst>
          </p:cNvPr>
          <p:cNvSpPr>
            <a:spLocks/>
          </p:cNvSpPr>
          <p:nvPr/>
        </p:nvSpPr>
        <p:spPr bwMode="auto">
          <a:xfrm>
            <a:off x="4243106" y="5625553"/>
            <a:ext cx="212832" cy="194840"/>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1" name="Freeform 846">
            <a:extLst>
              <a:ext uri="{FF2B5EF4-FFF2-40B4-BE49-F238E27FC236}">
                <a16:creationId xmlns:a16="http://schemas.microsoft.com/office/drawing/2014/main" id="{4BD50ED2-1085-45E9-834B-CC17883DC947}"/>
              </a:ext>
            </a:extLst>
          </p:cNvPr>
          <p:cNvSpPr>
            <a:spLocks/>
          </p:cNvSpPr>
          <p:nvPr/>
        </p:nvSpPr>
        <p:spPr bwMode="auto">
          <a:xfrm>
            <a:off x="3797990" y="4939718"/>
            <a:ext cx="132734" cy="1079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2" name="Freeform 847">
            <a:extLst>
              <a:ext uri="{FF2B5EF4-FFF2-40B4-BE49-F238E27FC236}">
                <a16:creationId xmlns:a16="http://schemas.microsoft.com/office/drawing/2014/main" id="{6E77A66E-2021-43C9-8F5F-B91B3DF1E257}"/>
              </a:ext>
            </a:extLst>
          </p:cNvPr>
          <p:cNvSpPr>
            <a:spLocks/>
          </p:cNvSpPr>
          <p:nvPr/>
        </p:nvSpPr>
        <p:spPr bwMode="auto">
          <a:xfrm>
            <a:off x="4405590" y="5014313"/>
            <a:ext cx="259746" cy="30061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3" name="Freeform 848">
            <a:extLst>
              <a:ext uri="{FF2B5EF4-FFF2-40B4-BE49-F238E27FC236}">
                <a16:creationId xmlns:a16="http://schemas.microsoft.com/office/drawing/2014/main" id="{EBD29889-D0B4-43B9-8442-B91A3B9BE83C}"/>
              </a:ext>
            </a:extLst>
          </p:cNvPr>
          <p:cNvSpPr>
            <a:spLocks/>
          </p:cNvSpPr>
          <p:nvPr/>
        </p:nvSpPr>
        <p:spPr bwMode="auto">
          <a:xfrm>
            <a:off x="4544045" y="5764724"/>
            <a:ext cx="19452" cy="25608"/>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4" name="Freeform 849">
            <a:extLst>
              <a:ext uri="{FF2B5EF4-FFF2-40B4-BE49-F238E27FC236}">
                <a16:creationId xmlns:a16="http://schemas.microsoft.com/office/drawing/2014/main" id="{21F0D43F-287D-4CDA-B746-2C8A66A82376}"/>
              </a:ext>
            </a:extLst>
          </p:cNvPr>
          <p:cNvSpPr>
            <a:spLocks/>
          </p:cNvSpPr>
          <p:nvPr/>
        </p:nvSpPr>
        <p:spPr bwMode="auto">
          <a:xfrm>
            <a:off x="4526881" y="5382839"/>
            <a:ext cx="169350" cy="162552"/>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5" name="Freeform 850">
            <a:extLst>
              <a:ext uri="{FF2B5EF4-FFF2-40B4-BE49-F238E27FC236}">
                <a16:creationId xmlns:a16="http://schemas.microsoft.com/office/drawing/2014/main" id="{ABF8C690-9AB9-49DF-AC8F-3A1B953C7881}"/>
              </a:ext>
            </a:extLst>
          </p:cNvPr>
          <p:cNvSpPr>
            <a:spLocks/>
          </p:cNvSpPr>
          <p:nvPr/>
        </p:nvSpPr>
        <p:spPr bwMode="auto">
          <a:xfrm>
            <a:off x="4060024" y="5199133"/>
            <a:ext cx="34328" cy="79049"/>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6" name="Freeform 851">
            <a:extLst>
              <a:ext uri="{FF2B5EF4-FFF2-40B4-BE49-F238E27FC236}">
                <a16:creationId xmlns:a16="http://schemas.microsoft.com/office/drawing/2014/main" id="{E3F0EFE2-BC71-410C-B51D-B34F896014ED}"/>
              </a:ext>
            </a:extLst>
          </p:cNvPr>
          <p:cNvSpPr>
            <a:spLocks/>
          </p:cNvSpPr>
          <p:nvPr/>
        </p:nvSpPr>
        <p:spPr bwMode="auto">
          <a:xfrm>
            <a:off x="4526881" y="5308243"/>
            <a:ext cx="84675" cy="81276"/>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7" name="Freeform 852">
            <a:extLst>
              <a:ext uri="{FF2B5EF4-FFF2-40B4-BE49-F238E27FC236}">
                <a16:creationId xmlns:a16="http://schemas.microsoft.com/office/drawing/2014/main" id="{54372FEB-36D5-41EF-9588-6403ECD97FEB}"/>
              </a:ext>
            </a:extLst>
          </p:cNvPr>
          <p:cNvSpPr>
            <a:spLocks/>
          </p:cNvSpPr>
          <p:nvPr/>
        </p:nvSpPr>
        <p:spPr bwMode="auto">
          <a:xfrm>
            <a:off x="4445639" y="4875142"/>
            <a:ext cx="176215" cy="160325"/>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8" name="Freeform 853">
            <a:extLst>
              <a:ext uri="{FF2B5EF4-FFF2-40B4-BE49-F238E27FC236}">
                <a16:creationId xmlns:a16="http://schemas.microsoft.com/office/drawing/2014/main" id="{EF6C8537-8511-49E7-A9E1-0022384E5493}"/>
              </a:ext>
            </a:extLst>
          </p:cNvPr>
          <p:cNvSpPr>
            <a:spLocks/>
          </p:cNvSpPr>
          <p:nvPr/>
        </p:nvSpPr>
        <p:spPr bwMode="auto">
          <a:xfrm>
            <a:off x="3982215" y="5141237"/>
            <a:ext cx="117858" cy="8461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9" name="Freeform 854">
            <a:extLst>
              <a:ext uri="{FF2B5EF4-FFF2-40B4-BE49-F238E27FC236}">
                <a16:creationId xmlns:a16="http://schemas.microsoft.com/office/drawing/2014/main" id="{469F0A00-47B2-4DDD-BF87-88A646D345DE}"/>
              </a:ext>
            </a:extLst>
          </p:cNvPr>
          <p:cNvSpPr>
            <a:spLocks/>
          </p:cNvSpPr>
          <p:nvPr/>
        </p:nvSpPr>
        <p:spPr bwMode="auto">
          <a:xfrm>
            <a:off x="4405590" y="5491948"/>
            <a:ext cx="185370" cy="149191"/>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0" name="Freeform 855">
            <a:extLst>
              <a:ext uri="{FF2B5EF4-FFF2-40B4-BE49-F238E27FC236}">
                <a16:creationId xmlns:a16="http://schemas.microsoft.com/office/drawing/2014/main" id="{30CB3E4B-42C8-4DF2-B739-CF227DDC8E73}"/>
              </a:ext>
            </a:extLst>
          </p:cNvPr>
          <p:cNvSpPr>
            <a:spLocks/>
          </p:cNvSpPr>
          <p:nvPr/>
        </p:nvSpPr>
        <p:spPr bwMode="auto">
          <a:xfrm>
            <a:off x="4319771" y="5707942"/>
            <a:ext cx="256314" cy="200407"/>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1" name="Freeform 856">
            <a:extLst>
              <a:ext uri="{FF2B5EF4-FFF2-40B4-BE49-F238E27FC236}">
                <a16:creationId xmlns:a16="http://schemas.microsoft.com/office/drawing/2014/main" id="{3CFFF04C-0086-4A1E-9B0B-90F93BCE689C}"/>
              </a:ext>
            </a:extLst>
          </p:cNvPr>
          <p:cNvSpPr>
            <a:spLocks/>
          </p:cNvSpPr>
          <p:nvPr/>
        </p:nvSpPr>
        <p:spPr bwMode="auto">
          <a:xfrm>
            <a:off x="4484543" y="5814826"/>
            <a:ext cx="36616" cy="36741"/>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2" name="Freeform 857">
            <a:extLst>
              <a:ext uri="{FF2B5EF4-FFF2-40B4-BE49-F238E27FC236}">
                <a16:creationId xmlns:a16="http://schemas.microsoft.com/office/drawing/2014/main" id="{796536A7-650A-470B-B60A-89CB4DCDAE12}"/>
              </a:ext>
            </a:extLst>
          </p:cNvPr>
          <p:cNvSpPr>
            <a:spLocks/>
          </p:cNvSpPr>
          <p:nvPr/>
        </p:nvSpPr>
        <p:spPr bwMode="auto">
          <a:xfrm>
            <a:off x="4200768" y="4825041"/>
            <a:ext cx="49203" cy="30061"/>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3" name="Freeform 858">
            <a:extLst>
              <a:ext uri="{FF2B5EF4-FFF2-40B4-BE49-F238E27FC236}">
                <a16:creationId xmlns:a16="http://schemas.microsoft.com/office/drawing/2014/main" id="{28B07DF0-DD4F-4107-9049-E64C336BD23E}"/>
              </a:ext>
            </a:extLst>
          </p:cNvPr>
          <p:cNvSpPr>
            <a:spLocks/>
          </p:cNvSpPr>
          <p:nvPr/>
        </p:nvSpPr>
        <p:spPr bwMode="auto">
          <a:xfrm>
            <a:off x="4177883" y="4783846"/>
            <a:ext cx="62934" cy="114677"/>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4" name="Freeform 859">
            <a:extLst>
              <a:ext uri="{FF2B5EF4-FFF2-40B4-BE49-F238E27FC236}">
                <a16:creationId xmlns:a16="http://schemas.microsoft.com/office/drawing/2014/main" id="{6222FCC7-32FF-4D0B-84C0-6C5967B837B7}"/>
              </a:ext>
            </a:extLst>
          </p:cNvPr>
          <p:cNvSpPr>
            <a:spLocks/>
          </p:cNvSpPr>
          <p:nvPr/>
        </p:nvSpPr>
        <p:spPr bwMode="auto">
          <a:xfrm>
            <a:off x="4247281" y="4523887"/>
            <a:ext cx="105121" cy="45970"/>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5" name="Freeform 860">
            <a:extLst>
              <a:ext uri="{FF2B5EF4-FFF2-40B4-BE49-F238E27FC236}">
                <a16:creationId xmlns:a16="http://schemas.microsoft.com/office/drawing/2014/main" id="{E86832F6-2D52-4754-BB9D-E56F6A7E8713}"/>
              </a:ext>
            </a:extLst>
          </p:cNvPr>
          <p:cNvSpPr>
            <a:spLocks/>
          </p:cNvSpPr>
          <p:nvPr/>
        </p:nvSpPr>
        <p:spPr bwMode="auto">
          <a:xfrm>
            <a:off x="4393287" y="4408949"/>
            <a:ext cx="89061" cy="66251"/>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6" name="Freeform 861">
            <a:extLst>
              <a:ext uri="{FF2B5EF4-FFF2-40B4-BE49-F238E27FC236}">
                <a16:creationId xmlns:a16="http://schemas.microsoft.com/office/drawing/2014/main" id="{1D89F624-F74E-456A-AF09-7B4A51BE1AA0}"/>
              </a:ext>
            </a:extLst>
          </p:cNvPr>
          <p:cNvSpPr>
            <a:spLocks/>
          </p:cNvSpPr>
          <p:nvPr/>
        </p:nvSpPr>
        <p:spPr bwMode="auto">
          <a:xfrm>
            <a:off x="4368478" y="4430582"/>
            <a:ext cx="51101" cy="32449"/>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7" name="Freeform 862">
            <a:extLst>
              <a:ext uri="{FF2B5EF4-FFF2-40B4-BE49-F238E27FC236}">
                <a16:creationId xmlns:a16="http://schemas.microsoft.com/office/drawing/2014/main" id="{4F937EC5-8BD0-4FB5-A35C-E02B89B93606}"/>
              </a:ext>
            </a:extLst>
          </p:cNvPr>
          <p:cNvSpPr/>
          <p:nvPr/>
        </p:nvSpPr>
        <p:spPr bwMode="auto">
          <a:xfrm>
            <a:off x="5352654" y="5920384"/>
            <a:ext cx="115174" cy="186522"/>
          </a:xfrm>
          <a:custGeom>
            <a:avLst/>
            <a:gdLst>
              <a:gd name="connsiteX0" fmla="*/ 91373 w 171041"/>
              <a:gd name="connsiteY0" fmla="*/ 28656 h 209754"/>
              <a:gd name="connsiteX1" fmla="*/ 156688 w 171041"/>
              <a:gd name="connsiteY1" fmla="*/ 13583 h 209754"/>
              <a:gd name="connsiteX2" fmla="*/ 156688 w 171041"/>
              <a:gd name="connsiteY2" fmla="*/ 204502 h 209754"/>
              <a:gd name="connsiteX3" fmla="*/ 938 w 171041"/>
              <a:gd name="connsiteY3" fmla="*/ 154260 h 209754"/>
              <a:gd name="connsiteX4" fmla="*/ 91373 w 171041"/>
              <a:gd name="connsiteY4" fmla="*/ 134164 h 209754"/>
              <a:gd name="connsiteX5" fmla="*/ 91373 w 171041"/>
              <a:gd name="connsiteY5" fmla="*/ 28656 h 20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041" h="209754">
                <a:moveTo>
                  <a:pt x="91373" y="28656"/>
                </a:moveTo>
                <a:cubicBezTo>
                  <a:pt x="102259" y="8559"/>
                  <a:pt x="145802" y="-15725"/>
                  <a:pt x="156688" y="13583"/>
                </a:cubicBezTo>
                <a:cubicBezTo>
                  <a:pt x="167574" y="42891"/>
                  <a:pt x="182646" y="181056"/>
                  <a:pt x="156688" y="204502"/>
                </a:cubicBezTo>
                <a:cubicBezTo>
                  <a:pt x="130730" y="227948"/>
                  <a:pt x="11824" y="165983"/>
                  <a:pt x="938" y="154260"/>
                </a:cubicBezTo>
                <a:cubicBezTo>
                  <a:pt x="-9948" y="142537"/>
                  <a:pt x="77138" y="150911"/>
                  <a:pt x="91373" y="134164"/>
                </a:cubicBezTo>
                <a:cubicBezTo>
                  <a:pt x="105608" y="117417"/>
                  <a:pt x="80487" y="48753"/>
                  <a:pt x="91373" y="28656"/>
                </a:cubicBezTo>
                <a:close/>
              </a:path>
            </a:pathLst>
          </a:custGeom>
          <a:solidFill>
            <a:srgbClr val="00B050"/>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317" name="Graphic 7" descr="Rating Star with solid fill">
            <a:extLst>
              <a:ext uri="{FF2B5EF4-FFF2-40B4-BE49-F238E27FC236}">
                <a16:creationId xmlns:a16="http://schemas.microsoft.com/office/drawing/2014/main" id="{57846E48-217C-4B20-8EAA-F792C5644C39}"/>
              </a:ext>
            </a:extLst>
          </p:cNvPr>
          <p:cNvSpPr/>
          <p:nvPr/>
        </p:nvSpPr>
        <p:spPr>
          <a:xfrm>
            <a:off x="8166351"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sp>
        <p:nvSpPr>
          <p:cNvPr id="318" name="Graphic 7" descr="Rating Star with solid fill">
            <a:extLst>
              <a:ext uri="{FF2B5EF4-FFF2-40B4-BE49-F238E27FC236}">
                <a16:creationId xmlns:a16="http://schemas.microsoft.com/office/drawing/2014/main" id="{7DCF6023-52B1-4514-840B-3C2A31F07EAD}"/>
              </a:ext>
            </a:extLst>
          </p:cNvPr>
          <p:cNvSpPr/>
          <p:nvPr/>
        </p:nvSpPr>
        <p:spPr>
          <a:xfrm>
            <a:off x="8757478"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pic>
        <p:nvPicPr>
          <p:cNvPr id="10" name="Picture 9">
            <a:extLst>
              <a:ext uri="{FF2B5EF4-FFF2-40B4-BE49-F238E27FC236}">
                <a16:creationId xmlns:a16="http://schemas.microsoft.com/office/drawing/2014/main" id="{A0DB830C-4F68-4EF8-8A4E-2C8D67FD264F}"/>
              </a:ext>
            </a:extLst>
          </p:cNvPr>
          <p:cNvPicPr>
            <a:picLocks noChangeAspect="1"/>
          </p:cNvPicPr>
          <p:nvPr/>
        </p:nvPicPr>
        <p:blipFill rotWithShape="1">
          <a:blip r:embed="rId6"/>
          <a:srcRect t="1" r="49909" b="-904"/>
          <a:stretch/>
        </p:blipFill>
        <p:spPr>
          <a:xfrm>
            <a:off x="9042650" y="2116831"/>
            <a:ext cx="439751" cy="295275"/>
          </a:xfrm>
          <a:prstGeom prst="rect">
            <a:avLst/>
          </a:prstGeom>
        </p:spPr>
      </p:pic>
      <p:sp>
        <p:nvSpPr>
          <p:cNvPr id="11" name="TextBox 10">
            <a:extLst>
              <a:ext uri="{FF2B5EF4-FFF2-40B4-BE49-F238E27FC236}">
                <a16:creationId xmlns:a16="http://schemas.microsoft.com/office/drawing/2014/main" id="{1C1B8EC1-2923-4978-A61D-27E28146FFD1}"/>
              </a:ext>
            </a:extLst>
          </p:cNvPr>
          <p:cNvSpPr txBox="1"/>
          <p:nvPr/>
        </p:nvSpPr>
        <p:spPr>
          <a:xfrm>
            <a:off x="9647425" y="2026005"/>
            <a:ext cx="932873" cy="523220"/>
          </a:xfrm>
          <a:prstGeom prst="rect">
            <a:avLst/>
          </a:prstGeom>
          <a:noFill/>
        </p:spPr>
        <p:txBody>
          <a:bodyPr wrap="square" rtlCol="0">
            <a:spAutoFit/>
          </a:bodyPr>
          <a:lstStyle/>
          <a:p>
            <a:r>
              <a:rPr lang="en-US" sz="2800" dirty="0">
                <a:solidFill>
                  <a:srgbClr val="00B050"/>
                </a:solidFill>
              </a:rPr>
              <a:t>4.8</a:t>
            </a:r>
          </a:p>
        </p:txBody>
      </p:sp>
      <p:pic>
        <p:nvPicPr>
          <p:cNvPr id="320" name="Picture 319">
            <a:extLst>
              <a:ext uri="{FF2B5EF4-FFF2-40B4-BE49-F238E27FC236}">
                <a16:creationId xmlns:a16="http://schemas.microsoft.com/office/drawing/2014/main" id="{CA5C0783-F7AB-4755-937B-E03E5BC4DC33}"/>
              </a:ext>
            </a:extLst>
          </p:cNvPr>
          <p:cNvPicPr>
            <a:picLocks noChangeAspect="1"/>
          </p:cNvPicPr>
          <p:nvPr/>
        </p:nvPicPr>
        <p:blipFill rotWithShape="1">
          <a:blip r:embed="rId7"/>
          <a:srcRect b="9558"/>
          <a:stretch/>
        </p:blipFill>
        <p:spPr>
          <a:xfrm>
            <a:off x="799165" y="2041433"/>
            <a:ext cx="6948204" cy="544747"/>
          </a:xfrm>
          <a:prstGeom prst="rect">
            <a:avLst/>
          </a:prstGeom>
        </p:spPr>
      </p:pic>
      <p:sp>
        <p:nvSpPr>
          <p:cNvPr id="321" name="Rectangle 320">
            <a:extLst>
              <a:ext uri="{FF2B5EF4-FFF2-40B4-BE49-F238E27FC236}">
                <a16:creationId xmlns:a16="http://schemas.microsoft.com/office/drawing/2014/main" id="{D18F414A-28FD-4A65-AF72-CEB65BAF1E6A}"/>
              </a:ext>
            </a:extLst>
          </p:cNvPr>
          <p:cNvSpPr/>
          <p:nvPr/>
        </p:nvSpPr>
        <p:spPr>
          <a:xfrm>
            <a:off x="8087873" y="4321473"/>
            <a:ext cx="3508381" cy="2086865"/>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2" name="TextBox 321">
            <a:extLst>
              <a:ext uri="{FF2B5EF4-FFF2-40B4-BE49-F238E27FC236}">
                <a16:creationId xmlns:a16="http://schemas.microsoft.com/office/drawing/2014/main" id="{5CDF6503-1C7D-45A1-A8DF-D8E13276A75E}"/>
              </a:ext>
            </a:extLst>
          </p:cNvPr>
          <p:cNvSpPr txBox="1"/>
          <p:nvPr/>
        </p:nvSpPr>
        <p:spPr>
          <a:xfrm>
            <a:off x="8064688" y="4347830"/>
            <a:ext cx="3602468" cy="1354217"/>
          </a:xfrm>
          <a:prstGeom prst="rect">
            <a:avLst/>
          </a:prstGeom>
          <a:noFill/>
        </p:spPr>
        <p:txBody>
          <a:bodyPr wrap="square" rtlCol="0">
            <a:spAutoFit/>
          </a:bodyPr>
          <a:lstStyle/>
          <a:p>
            <a:r>
              <a:rPr lang="en-US" dirty="0"/>
              <a:t>Daily rate of our ex-McKinsey, Deloitte and BCG Management Consultants</a:t>
            </a:r>
          </a:p>
          <a:p>
            <a:r>
              <a:rPr lang="en-US" sz="2800" dirty="0">
                <a:solidFill>
                  <a:srgbClr val="00B050"/>
                </a:solidFill>
              </a:rPr>
              <a:t>$3k-$4k</a:t>
            </a:r>
          </a:p>
        </p:txBody>
      </p:sp>
      <p:sp>
        <p:nvSpPr>
          <p:cNvPr id="316" name="Title 1">
            <a:extLst>
              <a:ext uri="{FF2B5EF4-FFF2-40B4-BE49-F238E27FC236}">
                <a16:creationId xmlns:a16="http://schemas.microsoft.com/office/drawing/2014/main" id="{E1807DFC-6E0A-41E9-BAC7-1EE85BC2BECF}"/>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t>Join the 200,000+ Executives, Consultants &amp; Entrepreneurs already leveraging our Business &amp; Consulting Toolkits to improve the performance of their organization and boost their own career</a:t>
            </a:r>
            <a:r>
              <a:rPr lang="en-US" dirty="0"/>
              <a:t>. </a:t>
            </a:r>
            <a:endParaRPr lang="en-US" b="0" kern="0" dirty="0"/>
          </a:p>
        </p:txBody>
      </p:sp>
    </p:spTree>
    <p:extLst>
      <p:ext uri="{BB962C8B-B14F-4D97-AF65-F5344CB8AC3E}">
        <p14:creationId xmlns:p14="http://schemas.microsoft.com/office/powerpoint/2010/main" val="1252826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Ch4r8sI.rLVV.9IaspQY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B3whRzF.kF3DXO1apkEoQ"/>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wxLOCPV1M0yDVVtpiKAY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Ch4r8sI.rLVV.9IaspQY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Ch4r8sI.rLVV.9IaspQY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9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0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711</TotalTime>
  <Words>2091</Words>
  <Application>Microsoft Office PowerPoint</Application>
  <PresentationFormat>Widescreen</PresentationFormat>
  <Paragraphs>218</Paragraphs>
  <Slides>29</Slides>
  <Notes>18</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29</vt:i4>
      </vt:variant>
    </vt:vector>
  </HeadingPairs>
  <TitlesOfParts>
    <vt:vector size="44" baseType="lpstr">
      <vt:lpstr>Arial</vt:lpstr>
      <vt:lpstr>Calibri</vt:lpstr>
      <vt:lpstr>Helvetica</vt:lpstr>
      <vt:lpstr>Lato Light</vt:lpstr>
      <vt:lpstr>Wingdings 3</vt:lpstr>
      <vt:lpstr>Theme3</vt:lpstr>
      <vt:lpstr>33_Custom Design</vt:lpstr>
      <vt:lpstr>34_Custom Design</vt:lpstr>
      <vt:lpstr>35_Custom Design</vt:lpstr>
      <vt:lpstr>36_Custom Design</vt:lpstr>
      <vt:lpstr>37_Custom Design</vt:lpstr>
      <vt:lpstr>38_Custom Design</vt:lpstr>
      <vt:lpstr>39_Custom Design</vt:lpstr>
      <vt:lpstr>40_Custom Design</vt:lpstr>
      <vt:lpstr>think-cell Slide</vt:lpstr>
      <vt:lpstr>Onboarding</vt:lpstr>
      <vt:lpstr>Table of Contents</vt:lpstr>
      <vt:lpstr>PowerPoint Presentation</vt:lpstr>
      <vt:lpstr>Our ex-McKinsey, Deloitte &amp; BCG Consultants have created 19 Management Consulting Toolkits</vt:lpstr>
      <vt:lpstr>Each Management Consulting Toolkit includes:</vt:lpstr>
      <vt:lpstr>Key Benefits of our Management Consulting Toolkits</vt:lpstr>
      <vt:lpstr>What our clients say about our Toolkits Reviews imported from Facebooks, Amazon and Klaviyo</vt:lpstr>
      <vt:lpstr>Join the 200,000+ Executives, Consultants &amp; Entrepreneurs already leveraging our Business &amp; Consulting Toolkits to improve the performance of their organization and boost their own career. </vt:lpstr>
      <vt:lpstr>Interested in more than 1 Toolkit?  Access all our Toolkits for half the price with our Gold Access</vt:lpstr>
      <vt:lpstr>Need additional help on top of our Management Consulting Toolkits?  Send us a brief and we’ll find you the right talent from our network of 500 tier-1 Management Consultants (the average daily rate is $3k)</vt:lpstr>
      <vt:lpstr>Table of Contents</vt:lpstr>
      <vt:lpstr>To create their own deliverables, our clients usually choose one of these 2 options</vt:lpstr>
      <vt:lpstr>You can change the font type in the Slide Master in 3 steps</vt:lpstr>
      <vt:lpstr>You can also use the “Replace Fonts” option </vt:lpstr>
      <vt:lpstr>Table of Contents</vt:lpstr>
      <vt:lpstr>To instantly translate our Toolkits, our clients usually choose the world’s best AI translators in the world: Deepl Translator or Microsoft Translator </vt:lpstr>
      <vt:lpstr>Let’s first zoom on Deepl Translator</vt:lpstr>
      <vt:lpstr>You can translate our Toolkits into 30+ languages using Deepl Translator</vt:lpstr>
      <vt:lpstr>All you need to do is drag and drop your Powerpoint, Word or PDF document</vt:lpstr>
      <vt:lpstr>Let’s now zoom on Microsoft Translator</vt:lpstr>
      <vt:lpstr>How to translate the Powerpoint version of our Toolkit Step 1</vt:lpstr>
      <vt:lpstr>How to translate the Powerpoint version of our Toolkit Step 2</vt:lpstr>
      <vt:lpstr>How to translate the Powerpoint version of our Toolkit Step 3</vt:lpstr>
      <vt:lpstr>How to translate the Powerpoint version of our Toolkit Step 1</vt:lpstr>
      <vt:lpstr>How to translate the Excel version of our Toolkit Step 1</vt:lpstr>
      <vt:lpstr>How to translate the Excel version of our Toolkit Step 2</vt:lpstr>
      <vt:lpstr>How to translate the Excel version of our Toolkit Step 3</vt:lpstr>
      <vt:lpstr>How to translate the Excel version of our Toolkit Step 4</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69</cp:revision>
  <dcterms:created xsi:type="dcterms:W3CDTF">2020-07-08T04:44:55Z</dcterms:created>
  <dcterms:modified xsi:type="dcterms:W3CDTF">2023-07-21T04:47:3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